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charts/chart1.xml" ContentType="application/vnd.openxmlformats-officedocument.drawingml.chart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charts/chart2.xml" ContentType="application/vnd.openxmlformats-officedocument.drawingml.chart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tags/tag2.xml" ContentType="application/vnd.openxmlformats-officedocument.presentationml.tags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charts/chart3.xml" ContentType="application/vnd.openxmlformats-officedocument.drawingml.chart+xml"/>
  <Override PartName="/ppt/notesSlides/notesSlide3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1"/>
    <p:sldMasterId id="2147483674" r:id="rId2"/>
  </p:sldMasterIdLst>
  <p:notesMasterIdLst>
    <p:notesMasterId r:id="rId35"/>
  </p:notesMasterIdLst>
  <p:handoutMasterIdLst>
    <p:handoutMasterId r:id="rId36"/>
  </p:handoutMasterIdLst>
  <p:sldIdLst>
    <p:sldId id="256" r:id="rId3"/>
    <p:sldId id="303" r:id="rId4"/>
    <p:sldId id="284" r:id="rId5"/>
    <p:sldId id="297" r:id="rId6"/>
    <p:sldId id="288" r:id="rId7"/>
    <p:sldId id="266" r:id="rId8"/>
    <p:sldId id="286" r:id="rId9"/>
    <p:sldId id="265" r:id="rId10"/>
    <p:sldId id="287" r:id="rId11"/>
    <p:sldId id="320" r:id="rId12"/>
    <p:sldId id="322" r:id="rId13"/>
    <p:sldId id="323" r:id="rId14"/>
    <p:sldId id="318" r:id="rId15"/>
    <p:sldId id="326" r:id="rId16"/>
    <p:sldId id="324" r:id="rId17"/>
    <p:sldId id="271" r:id="rId18"/>
    <p:sldId id="325" r:id="rId19"/>
    <p:sldId id="298" r:id="rId20"/>
    <p:sldId id="314" r:id="rId21"/>
    <p:sldId id="270" r:id="rId22"/>
    <p:sldId id="304" r:id="rId23"/>
    <p:sldId id="306" r:id="rId24"/>
    <p:sldId id="312" r:id="rId25"/>
    <p:sldId id="308" r:id="rId26"/>
    <p:sldId id="283" r:id="rId27"/>
    <p:sldId id="259" r:id="rId28"/>
    <p:sldId id="258" r:id="rId29"/>
    <p:sldId id="267" r:id="rId30"/>
    <p:sldId id="316" r:id="rId31"/>
    <p:sldId id="319" r:id="rId32"/>
    <p:sldId id="278" r:id="rId33"/>
    <p:sldId id="321" r:id="rId34"/>
  </p:sldIdLst>
  <p:sldSz cx="12192000" cy="6858000"/>
  <p:notesSz cx="6858000" cy="9144000"/>
  <p:custDataLst>
    <p:tags r:id="rId37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无样式，无网格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7328" autoAdjust="0"/>
    <p:restoredTop sz="95625" autoAdjust="0"/>
  </p:normalViewPr>
  <p:slideViewPr>
    <p:cSldViewPr snapToGrid="0" showGuides="1">
      <p:cViewPr>
        <p:scale>
          <a:sx n="89" d="100"/>
          <a:sy n="89" d="100"/>
        </p:scale>
        <p:origin x="114" y="69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9156"/>
    </p:cViewPr>
  </p:sorterViewPr>
  <p:notesViewPr>
    <p:cSldViewPr>
      <p:cViewPr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9" Type="http://schemas.openxmlformats.org/officeDocument/2006/relationships/viewProps" Target="viewProps.xml"/><Relationship Id="rId21" Type="http://schemas.openxmlformats.org/officeDocument/2006/relationships/slide" Target="slides/slide19.xml"/><Relationship Id="rId34" Type="http://schemas.openxmlformats.org/officeDocument/2006/relationships/slide" Target="slides/slide32.xml"/><Relationship Id="rId7" Type="http://schemas.openxmlformats.org/officeDocument/2006/relationships/slide" Target="slides/slide5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slide" Target="slides/slide27.xml"/><Relationship Id="rId41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slide" Target="slides/slide30.xml"/><Relationship Id="rId37" Type="http://schemas.openxmlformats.org/officeDocument/2006/relationships/tags" Target="tags/tag1.xml"/><Relationship Id="rId40" Type="http://schemas.openxmlformats.org/officeDocument/2006/relationships/theme" Target="theme/theme1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36" Type="http://schemas.openxmlformats.org/officeDocument/2006/relationships/handoutMaster" Target="handoutMasters/handoutMaster1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slide" Target="slides/slide29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slide" Target="slides/slide28.xml"/><Relationship Id="rId35" Type="http://schemas.openxmlformats.org/officeDocument/2006/relationships/notesMaster" Target="notesMasters/notesMaster1.xml"/><Relationship Id="rId8" Type="http://schemas.openxmlformats.org/officeDocument/2006/relationships/slide" Target="slides/slide6.xml"/><Relationship Id="rId3" Type="http://schemas.openxmlformats.org/officeDocument/2006/relationships/slide" Target="slides/slide1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slide" Target="slides/slide31.xml"/><Relationship Id="rId38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gradFill flip="none" rotWithShape="1">
              <a:gsLst>
                <a:gs pos="0">
                  <a:schemeClr val="accent1"/>
                </a:gs>
                <a:gs pos="75000">
                  <a:schemeClr val="accent1">
                    <a:lumMod val="60000"/>
                    <a:lumOff val="40000"/>
                  </a:schemeClr>
                </a:gs>
                <a:gs pos="51000">
                  <a:schemeClr val="accent1">
                    <a:alpha val="75000"/>
                  </a:schemeClr>
                </a:gs>
                <a:gs pos="100000">
                  <a:schemeClr val="accent1">
                    <a:lumMod val="20000"/>
                    <a:lumOff val="80000"/>
                    <a:alpha val="15000"/>
                  </a:schemeClr>
                </a:gs>
              </a:gsLst>
              <a:lin ang="10800000" scaled="1"/>
            </a:gradFill>
            <a:ln>
              <a:noFill/>
            </a:ln>
            <a:effectLst/>
          </c:spPr>
          <c:invertIfNegative val="0"/>
          <c:dLbls>
            <c:dLbl>
              <c:idx val="0"/>
              <c:spPr/>
              <c:txPr>
                <a:bodyPr rot="0" vert="horz"/>
                <a:lstStyle/>
                <a:p>
                  <a:pPr>
                    <a:defRPr/>
                  </a:pPr>
                  <a:endParaRPr lang="zh-CN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0-39DD-4CDC-B1BD-F3261641B3C5}"/>
                </c:ext>
              </c:extLst>
            </c:dLbl>
            <c:dLbl>
              <c:idx val="1"/>
              <c:spPr/>
              <c:txPr>
                <a:bodyPr rot="0" vert="horz"/>
                <a:lstStyle/>
                <a:p>
                  <a:pPr>
                    <a:defRPr/>
                  </a:pPr>
                  <a:endParaRPr lang="zh-CN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1-39DD-4CDC-B1BD-F3261641B3C5}"/>
                </c:ext>
              </c:extLst>
            </c:dLbl>
            <c:dLbl>
              <c:idx val="2"/>
              <c:spPr/>
              <c:txPr>
                <a:bodyPr rot="0" vert="horz"/>
                <a:lstStyle/>
                <a:p>
                  <a:pPr>
                    <a:defRPr/>
                  </a:pPr>
                  <a:endParaRPr lang="zh-CN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2-39DD-4CDC-B1BD-F3261641B3C5}"/>
                </c:ext>
              </c:extLst>
            </c:dLbl>
            <c:dLbl>
              <c:idx val="3"/>
              <c:spPr/>
              <c:txPr>
                <a:bodyPr rot="0" vert="horz"/>
                <a:lstStyle/>
                <a:p>
                  <a:pPr>
                    <a:defRPr/>
                  </a:pPr>
                  <a:endParaRPr lang="zh-CN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3-39DD-4CDC-B1BD-F3261641B3C5}"/>
                </c:ext>
              </c:extLst>
            </c:dLbl>
            <c:dLbl>
              <c:idx val="4"/>
              <c:spPr/>
              <c:txPr>
                <a:bodyPr rot="0" vert="horz"/>
                <a:lstStyle/>
                <a:p>
                  <a:pPr>
                    <a:defRPr/>
                  </a:pPr>
                  <a:endParaRPr lang="zh-CN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4-39DD-4CDC-B1BD-F3261641B3C5}"/>
                </c:ext>
              </c:extLst>
            </c:dLbl>
            <c:dLbl>
              <c:idx val="5"/>
              <c:spPr/>
              <c:txPr>
                <a:bodyPr rot="0" vert="horz"/>
                <a:lstStyle/>
                <a:p>
                  <a:pPr>
                    <a:defRPr/>
                  </a:pPr>
                  <a:endParaRPr lang="zh-CN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5-39DD-4CDC-B1BD-F3261641B3C5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vert="horz"/>
              <a:lstStyle/>
              <a:p>
                <a:pPr>
                  <a:defRPr/>
                </a:pPr>
                <a:endParaRPr lang="zh-CN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a14="http://schemas.microsoft.com/office/drawing/2010/main" xmlns:wp="http://schemas.openxmlformats.org/drawingml/2006/wordprocessingDrawing" xmlns:w="http://schemas.openxmlformats.org/wordprocessingml/2006/main" xmlns:m="http://schemas.openxmlformats.org/officeDocument/2006/math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prstDash val="solid"/>
                      <a:round/>
                    </a:ln>
                  </c:spPr>
                </c15:leaderLines>
              </c:ext>
            </c:extLst>
          </c:dLbls>
          <c:cat>
            <c:strRef>
              <c:f>Sheet1!$A$2:$A$7</c:f>
              <c:strCache>
                <c:ptCount val="6"/>
                <c:pt idx="0">
                  <c:v>HD</c:v>
                </c:pt>
                <c:pt idx="1">
                  <c:v>ML</c:v>
                </c:pt>
                <c:pt idx="2">
                  <c:v>NH</c:v>
                </c:pt>
                <c:pt idx="3">
                  <c:v>PO</c:v>
                </c:pt>
                <c:pt idx="4">
                  <c:v>GD</c:v>
                </c:pt>
                <c:pt idx="5">
                  <c:v>TY</c:v>
                </c:pt>
              </c:strCache>
            </c:strRef>
          </c:cat>
          <c:val>
            <c:numRef>
              <c:f>Sheet1!$B$2:$B$7</c:f>
              <c:numCache>
                <c:formatCode>General</c:formatCode>
                <c:ptCount val="6"/>
                <c:pt idx="0">
                  <c:v>45</c:v>
                </c:pt>
                <c:pt idx="1">
                  <c:v>60</c:v>
                </c:pt>
                <c:pt idx="2">
                  <c:v>25</c:v>
                </c:pt>
                <c:pt idx="3">
                  <c:v>30</c:v>
                </c:pt>
                <c:pt idx="4">
                  <c:v>60</c:v>
                </c:pt>
                <c:pt idx="5">
                  <c:v>80</c:v>
                </c:pt>
              </c:numCache>
            </c:numRef>
          </c:val>
          <c:extLst xmlns:a14="http://schemas.microsoft.com/office/drawing/2010/main" xmlns:wp="http://schemas.openxmlformats.org/drawingml/2006/wordprocessingDrawing" xmlns:w="http://schemas.openxmlformats.org/wordprocessingml/2006/main" xmlns:m="http://schemas.openxmlformats.org/officeDocument/2006/math">
            <c:ext xmlns:c16="http://schemas.microsoft.com/office/drawing/2014/chart" uri="{C3380CC4-5D6E-409C-BE32-E72D297353CC}">
              <c16:uniqueId val="{00000006-B7F3-43B7-81F1-880037DB84A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26"/>
        <c:overlap val="-58"/>
        <c:axId val="45712512"/>
        <c:axId val="45714048"/>
      </c:barChart>
      <c:catAx>
        <c:axId val="45712512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19050" cap="flat" cmpd="sng" algn="ctr">
            <a:solidFill>
              <a:schemeClr val="tx1">
                <a:lumMod val="15000"/>
                <a:lumOff val="85000"/>
              </a:schemeClr>
            </a:solidFill>
            <a:prstDash val="solid"/>
            <a:round/>
            <a:headEnd type="none" w="sm" len="sm"/>
            <a:tailEnd type="none" w="sm" len="sm"/>
          </a:ln>
          <a:effectLst/>
        </c:spPr>
        <c:txPr>
          <a:bodyPr rot="-60000000" vert="horz"/>
          <a:lstStyle/>
          <a:p>
            <a:pPr>
              <a:defRPr/>
            </a:pPr>
            <a:endParaRPr lang="zh-CN"/>
          </a:p>
        </c:txPr>
        <c:crossAx val="45714048"/>
        <c:crosses val="autoZero"/>
        <c:auto val="0"/>
        <c:lblAlgn val="ctr"/>
        <c:lblOffset val="100"/>
        <c:noMultiLvlLbl val="0"/>
      </c:catAx>
      <c:valAx>
        <c:axId val="45714048"/>
        <c:scaling>
          <c:orientation val="minMax"/>
        </c:scaling>
        <c:delete val="0"/>
        <c:axPos val="b"/>
        <c:majorGridlines>
          <c:spPr>
            <a:ln w="9525" cap="flat" cmpd="sng" algn="ctr">
              <a:gradFill>
                <a:gsLst>
                  <a:gs pos="99000">
                    <a:schemeClr val="tx1">
                      <a:lumMod val="25000"/>
                      <a:lumOff val="75000"/>
                    </a:schemeClr>
                  </a:gs>
                  <a:gs pos="0">
                    <a:schemeClr val="tx1">
                      <a:lumMod val="15000"/>
                      <a:lumOff val="85000"/>
                    </a:schemeClr>
                  </a:gs>
                </a:gsLst>
                <a:lin ang="5400000" scaled="0"/>
              </a:gradFill>
              <a:prstDash val="solid"/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 w="6350" cap="flat" cmpd="sng" algn="ctr">
            <a:noFill/>
            <a:prstDash val="solid"/>
            <a:round/>
          </a:ln>
          <a:effectLst/>
        </c:spPr>
        <c:txPr>
          <a:bodyPr rot="-60000000" vert="horz"/>
          <a:lstStyle/>
          <a:p>
            <a:pPr>
              <a:defRPr/>
            </a:pPr>
            <a:endParaRPr lang="zh-CN"/>
          </a:p>
        </c:txPr>
        <c:crossAx val="4571251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lang="zh-CN" sz="700" smtId="4294967295">
          <a:latin typeface="Arial" panose="020B0604020202020204" pitchFamily="34" charset="0"/>
          <a:ea typeface="微软雅黑" panose="020B0503020204020204" pitchFamily="34" charset="-122"/>
          <a:sym typeface="Arial" panose="020B0604020202020204" pitchFamily="34" charset="0"/>
        </a:defRPr>
      </a:pPr>
      <a:endParaRPr lang="zh-CN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6218018531799316E-2"/>
          <c:y val="0.12482208013534546"/>
          <c:w val="0.92385965585708618"/>
          <c:h val="0.71920168399810791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One</c:v>
                </c:pt>
              </c:strCache>
            </c:strRef>
          </c:tx>
          <c:spPr>
            <a:solidFill>
              <a:schemeClr val="accent1"/>
            </a:solidFill>
          </c:spPr>
          <c:invertIfNegative val="0"/>
          <c:cat>
            <c:strRef>
              <c:f>Sheet1!$A$2:$A$13</c:f>
              <c:strCache>
                <c:ptCount val="12"/>
                <c:pt idx="0">
                  <c:v>Jan</c:v>
                </c:pt>
                <c:pt idx="1">
                  <c:v>Feb</c:v>
                </c:pt>
                <c:pt idx="2">
                  <c:v>Mar</c:v>
                </c:pt>
                <c:pt idx="3">
                  <c:v>Apr</c:v>
                </c:pt>
                <c:pt idx="4">
                  <c:v>May</c:v>
                </c:pt>
                <c:pt idx="5">
                  <c:v>Jun</c:v>
                </c:pt>
                <c:pt idx="6">
                  <c:v>Jul</c:v>
                </c:pt>
                <c:pt idx="7">
                  <c:v>Aug</c:v>
                </c:pt>
                <c:pt idx="8">
                  <c:v>Sep</c:v>
                </c:pt>
                <c:pt idx="9">
                  <c:v>Oct</c:v>
                </c:pt>
                <c:pt idx="10">
                  <c:v>Nov</c:v>
                </c:pt>
                <c:pt idx="11">
                  <c:v>Dec</c:v>
                </c:pt>
              </c:strCache>
            </c:strRef>
          </c:cat>
          <c:val>
            <c:numRef>
              <c:f>Sheet1!$B$2:$B$13</c:f>
              <c:numCache>
                <c:formatCode>General</c:formatCode>
                <c:ptCount val="12"/>
                <c:pt idx="0">
                  <c:v>40</c:v>
                </c:pt>
                <c:pt idx="1">
                  <c:v>80</c:v>
                </c:pt>
                <c:pt idx="2">
                  <c:v>60</c:v>
                </c:pt>
                <c:pt idx="3">
                  <c:v>70</c:v>
                </c:pt>
                <c:pt idx="4">
                  <c:v>190</c:v>
                </c:pt>
                <c:pt idx="5">
                  <c:v>150</c:v>
                </c:pt>
                <c:pt idx="6">
                  <c:v>145</c:v>
                </c:pt>
                <c:pt idx="7">
                  <c:v>195</c:v>
                </c:pt>
                <c:pt idx="8">
                  <c:v>185</c:v>
                </c:pt>
                <c:pt idx="9">
                  <c:v>320</c:v>
                </c:pt>
                <c:pt idx="10">
                  <c:v>405</c:v>
                </c:pt>
                <c:pt idx="11">
                  <c:v>574</c:v>
                </c:pt>
              </c:numCache>
            </c:numRef>
          </c:val>
          <c:extLst xmlns:a14="http://schemas.microsoft.com/office/drawing/2010/main" xmlns:wp="http://schemas.openxmlformats.org/drawingml/2006/wordprocessingDrawing" xmlns:w="http://schemas.openxmlformats.org/wordprocessingml/2006/main" xmlns:m="http://schemas.openxmlformats.org/officeDocument/2006/math">
            <c:ext xmlns:c16="http://schemas.microsoft.com/office/drawing/2014/chart" uri="{C3380CC4-5D6E-409C-BE32-E72D297353CC}">
              <c16:uniqueId val="{00000000-C58E-47CB-A8B0-26AD3F5E1466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Two</c:v>
                </c:pt>
              </c:strCache>
            </c:strRef>
          </c:tx>
          <c:spPr>
            <a:solidFill>
              <a:schemeClr val="accent2"/>
            </a:solidFill>
          </c:spPr>
          <c:invertIfNegative val="0"/>
          <c:cat>
            <c:strRef>
              <c:f>Sheet1!$A$2:$A$13</c:f>
              <c:strCache>
                <c:ptCount val="12"/>
                <c:pt idx="0">
                  <c:v>Jan</c:v>
                </c:pt>
                <c:pt idx="1">
                  <c:v>Feb</c:v>
                </c:pt>
                <c:pt idx="2">
                  <c:v>Mar</c:v>
                </c:pt>
                <c:pt idx="3">
                  <c:v>Apr</c:v>
                </c:pt>
                <c:pt idx="4">
                  <c:v>May</c:v>
                </c:pt>
                <c:pt idx="5">
                  <c:v>Jun</c:v>
                </c:pt>
                <c:pt idx="6">
                  <c:v>Jul</c:v>
                </c:pt>
                <c:pt idx="7">
                  <c:v>Aug</c:v>
                </c:pt>
                <c:pt idx="8">
                  <c:v>Sep</c:v>
                </c:pt>
                <c:pt idx="9">
                  <c:v>Oct</c:v>
                </c:pt>
                <c:pt idx="10">
                  <c:v>Nov</c:v>
                </c:pt>
                <c:pt idx="11">
                  <c:v>Dec</c:v>
                </c:pt>
              </c:strCache>
            </c:strRef>
          </c:cat>
          <c:val>
            <c:numRef>
              <c:f>Sheet1!$C$2:$C$13</c:f>
              <c:numCache>
                <c:formatCode>General</c:formatCode>
                <c:ptCount val="12"/>
                <c:pt idx="0">
                  <c:v>20</c:v>
                </c:pt>
                <c:pt idx="1">
                  <c:v>40</c:v>
                </c:pt>
                <c:pt idx="2">
                  <c:v>20</c:v>
                </c:pt>
                <c:pt idx="3">
                  <c:v>10</c:v>
                </c:pt>
                <c:pt idx="4">
                  <c:v>20</c:v>
                </c:pt>
                <c:pt idx="5">
                  <c:v>80</c:v>
                </c:pt>
                <c:pt idx="6">
                  <c:v>60</c:v>
                </c:pt>
                <c:pt idx="7">
                  <c:v>60</c:v>
                </c:pt>
                <c:pt idx="8">
                  <c:v>90</c:v>
                </c:pt>
                <c:pt idx="9">
                  <c:v>70</c:v>
                </c:pt>
                <c:pt idx="10">
                  <c:v>180</c:v>
                </c:pt>
                <c:pt idx="11">
                  <c:v>229</c:v>
                </c:pt>
              </c:numCache>
            </c:numRef>
          </c:val>
          <c:extLst xmlns:a14="http://schemas.microsoft.com/office/drawing/2010/main" xmlns:wp="http://schemas.openxmlformats.org/drawingml/2006/wordprocessingDrawing" xmlns:w="http://schemas.openxmlformats.org/wordprocessingml/2006/main" xmlns:m="http://schemas.openxmlformats.org/officeDocument/2006/math">
            <c:ext xmlns:c16="http://schemas.microsoft.com/office/drawing/2014/chart" uri="{C3380CC4-5D6E-409C-BE32-E72D297353CC}">
              <c16:uniqueId val="{00000001-C58E-47CB-A8B0-26AD3F5E146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overlap val="100"/>
        <c:axId val="44028288"/>
        <c:axId val="44029824"/>
      </c:barChart>
      <c:catAx>
        <c:axId val="44028288"/>
        <c:scaling>
          <c:orientation val="minMax"/>
        </c:scaling>
        <c:delete val="0"/>
        <c:axPos val="b"/>
        <c:numFmt formatCode="General" sourceLinked="0"/>
        <c:majorTickMark val="none"/>
        <c:minorTickMark val="none"/>
        <c:tickLblPos val="nextTo"/>
        <c:spPr>
          <a:ln w="12700" cap="flat" cmpd="sng" algn="ctr">
            <a:noFill/>
            <a:prstDash val="solid"/>
            <a:round/>
          </a:ln>
        </c:spPr>
        <c:txPr>
          <a:bodyPr rot="-60000000" vert="horz"/>
          <a:lstStyle/>
          <a:p>
            <a:pPr>
              <a:defRPr/>
            </a:pPr>
            <a:endParaRPr lang="zh-CN"/>
          </a:p>
        </c:txPr>
        <c:crossAx val="44029824"/>
        <c:crosses val="autoZero"/>
        <c:auto val="0"/>
        <c:lblAlgn val="ctr"/>
        <c:lblOffset val="100"/>
        <c:noMultiLvlLbl val="0"/>
      </c:catAx>
      <c:valAx>
        <c:axId val="44029824"/>
        <c:scaling>
          <c:orientation val="minMax"/>
          <c:max val="600"/>
        </c:scaling>
        <c:delete val="1"/>
        <c:axPos val="l"/>
        <c:numFmt formatCode="0&quot;%&quot;" sourceLinked="0"/>
        <c:majorTickMark val="none"/>
        <c:minorTickMark val="none"/>
        <c:tickLblPos val="nextTo"/>
        <c:crossAx val="44028288"/>
        <c:crosses val="autoZero"/>
        <c:crossBetween val="between"/>
      </c:valAx>
      <c:spPr>
        <a:noFill/>
        <a:ln w="25400">
          <a:noFill/>
        </a:ln>
      </c:spPr>
    </c:plotArea>
    <c:plotVisOnly val="1"/>
    <c:dispBlanksAs val="gap"/>
    <c:showDLblsOverMax val="0"/>
  </c:chart>
  <c:txPr>
    <a:bodyPr/>
    <a:lstStyle/>
    <a:p>
      <a:pPr>
        <a:defRPr lang="zh-CN" sz="1200" smtId="4294967295">
          <a:solidFill>
            <a:schemeClr val="tx1"/>
          </a:solidFill>
          <a:latin typeface="Arial" panose="020B0604020202020204" pitchFamily="34" charset="0"/>
          <a:ea typeface="微软雅黑" panose="020B0503020204020204" pitchFamily="34" charset="-122"/>
          <a:sym typeface="Arial" panose="020B0604020202020204" pitchFamily="34" charset="0"/>
        </a:defRPr>
      </a:pPr>
      <a:endParaRPr lang="zh-CN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"/>
          <c:y val="2.0243126899003983E-2"/>
          <c:w val="1"/>
          <c:h val="0.87504470348358154"/>
        </c:manualLayout>
      </c:layout>
      <c:lineChart>
        <c:grouping val="standar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ln w="50800" cap="rnd">
              <a:solidFill>
                <a:schemeClr val="accent1"/>
              </a:solidFill>
              <a:round/>
            </a:ln>
            <a:effectLst/>
          </c:spPr>
          <c:marker>
            <c:symbol val="circle"/>
            <c:size val="12"/>
            <c:spPr>
              <a:solidFill>
                <a:schemeClr val="bg2"/>
              </a:solidFill>
              <a:ln w="63500" cap="rnd">
                <a:solidFill>
                  <a:schemeClr val="accent1"/>
                </a:solidFill>
              </a:ln>
              <a:effectLst/>
            </c:spPr>
          </c:marker>
          <c:dPt>
            <c:idx val="5"/>
            <c:marker>
              <c:spPr>
                <a:solidFill>
                  <a:schemeClr val="bg2"/>
                </a:solidFill>
                <a:ln w="63500" cap="flat">
                  <a:solidFill>
                    <a:schemeClr val="accent1"/>
                  </a:solidFill>
                  <a:bevel/>
                </a:ln>
                <a:effectLst/>
              </c:spPr>
            </c:marker>
            <c:bubble3D val="0"/>
            <c:extLst xmlns:a14="http://schemas.microsoft.com/office/drawing/2010/main" xmlns:wp="http://schemas.openxmlformats.org/drawingml/2006/wordprocessingDrawing" xmlns:w="http://schemas.openxmlformats.org/wordprocessingml/2006/main" xmlns:m="http://schemas.openxmlformats.org/officeDocument/2006/math">
              <c:ext xmlns:c16="http://schemas.microsoft.com/office/drawing/2014/chart" uri="{C3380CC4-5D6E-409C-BE32-E72D297353CC}">
                <c16:uniqueId val="{00000000-46F3-4A95-8EDB-3EDD513587C6}"/>
              </c:ext>
            </c:extLst>
          </c:dPt>
          <c:dPt>
            <c:idx val="7"/>
            <c:marker>
              <c:spPr>
                <a:solidFill>
                  <a:schemeClr val="bg2"/>
                </a:solidFill>
                <a:ln w="63500">
                  <a:solidFill>
                    <a:schemeClr val="accent1"/>
                  </a:solidFill>
                </a:ln>
                <a:effectLst/>
              </c:spPr>
            </c:marker>
            <c:bubble3D val="0"/>
            <c:spPr>
              <a:ln w="50800" cap="rnd">
                <a:solidFill>
                  <a:schemeClr val="accent1"/>
                </a:solidFill>
                <a:miter lim="800000"/>
              </a:ln>
              <a:effectLst/>
            </c:spPr>
            <c:extLst xmlns:a14="http://schemas.microsoft.com/office/drawing/2010/main" xmlns:wp="http://schemas.openxmlformats.org/drawingml/2006/wordprocessingDrawing" xmlns:w="http://schemas.openxmlformats.org/wordprocessingml/2006/main" xmlns:m="http://schemas.openxmlformats.org/officeDocument/2006/math">
              <c:ext xmlns:c16="http://schemas.microsoft.com/office/drawing/2014/chart" uri="{C3380CC4-5D6E-409C-BE32-E72D297353CC}">
                <c16:uniqueId val="{00000002-46F3-4A95-8EDB-3EDD513587C6}"/>
              </c:ext>
            </c:extLst>
          </c:dPt>
          <c:cat>
            <c:numRef>
              <c:f>Лист1!$A$2:$A$13</c:f>
              <c:numCache>
                <c:formatCode>yyyy/m/d</c:formatCode>
                <c:ptCount val="12"/>
                <c:pt idx="0">
                  <c:v>42370</c:v>
                </c:pt>
                <c:pt idx="1">
                  <c:v>42401</c:v>
                </c:pt>
                <c:pt idx="2">
                  <c:v>42430</c:v>
                </c:pt>
                <c:pt idx="3">
                  <c:v>42461</c:v>
                </c:pt>
                <c:pt idx="4">
                  <c:v>42491</c:v>
                </c:pt>
                <c:pt idx="5">
                  <c:v>42522</c:v>
                </c:pt>
                <c:pt idx="6">
                  <c:v>42552</c:v>
                </c:pt>
                <c:pt idx="7">
                  <c:v>42583</c:v>
                </c:pt>
                <c:pt idx="8">
                  <c:v>42614</c:v>
                </c:pt>
                <c:pt idx="9">
                  <c:v>42644</c:v>
                </c:pt>
                <c:pt idx="10">
                  <c:v>42675</c:v>
                </c:pt>
                <c:pt idx="11">
                  <c:v>42705</c:v>
                </c:pt>
              </c:numCache>
            </c:numRef>
          </c:cat>
          <c:val>
            <c:numRef>
              <c:f>Лист1!$B$2:$B$13</c:f>
              <c:numCache>
                <c:formatCode>General</c:formatCode>
                <c:ptCount val="12"/>
                <c:pt idx="0">
                  <c:v>1</c:v>
                </c:pt>
                <c:pt idx="1">
                  <c:v>2</c:v>
                </c:pt>
                <c:pt idx="2">
                  <c:v>4</c:v>
                </c:pt>
                <c:pt idx="3">
                  <c:v>2</c:v>
                </c:pt>
                <c:pt idx="4">
                  <c:v>3</c:v>
                </c:pt>
                <c:pt idx="5">
                  <c:v>5</c:v>
                </c:pt>
                <c:pt idx="6">
                  <c:v>4</c:v>
                </c:pt>
                <c:pt idx="7">
                  <c:v>6</c:v>
                </c:pt>
                <c:pt idx="8">
                  <c:v>7</c:v>
                </c:pt>
                <c:pt idx="9">
                  <c:v>6</c:v>
                </c:pt>
                <c:pt idx="10">
                  <c:v>9</c:v>
                </c:pt>
                <c:pt idx="11">
                  <c:v>8</c:v>
                </c:pt>
              </c:numCache>
            </c:numRef>
          </c:val>
          <c:smooth val="0"/>
          <c:extLst xmlns:a14="http://schemas.microsoft.com/office/drawing/2010/main" xmlns:wp="http://schemas.openxmlformats.org/drawingml/2006/wordprocessingDrawing" xmlns:w="http://schemas.openxmlformats.org/wordprocessingml/2006/main" xmlns:m="http://schemas.openxmlformats.org/officeDocument/2006/math">
            <c:ext xmlns:c16="http://schemas.microsoft.com/office/drawing/2014/chart" uri="{C3380CC4-5D6E-409C-BE32-E72D297353CC}">
              <c16:uniqueId val="{00000003-46F3-4A95-8EDB-3EDD513587C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565363456"/>
        <c:axId val="565364992"/>
      </c:lineChart>
      <c:dateAx>
        <c:axId val="565363456"/>
        <c:scaling>
          <c:orientation val="minMax"/>
        </c:scaling>
        <c:delete val="0"/>
        <c:axPos val="b"/>
        <c:numFmt formatCode="[$-409]mmm;@" sourceLinked="0"/>
        <c:majorTickMark val="none"/>
        <c:minorTickMark val="none"/>
        <c:tickLblPos val="nextTo"/>
        <c:spPr>
          <a:noFill/>
          <a:ln w="25400" cap="flat" cmpd="sng" algn="ctr">
            <a:solidFill>
              <a:schemeClr val="accent2">
                <a:lumMod val="40000"/>
                <a:lumOff val="60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200" b="0" i="0" u="none" strike="noStrike" kern="1200" baseline="0" smtId="4294967295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  <a:cs typeface="+mn-cs"/>
                <a:sym typeface="Arial" panose="020B0604020202020204" pitchFamily="34" charset="0"/>
              </a:defRPr>
            </a:pPr>
            <a:endParaRPr lang="zh-CN"/>
          </a:p>
        </c:txPr>
        <c:crossAx val="565364992"/>
        <c:crosses val="autoZero"/>
        <c:auto val="0"/>
        <c:lblOffset val="100"/>
        <c:baseTimeUnit val="months"/>
      </c:dateAx>
      <c:valAx>
        <c:axId val="565364992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565363456"/>
        <c:crosses val="autoZero"/>
        <c:crossBetween val="between"/>
        <c:majorUnit val="2"/>
      </c:valAx>
      <c:spPr>
        <a:noFill/>
        <a:ln w="25400"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lang="zh-CN" sz="1200" smtId="4294967295">
          <a:latin typeface="Arial" panose="020B0604020202020204" pitchFamily="34" charset="0"/>
          <a:ea typeface="微软雅黑" panose="020B0503020204020204" pitchFamily="34" charset="-122"/>
          <a:sym typeface="Arial" panose="020B0604020202020204" pitchFamily="34" charset="0"/>
        </a:defRPr>
      </a:pPr>
      <a:endParaRPr lang="zh-CN"/>
    </a:p>
  </c:txPr>
  <c:externalData r:id="rId1">
    <c:autoUpdate val="0"/>
  </c:externalData>
</c:chartSpac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>
              <a:latin typeface="思源黑体 CN Regular" panose="020B0500000000000000" charset="-122"/>
              <a:ea typeface="Gill Sans MT"/>
              <a:cs typeface="思源黑体 CN Regular" panose="020B0500000000000000" charset="-122"/>
            </a:endParaRPr>
          </a:p>
        </p:txBody>
      </p:sp>
      <p:sp>
        <p:nvSpPr>
          <p:cNvPr id="3" name="日期占位符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F9B84EA-7D68-4D60-9CB1-D50884785D1C}" type="datetimeFigureOut">
              <a:rPr lang="zh-CN" altLang="en-US" smtClean="0">
                <a:latin typeface="思源黑体 CN Regular" panose="020B0500000000000000" charset="-122"/>
                <a:ea typeface="Gill Sans MT"/>
                <a:cs typeface="思源黑体 CN Regular" panose="020B0500000000000000" charset="-122"/>
              </a:rPr>
              <a:t>2024/11/23</a:t>
            </a:fld>
            <a:endParaRPr lang="zh-CN" altLang="en-US">
              <a:latin typeface="思源黑体 CN Regular" panose="020B0500000000000000" charset="-122"/>
              <a:ea typeface="Gill Sans MT"/>
              <a:cs typeface="思源黑体 CN Regular" panose="020B0500000000000000" charset="-122"/>
            </a:endParaRPr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>
              <a:latin typeface="思源黑体 CN Regular" panose="020B0500000000000000" charset="-122"/>
              <a:ea typeface="Gill Sans MT"/>
              <a:cs typeface="思源黑体 CN Regular" panose="020B0500000000000000" charset="-122"/>
            </a:endParaRP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D4E0FC9-F1F8-4FAE-9988-3BA365CFD46F}" type="slidenum">
              <a:rPr lang="zh-CN" altLang="en-US" smtClean="0">
                <a:latin typeface="思源黑体 CN Regular" panose="020B0500000000000000" charset="-122"/>
                <a:ea typeface="Gill Sans MT"/>
                <a:cs typeface="思源黑体 CN Regular" panose="020B0500000000000000" charset="-122"/>
              </a:rPr>
              <a:t>‹#›</a:t>
            </a:fld>
            <a:endParaRPr lang="zh-CN" altLang="en-US">
              <a:latin typeface="思源黑体 CN Regular" panose="020B0500000000000000" charset="-122"/>
              <a:ea typeface="Gill Sans MT"/>
              <a:cs typeface="思源黑体 CN Regular" panose="020B0500000000000000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思源黑体 CN Regular" panose="020B0500000000000000" charset="-122"/>
                <a:ea typeface="Gill Sans MT"/>
                <a:cs typeface="思源黑体 CN Regular" panose="020B0500000000000000" charset="-122"/>
              </a:defRPr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思源黑体 CN Regular" panose="020B0500000000000000" charset="-122"/>
                <a:ea typeface="Gill Sans MT"/>
                <a:cs typeface="思源黑体 CN Regular" panose="020B0500000000000000" charset="-122"/>
              </a:defRPr>
            </a:lvl1pPr>
          </a:lstStyle>
          <a:p>
            <a:fld id="{F58EF796-FC5A-4B6C-95B1-E53D1C8910AC}" type="datetimeFigureOut">
              <a:rPr lang="zh-CN" altLang="en-US" smtClean="0"/>
              <a:t>2024/11/23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思源黑体 CN Regular" panose="020B0500000000000000" charset="-122"/>
                <a:ea typeface="Gill Sans MT"/>
                <a:cs typeface="思源黑体 CN Regular" panose="020B0500000000000000" charset="-122"/>
              </a:defRPr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思源黑体 CN Regular" panose="020B0500000000000000" charset="-122"/>
                <a:ea typeface="Gill Sans MT"/>
                <a:cs typeface="思源黑体 CN Regular" panose="020B0500000000000000" charset="-122"/>
              </a:defRPr>
            </a:lvl1pPr>
          </a:lstStyle>
          <a:p>
            <a:fld id="{B989C95D-DFC3-4C01-A017-6CF508A22E06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964093672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思源黑体 CN Regular" panose="020B0500000000000000" charset="-122"/>
        <a:ea typeface="Gill Sans MT"/>
        <a:cs typeface="思源黑体 CN Regular" panose="020B0500000000000000" charset="-122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思源黑体 CN Regular" panose="020B0500000000000000" charset="-122"/>
        <a:ea typeface="Gill Sans MT"/>
        <a:cs typeface="思源黑体 CN Regular" panose="020B0500000000000000" charset="-122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思源黑体 CN Regular" panose="020B0500000000000000" charset="-122"/>
        <a:ea typeface="Gill Sans MT"/>
        <a:cs typeface="思源黑体 CN Regular" panose="020B0500000000000000" charset="-122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思源黑体 CN Regular" panose="020B0500000000000000" charset="-122"/>
        <a:ea typeface="Gill Sans MT"/>
        <a:cs typeface="思源黑体 CN Regular" panose="020B0500000000000000" charset="-122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思源黑体 CN Regular" panose="020B0500000000000000" charset="-122"/>
        <a:ea typeface="Gill Sans MT"/>
        <a:cs typeface="思源黑体 CN Regular" panose="020B0500000000000000" charset="-122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</p:spTree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</p:spTree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</p:spTree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</p:spTree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</p:spTree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</p:spTree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</p:spTree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</p:spTree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</p:spTree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</p:spTree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</p:spTree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</p:spTree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</p:spTree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</p:spTree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zh-CN" dirty="0"/>
              <a:t>Template from: https://www.freeppt7.com/</a:t>
            </a:r>
            <a:endParaRPr lang="zh-CN" altLang="en-US" dirty="0"/>
          </a:p>
        </p:txBody>
      </p:sp>
    </p:spTree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>
              <a:ea typeface="宋体" panose="02010600030101010101" pitchFamily="2" charset="-122"/>
            </a:endParaRPr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hyperlink" Target="http://www.1ppt.com/hangye/" TargetMode="External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p:transition/>
  <p:hf sldNum="0" ft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0" hasCustomPrompt="1"/>
          </p:nvPr>
        </p:nvSpPr>
        <p:spPr>
          <a:xfrm>
            <a:off x="1790699" y="1600200"/>
            <a:ext cx="3657600" cy="3657600"/>
          </a:xfrm>
          <a:custGeom>
            <a:avLst/>
            <a:gdLst>
              <a:gd name="connsiteX0" fmla="*/ 228600 w 3657600"/>
              <a:gd name="connsiteY0" fmla="*/ 228600 h 3657600"/>
              <a:gd name="connsiteX1" fmla="*/ 228600 w 3657600"/>
              <a:gd name="connsiteY1" fmla="*/ 3429000 h 3657600"/>
              <a:gd name="connsiteX2" fmla="*/ 3429000 w 3657600"/>
              <a:gd name="connsiteY2" fmla="*/ 3429000 h 3657600"/>
              <a:gd name="connsiteX3" fmla="*/ 3429000 w 3657600"/>
              <a:gd name="connsiteY3" fmla="*/ 228600 h 3657600"/>
              <a:gd name="connsiteX4" fmla="*/ 0 w 3657600"/>
              <a:gd name="connsiteY4" fmla="*/ 0 h 3657600"/>
              <a:gd name="connsiteX5" fmla="*/ 3657600 w 3657600"/>
              <a:gd name="connsiteY5" fmla="*/ 0 h 3657600"/>
              <a:gd name="connsiteX6" fmla="*/ 3657600 w 3657600"/>
              <a:gd name="connsiteY6" fmla="*/ 3657600 h 3657600"/>
              <a:gd name="connsiteX7" fmla="*/ 0 w 3657600"/>
              <a:gd name="connsiteY7" fmla="*/ 3657600 h 3657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657600" h="3657600">
                <a:moveTo>
                  <a:pt x="228600" y="228600"/>
                </a:moveTo>
                <a:lnTo>
                  <a:pt x="228600" y="3429000"/>
                </a:lnTo>
                <a:lnTo>
                  <a:pt x="3429000" y="3429000"/>
                </a:lnTo>
                <a:lnTo>
                  <a:pt x="3429000" y="228600"/>
                </a:lnTo>
                <a:close/>
                <a:moveTo>
                  <a:pt x="0" y="0"/>
                </a:moveTo>
                <a:lnTo>
                  <a:pt x="3657600" y="0"/>
                </a:lnTo>
                <a:lnTo>
                  <a:pt x="3657600" y="3657600"/>
                </a:lnTo>
                <a:lnTo>
                  <a:pt x="0" y="3657600"/>
                </a:lnTo>
                <a:close/>
              </a:path>
            </a:pathLst>
          </a:custGeom>
          <a:pattFill prst="pct10">
            <a:fgClr>
              <a:schemeClr val="tx1"/>
            </a:fgClr>
            <a:bgClr>
              <a:schemeClr val="bg1"/>
            </a:bgClr>
          </a:pattFill>
        </p:spPr>
        <p:txBody>
          <a:bodyPr wrap="square" anchor="ctr">
            <a:noAutofit/>
          </a:bodyPr>
          <a:lstStyle>
            <a:lvl1pPr algn="ctr">
              <a:defRPr sz="1600" b="0" i="0">
                <a:latin typeface="Titillium" charset="0"/>
                <a:ea typeface="Titillium" charset="0"/>
                <a:cs typeface="Titillium" charset="0"/>
              </a:defRPr>
            </a:lvl1pPr>
          </a:lstStyle>
          <a:p>
            <a:r>
              <a:rPr lang="en-US"/>
              <a:t>Insert Image</a:t>
            </a:r>
          </a:p>
        </p:txBody>
      </p:sp>
    </p:spTree>
  </p:cSld>
  <p:clrMapOvr>
    <a:masterClrMapping/>
  </p:clrMapOvr>
  <p:transition/>
  <p:hf sldNum="0" ftr="0" dt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p:transition/>
  <p:hf sldNum="0" ftr="0" dt="0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2"/>
          <p:cNvSpPr>
            <a:spLocks noGrp="1"/>
          </p:cNvSpPr>
          <p:nvPr>
            <p:ph type="pic" sz="quarter" idx="15" hasCustomPrompt="1"/>
          </p:nvPr>
        </p:nvSpPr>
        <p:spPr>
          <a:xfrm>
            <a:off x="1790700" y="685800"/>
            <a:ext cx="8610600" cy="5486400"/>
          </a:xfrm>
          <a:prstGeom prst="rect">
            <a:avLst/>
          </a:prstGeom>
          <a:pattFill prst="pct10">
            <a:fgClr>
              <a:schemeClr val="tx1"/>
            </a:fgClr>
            <a:bgClr>
              <a:schemeClr val="bg1"/>
            </a:bgClr>
          </a:pattFill>
        </p:spPr>
        <p:txBody>
          <a:bodyPr anchor="ctr"/>
          <a:lstStyle>
            <a:lvl1pPr algn="ctr">
              <a:defRPr sz="1600" b="0" i="0">
                <a:latin typeface="Titillium" charset="0"/>
                <a:ea typeface="Titillium" charset="0"/>
                <a:cs typeface="Titillium" charset="0"/>
              </a:defRPr>
            </a:lvl1pPr>
          </a:lstStyle>
          <a:p>
            <a:r>
              <a:rPr lang="en-US"/>
              <a:t>Insert Image</a:t>
            </a:r>
          </a:p>
        </p:txBody>
      </p:sp>
    </p:spTree>
  </p:cSld>
  <p:clrMapOvr>
    <a:masterClrMapping/>
  </p:clrMapOvr>
  <p:transition/>
  <p:hf sldNum="0" ftr="0" dt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1" cy="6858000"/>
          </a:xfrm>
          <a:prstGeom prst="rect">
            <a:avLst/>
          </a:prstGeom>
          <a:pattFill prst="wdUpDiag">
            <a:fgClr>
              <a:schemeClr val="bg1">
                <a:lumMod val="75000"/>
                <a:lumOff val="25000"/>
              </a:schemeClr>
            </a:fgClr>
            <a:bgClr>
              <a:schemeClr val="bg1"/>
            </a:bgClr>
          </a:pattFill>
        </p:spPr>
        <p:txBody>
          <a:bodyPr anchor="ctr"/>
          <a:lstStyle>
            <a:lvl1pPr algn="ctr">
              <a:defRPr sz="1400" b="0" i="0">
                <a:latin typeface="Titillium" charset="0"/>
                <a:ea typeface="Titillium" charset="0"/>
                <a:cs typeface="Titillium" charset="0"/>
              </a:defRPr>
            </a:lvl1pPr>
          </a:lstStyle>
          <a:p>
            <a:r>
              <a:rPr lang="en-US"/>
              <a:t>Insert Image</a:t>
            </a:r>
          </a:p>
        </p:txBody>
      </p:sp>
    </p:spTree>
  </p:cSld>
  <p:clrMapOvr>
    <a:masterClrMapping/>
  </p:clrMapOvr>
  <p:transition/>
  <p:hf sldNum="0" ftr="0" dt="0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p:transition/>
  <p:hf sldNum="0" ftr="0" dt="0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 hasCustomPrompt="1"/>
          </p:nvPr>
        </p:nvSpPr>
        <p:spPr>
          <a:xfrm>
            <a:off x="4436077" y="0"/>
            <a:ext cx="7755924" cy="6858000"/>
          </a:xfrm>
          <a:prstGeom prst="rect">
            <a:avLst/>
          </a:prstGeom>
          <a:pattFill prst="wdUpDiag">
            <a:fgClr>
              <a:schemeClr val="bg1">
                <a:lumMod val="75000"/>
                <a:lumOff val="25000"/>
              </a:schemeClr>
            </a:fgClr>
            <a:bgClr>
              <a:schemeClr val="bg1"/>
            </a:bgClr>
          </a:pattFill>
        </p:spPr>
        <p:txBody>
          <a:bodyPr anchor="ctr"/>
          <a:lstStyle>
            <a:lvl1pPr algn="ctr">
              <a:defRPr sz="1400" b="0" i="0">
                <a:latin typeface="Titillium" charset="0"/>
                <a:ea typeface="Titillium" charset="0"/>
                <a:cs typeface="Titillium" charset="0"/>
              </a:defRPr>
            </a:lvl1pPr>
          </a:lstStyle>
          <a:p>
            <a:r>
              <a:rPr lang="en-US"/>
              <a:t>Insert Image</a:t>
            </a:r>
          </a:p>
        </p:txBody>
      </p:sp>
    </p:spTree>
  </p:cSld>
  <p:clrMapOvr>
    <a:masterClrMapping/>
  </p:clrMapOvr>
  <p:transition/>
  <p:hf sldNum="0" ftr="0" dt="0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1" cy="3429000"/>
          </a:xfrm>
          <a:prstGeom prst="rect">
            <a:avLst/>
          </a:prstGeom>
          <a:pattFill prst="wdUpDiag">
            <a:fgClr>
              <a:schemeClr val="bg1">
                <a:lumMod val="75000"/>
                <a:lumOff val="25000"/>
              </a:schemeClr>
            </a:fgClr>
            <a:bgClr>
              <a:schemeClr val="bg1"/>
            </a:bgClr>
          </a:pattFill>
        </p:spPr>
        <p:txBody>
          <a:bodyPr anchor="ctr"/>
          <a:lstStyle>
            <a:lvl1pPr algn="ctr">
              <a:defRPr sz="1400" b="0" i="0">
                <a:latin typeface="Titillium" charset="0"/>
                <a:ea typeface="Titillium" charset="0"/>
                <a:cs typeface="Titillium" charset="0"/>
              </a:defRPr>
            </a:lvl1pPr>
          </a:lstStyle>
          <a:p>
            <a:r>
              <a:rPr lang="en-US"/>
              <a:t>Insert Image</a:t>
            </a:r>
          </a:p>
        </p:txBody>
      </p:sp>
    </p:spTree>
  </p:cSld>
  <p:clrMapOvr>
    <a:masterClrMapping/>
  </p:clrMapOvr>
  <p:transition/>
  <p:hf sldNum="0" ftr="0" dt="0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p:transition/>
  <p:hf sldNum="0" ftr="0" dt="0"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p:transition/>
  <p:hf sldNum="0" ftr="0" dt="0"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1_New Chapter 2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Picture Placeholder 32"/>
          <p:cNvSpPr>
            <a:spLocks noGrp="1"/>
          </p:cNvSpPr>
          <p:nvPr>
            <p:ph type="pic" sz="quarter" idx="10"/>
          </p:nvPr>
        </p:nvSpPr>
        <p:spPr>
          <a:xfrm>
            <a:off x="762000" y="1366326"/>
            <a:ext cx="3994570" cy="3994570"/>
          </a:xfrm>
          <a:custGeom>
            <a:avLst/>
            <a:gdLst>
              <a:gd name="connsiteX0" fmla="*/ 2399372 w 4798744"/>
              <a:gd name="connsiteY0" fmla="*/ 0 h 4798744"/>
              <a:gd name="connsiteX1" fmla="*/ 2917182 w 4798744"/>
              <a:gd name="connsiteY1" fmla="*/ 214484 h 4798744"/>
              <a:gd name="connsiteX2" fmla="*/ 4584260 w 4798744"/>
              <a:gd name="connsiteY2" fmla="*/ 1881562 h 4798744"/>
              <a:gd name="connsiteX3" fmla="*/ 4584260 w 4798744"/>
              <a:gd name="connsiteY3" fmla="*/ 2917182 h 4798744"/>
              <a:gd name="connsiteX4" fmla="*/ 2917182 w 4798744"/>
              <a:gd name="connsiteY4" fmla="*/ 4584260 h 4798744"/>
              <a:gd name="connsiteX5" fmla="*/ 1881562 w 4798744"/>
              <a:gd name="connsiteY5" fmla="*/ 4584260 h 4798744"/>
              <a:gd name="connsiteX6" fmla="*/ 214484 w 4798744"/>
              <a:gd name="connsiteY6" fmla="*/ 2917182 h 4798744"/>
              <a:gd name="connsiteX7" fmla="*/ 214484 w 4798744"/>
              <a:gd name="connsiteY7" fmla="*/ 1881562 h 4798744"/>
              <a:gd name="connsiteX8" fmla="*/ 1881562 w 4798744"/>
              <a:gd name="connsiteY8" fmla="*/ 214484 h 4798744"/>
              <a:gd name="connsiteX9" fmla="*/ 2399372 w 4798744"/>
              <a:gd name="connsiteY9" fmla="*/ 0 h 47987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4798744" h="4798744">
                <a:moveTo>
                  <a:pt x="2399372" y="0"/>
                </a:moveTo>
                <a:cubicBezTo>
                  <a:pt x="2586783" y="0"/>
                  <a:pt x="2774193" y="71495"/>
                  <a:pt x="2917182" y="214484"/>
                </a:cubicBezTo>
                <a:lnTo>
                  <a:pt x="4584260" y="1881562"/>
                </a:lnTo>
                <a:cubicBezTo>
                  <a:pt x="4870239" y="2167541"/>
                  <a:pt x="4870239" y="2631203"/>
                  <a:pt x="4584260" y="2917182"/>
                </a:cubicBezTo>
                <a:lnTo>
                  <a:pt x="2917182" y="4584260"/>
                </a:lnTo>
                <a:cubicBezTo>
                  <a:pt x="2631204" y="4870239"/>
                  <a:pt x="2167541" y="4870239"/>
                  <a:pt x="1881562" y="4584260"/>
                </a:cubicBezTo>
                <a:lnTo>
                  <a:pt x="214484" y="2917182"/>
                </a:lnTo>
                <a:cubicBezTo>
                  <a:pt x="-71494" y="2631203"/>
                  <a:pt x="-71494" y="2167541"/>
                  <a:pt x="214484" y="1881562"/>
                </a:cubicBezTo>
                <a:lnTo>
                  <a:pt x="1881562" y="214484"/>
                </a:lnTo>
                <a:cubicBezTo>
                  <a:pt x="2024552" y="71495"/>
                  <a:pt x="2211962" y="0"/>
                  <a:pt x="2399372" y="0"/>
                </a:cubicBezTo>
                <a:close/>
              </a:path>
            </a:pathLst>
          </a:custGeom>
          <a:solidFill>
            <a:schemeClr val="accent3"/>
          </a:solidFill>
        </p:spPr>
        <p:txBody>
          <a:bodyPr wrap="square">
            <a:noAutofit/>
          </a:bodyPr>
          <a:lstStyle>
            <a:lvl1pPr>
              <a:defRPr>
                <a:latin typeface="Raleway" charset="0"/>
              </a:defRPr>
            </a:lvl1pPr>
          </a:lstStyle>
          <a:p>
            <a:endParaRPr lang="id-ID"/>
          </a:p>
        </p:txBody>
      </p:sp>
      <p:grpSp>
        <p:nvGrpSpPr>
          <p:cNvPr id="2" name="Group 1"/>
          <p:cNvGrpSpPr/>
          <p:nvPr userDrawn="1"/>
        </p:nvGrpSpPr>
        <p:grpSpPr>
          <a:xfrm>
            <a:off x="2618487" y="0"/>
            <a:ext cx="252768" cy="1776278"/>
            <a:chOff x="2618487" y="0"/>
            <a:chExt cx="252768" cy="1776278"/>
          </a:xfrm>
        </p:grpSpPr>
        <p:cxnSp>
          <p:nvCxnSpPr>
            <p:cNvPr id="32" name="Straight Connector 31"/>
            <p:cNvCxnSpPr/>
            <p:nvPr/>
          </p:nvCxnSpPr>
          <p:spPr>
            <a:xfrm flipH="1">
              <a:off x="2744871" y="0"/>
              <a:ext cx="0" cy="1636638"/>
            </a:xfrm>
            <a:prstGeom prst="line">
              <a:avLst/>
            </a:prstGeom>
            <a:ln>
              <a:solidFill>
                <a:schemeClr val="tx1">
                  <a:alpha val="2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4" name="Oval 33"/>
            <p:cNvSpPr/>
            <p:nvPr/>
          </p:nvSpPr>
          <p:spPr>
            <a:xfrm>
              <a:off x="2618487" y="1523510"/>
              <a:ext cx="252768" cy="252768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381000" dist="254000" dir="5400000" algn="t" rotWithShape="0">
                <a:prstClr val="black">
                  <a:alpha val="15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US" sz="1400">
                <a:solidFill>
                  <a:schemeClr val="tx1"/>
                </a:solidFill>
                <a:latin typeface="思源黑体 CN Regular" panose="020B0500000000000000" charset="-122"/>
                <a:ea typeface="思源黑体 CN Regular" panose="020B0500000000000000" charset="-122"/>
                <a:cs typeface="思源黑体 CN Regular" panose="020B0500000000000000" charset="-122"/>
              </a:endParaRPr>
            </a:p>
          </p:txBody>
        </p:sp>
      </p:grpSp>
      <p:grpSp>
        <p:nvGrpSpPr>
          <p:cNvPr id="3" name="Group 2"/>
          <p:cNvGrpSpPr/>
          <p:nvPr userDrawn="1"/>
        </p:nvGrpSpPr>
        <p:grpSpPr>
          <a:xfrm>
            <a:off x="2632901" y="5234512"/>
            <a:ext cx="252768" cy="1638602"/>
            <a:chOff x="2632901" y="5234512"/>
            <a:chExt cx="252768" cy="1638602"/>
          </a:xfrm>
        </p:grpSpPr>
        <p:cxnSp>
          <p:nvCxnSpPr>
            <p:cNvPr id="31" name="Straight Connector 30"/>
            <p:cNvCxnSpPr/>
            <p:nvPr/>
          </p:nvCxnSpPr>
          <p:spPr>
            <a:xfrm flipH="1">
              <a:off x="2744871" y="5236476"/>
              <a:ext cx="0" cy="1636638"/>
            </a:xfrm>
            <a:prstGeom prst="line">
              <a:avLst/>
            </a:prstGeom>
            <a:ln>
              <a:solidFill>
                <a:schemeClr val="tx1">
                  <a:alpha val="2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5" name="Oval 34"/>
            <p:cNvSpPr/>
            <p:nvPr/>
          </p:nvSpPr>
          <p:spPr>
            <a:xfrm>
              <a:off x="2632901" y="5234512"/>
              <a:ext cx="252768" cy="252768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381000" dist="254000" dir="5400000" algn="t" rotWithShape="0">
                <a:prstClr val="black">
                  <a:alpha val="15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US" sz="1400">
                <a:solidFill>
                  <a:schemeClr val="tx1"/>
                </a:solidFill>
                <a:latin typeface="思源黑体 CN Regular" panose="020B0500000000000000" charset="-122"/>
                <a:ea typeface="思源黑体 CN Regular" panose="020B0500000000000000" charset="-122"/>
                <a:cs typeface="思源黑体 CN Regular" panose="020B0500000000000000" charset="-122"/>
              </a:endParaRPr>
            </a:p>
          </p:txBody>
        </p:sp>
      </p:grpSp>
    </p:spTree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after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dur="5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 nodeType="afterGroup">
                            <p:stCondLst>
                              <p:cond delay="500"/>
                            </p:stCondLst>
                            <p:childTnLst>
                              <p:par>
                                <p:cTn id="9" presetID="20" presetClass="entr" presetSubtype="0" dur="1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edge">
                                      <p:cBhvr>
                                        <p:cTn id="11" dur="10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 nodeType="afterGroup">
                            <p:stCondLst>
                              <p:cond delay="1500"/>
                            </p:stCondLst>
                            <p:childTnLst>
                              <p:par>
                                <p:cTn id="13" presetID="22" presetClass="entr" presetSubtype="1" dur="5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5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3" grpId="0" bldLvl="0" animBg="1"/>
    </p:bldLst>
  </p:timing>
  <p:hf sldNum="0" ft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A51786-9DDF-404B-8F81-531DAE20F938}" type="datetimeFigureOut">
              <a:rPr lang="zh-CN" altLang="en-US" smtClean="0"/>
              <a:t>2024/11/23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901947-2015-41B3-BD25-B4F5F50681E3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  <p:transition/>
  <p:hf sldNum="0" ftr="0" dt="0"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32"/>
          <p:cNvSpPr>
            <a:spLocks noGrp="1"/>
          </p:cNvSpPr>
          <p:nvPr>
            <p:ph type="pic" sz="quarter" idx="10"/>
          </p:nvPr>
        </p:nvSpPr>
        <p:spPr>
          <a:xfrm>
            <a:off x="725424" y="2573334"/>
            <a:ext cx="3994570" cy="3994570"/>
          </a:xfrm>
          <a:custGeom>
            <a:avLst/>
            <a:gdLst>
              <a:gd name="connsiteX0" fmla="*/ 2399372 w 4798744"/>
              <a:gd name="connsiteY0" fmla="*/ 0 h 4798744"/>
              <a:gd name="connsiteX1" fmla="*/ 2917182 w 4798744"/>
              <a:gd name="connsiteY1" fmla="*/ 214484 h 4798744"/>
              <a:gd name="connsiteX2" fmla="*/ 4584260 w 4798744"/>
              <a:gd name="connsiteY2" fmla="*/ 1881562 h 4798744"/>
              <a:gd name="connsiteX3" fmla="*/ 4584260 w 4798744"/>
              <a:gd name="connsiteY3" fmla="*/ 2917182 h 4798744"/>
              <a:gd name="connsiteX4" fmla="*/ 2917182 w 4798744"/>
              <a:gd name="connsiteY4" fmla="*/ 4584260 h 4798744"/>
              <a:gd name="connsiteX5" fmla="*/ 1881562 w 4798744"/>
              <a:gd name="connsiteY5" fmla="*/ 4584260 h 4798744"/>
              <a:gd name="connsiteX6" fmla="*/ 214484 w 4798744"/>
              <a:gd name="connsiteY6" fmla="*/ 2917182 h 4798744"/>
              <a:gd name="connsiteX7" fmla="*/ 214484 w 4798744"/>
              <a:gd name="connsiteY7" fmla="*/ 1881562 h 4798744"/>
              <a:gd name="connsiteX8" fmla="*/ 1881562 w 4798744"/>
              <a:gd name="connsiteY8" fmla="*/ 214484 h 4798744"/>
              <a:gd name="connsiteX9" fmla="*/ 2399372 w 4798744"/>
              <a:gd name="connsiteY9" fmla="*/ 0 h 47987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4798744" h="4798744">
                <a:moveTo>
                  <a:pt x="2399372" y="0"/>
                </a:moveTo>
                <a:cubicBezTo>
                  <a:pt x="2586783" y="0"/>
                  <a:pt x="2774193" y="71495"/>
                  <a:pt x="2917182" y="214484"/>
                </a:cubicBezTo>
                <a:lnTo>
                  <a:pt x="4584260" y="1881562"/>
                </a:lnTo>
                <a:cubicBezTo>
                  <a:pt x="4870239" y="2167541"/>
                  <a:pt x="4870239" y="2631203"/>
                  <a:pt x="4584260" y="2917182"/>
                </a:cubicBezTo>
                <a:lnTo>
                  <a:pt x="2917182" y="4584260"/>
                </a:lnTo>
                <a:cubicBezTo>
                  <a:pt x="2631204" y="4870239"/>
                  <a:pt x="2167541" y="4870239"/>
                  <a:pt x="1881562" y="4584260"/>
                </a:cubicBezTo>
                <a:lnTo>
                  <a:pt x="214484" y="2917182"/>
                </a:lnTo>
                <a:cubicBezTo>
                  <a:pt x="-71494" y="2631203"/>
                  <a:pt x="-71494" y="2167541"/>
                  <a:pt x="214484" y="1881562"/>
                </a:cubicBezTo>
                <a:lnTo>
                  <a:pt x="1881562" y="214484"/>
                </a:lnTo>
                <a:cubicBezTo>
                  <a:pt x="2024552" y="71495"/>
                  <a:pt x="2211962" y="0"/>
                  <a:pt x="2399372" y="0"/>
                </a:cubicBezTo>
                <a:close/>
              </a:path>
            </a:pathLst>
          </a:custGeom>
          <a:solidFill>
            <a:schemeClr val="accent3"/>
          </a:solidFill>
        </p:spPr>
        <p:txBody>
          <a:bodyPr wrap="square">
            <a:noAutofit/>
          </a:bodyPr>
          <a:lstStyle>
            <a:lvl1pPr>
              <a:defRPr>
                <a:latin typeface="Raleway" charset="0"/>
              </a:defRPr>
            </a:lvl1pPr>
          </a:lstStyle>
          <a:p>
            <a:endParaRPr lang="id-ID"/>
          </a:p>
        </p:txBody>
      </p:sp>
    </p:spTree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after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20" presetClass="entr" presetSubtype="0" dur="1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edge">
                                      <p:cBhvr>
                                        <p:cTn id="7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bldLvl="0" animBg="1"/>
    </p:bldLst>
  </p:timing>
  <p:hf sldNum="0" ftr="0" dt="0"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2_New Chapter 2">
    <p:bg>
      <p:bgPr>
        <a:gradFill flip="none" rotWithShape="1">
          <a:gsLst>
            <a:gs pos="0">
              <a:srgbClr val="FFFFFF"/>
            </a:gs>
            <a:gs pos="100000">
              <a:schemeClr val="bg1">
                <a:lumMod val="85000"/>
              </a:schemeClr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0" y="-1"/>
            <a:ext cx="12192000" cy="3609353"/>
          </a:xfrm>
          <a:prstGeom prst="rect">
            <a:avLst/>
          </a:prstGeom>
          <a:solidFill>
            <a:schemeClr val="accent5"/>
          </a:solidFill>
        </p:spPr>
        <p:txBody>
          <a:bodyPr/>
          <a:lstStyle>
            <a:lvl1pPr>
              <a:defRPr>
                <a:latin typeface="Raleway" charset="0"/>
              </a:defRPr>
            </a:lvl1pPr>
          </a:lstStyle>
          <a:p>
            <a:endParaRPr lang="id-ID"/>
          </a:p>
        </p:txBody>
      </p:sp>
      <p:sp>
        <p:nvSpPr>
          <p:cNvPr id="79" name="Parallelogram 78"/>
          <p:cNvSpPr/>
          <p:nvPr userDrawn="1"/>
        </p:nvSpPr>
        <p:spPr>
          <a:xfrm>
            <a:off x="8261216" y="990261"/>
            <a:ext cx="1216152" cy="914400"/>
          </a:xfrm>
          <a:prstGeom prst="parallelogram">
            <a:avLst>
              <a:gd name="adj" fmla="val 39583"/>
            </a:avLst>
          </a:prstGeom>
          <a:solidFill>
            <a:schemeClr val="bg2">
              <a:lumMod val="85000"/>
              <a:alpha val="23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/>
            <a:endParaRPr lang="id-ID">
              <a:solidFill>
                <a:schemeClr val="tx1"/>
              </a:solidFill>
              <a:latin typeface="思源黑体 CN Regular" panose="020B0500000000000000" charset="-122"/>
              <a:cs typeface="思源黑体 CN Regular" panose="020B0500000000000000" charset="-122"/>
            </a:endParaRPr>
          </a:p>
        </p:txBody>
      </p:sp>
      <p:sp>
        <p:nvSpPr>
          <p:cNvPr id="81" name="Parallelogram 80"/>
          <p:cNvSpPr/>
          <p:nvPr userDrawn="1"/>
        </p:nvSpPr>
        <p:spPr>
          <a:xfrm>
            <a:off x="952500" y="0"/>
            <a:ext cx="1216152" cy="914400"/>
          </a:xfrm>
          <a:prstGeom prst="parallelogram">
            <a:avLst>
              <a:gd name="adj" fmla="val 39583"/>
            </a:avLst>
          </a:prstGeom>
          <a:solidFill>
            <a:schemeClr val="bg2">
              <a:lumMod val="85000"/>
              <a:alpha val="43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/>
            <a:endParaRPr lang="id-ID">
              <a:solidFill>
                <a:schemeClr val="tx1"/>
              </a:solidFill>
              <a:latin typeface="思源黑体 CN Regular" panose="020B0500000000000000" charset="-122"/>
              <a:cs typeface="思源黑体 CN Regular" panose="020B0500000000000000" charset="-122"/>
            </a:endParaRPr>
          </a:p>
        </p:txBody>
      </p:sp>
      <p:sp>
        <p:nvSpPr>
          <p:cNvPr id="83" name="Parallelogram 82"/>
          <p:cNvSpPr/>
          <p:nvPr userDrawn="1"/>
        </p:nvSpPr>
        <p:spPr>
          <a:xfrm>
            <a:off x="9896856" y="2457450"/>
            <a:ext cx="709422" cy="533400"/>
          </a:xfrm>
          <a:prstGeom prst="parallelogram">
            <a:avLst>
              <a:gd name="adj" fmla="val 39583"/>
            </a:avLst>
          </a:prstGeom>
          <a:solidFill>
            <a:schemeClr val="bg2">
              <a:lumMod val="85000"/>
              <a:alpha val="28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/>
            <a:endParaRPr lang="id-ID">
              <a:solidFill>
                <a:schemeClr val="tx1"/>
              </a:solidFill>
              <a:latin typeface="思源黑体 CN Regular" panose="020B0500000000000000" charset="-122"/>
              <a:cs typeface="思源黑体 CN Regular" panose="020B0500000000000000" charset="-122"/>
            </a:endParaRPr>
          </a:p>
        </p:txBody>
      </p:sp>
    </p:spTree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after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dur="5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ldLvl="0" animBg="1"/>
    </p:bldLst>
  </p:timing>
  <p:hf sldNum="0" ftr="0" dt="0"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Picture Placeholder 17"/>
          <p:cNvSpPr>
            <a:spLocks noGrp="1"/>
          </p:cNvSpPr>
          <p:nvPr>
            <p:ph type="pic" sz="quarter" idx="10"/>
          </p:nvPr>
        </p:nvSpPr>
        <p:spPr>
          <a:xfrm>
            <a:off x="1183336" y="1226108"/>
            <a:ext cx="1736372" cy="1498508"/>
          </a:xfrm>
          <a:custGeom>
            <a:avLst/>
            <a:gdLst>
              <a:gd name="connsiteX0" fmla="*/ 0 w 1736372"/>
              <a:gd name="connsiteY0" fmla="*/ 0 h 1498508"/>
              <a:gd name="connsiteX1" fmla="*/ 1736372 w 1736372"/>
              <a:gd name="connsiteY1" fmla="*/ 0 h 1498508"/>
              <a:gd name="connsiteX2" fmla="*/ 1736372 w 1736372"/>
              <a:gd name="connsiteY2" fmla="*/ 1498508 h 1498508"/>
              <a:gd name="connsiteX3" fmla="*/ 0 w 1736372"/>
              <a:gd name="connsiteY3" fmla="*/ 1498508 h 14985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736371" h="1498508">
                <a:moveTo>
                  <a:pt x="0" y="0"/>
                </a:moveTo>
                <a:lnTo>
                  <a:pt x="1736372" y="0"/>
                </a:lnTo>
                <a:lnTo>
                  <a:pt x="1736372" y="1498508"/>
                </a:lnTo>
                <a:lnTo>
                  <a:pt x="0" y="1498508"/>
                </a:lnTo>
                <a:close/>
              </a:path>
            </a:pathLst>
          </a:custGeom>
          <a:noFill/>
        </p:spPr>
        <p:txBody>
          <a:bodyPr wrap="square">
            <a:noAutofit/>
          </a:bodyPr>
          <a:lstStyle/>
          <a:p>
            <a:endParaRPr lang="id-ID"/>
          </a:p>
        </p:txBody>
      </p:sp>
      <p:sp>
        <p:nvSpPr>
          <p:cNvPr id="21" name="Picture Placeholder 20"/>
          <p:cNvSpPr>
            <a:spLocks noGrp="1"/>
          </p:cNvSpPr>
          <p:nvPr>
            <p:ph type="pic" sz="quarter" idx="11"/>
          </p:nvPr>
        </p:nvSpPr>
        <p:spPr>
          <a:xfrm>
            <a:off x="1183336" y="2880034"/>
            <a:ext cx="1736077" cy="1498291"/>
          </a:xfrm>
          <a:custGeom>
            <a:avLst/>
            <a:gdLst>
              <a:gd name="connsiteX0" fmla="*/ 0 w 1736077"/>
              <a:gd name="connsiteY0" fmla="*/ 0 h 1498291"/>
              <a:gd name="connsiteX1" fmla="*/ 1736077 w 1736077"/>
              <a:gd name="connsiteY1" fmla="*/ 0 h 1498291"/>
              <a:gd name="connsiteX2" fmla="*/ 1736077 w 1736077"/>
              <a:gd name="connsiteY2" fmla="*/ 1498291 h 1498291"/>
              <a:gd name="connsiteX3" fmla="*/ 0 w 1736077"/>
              <a:gd name="connsiteY3" fmla="*/ 1498291 h 14982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736077" h="1498291">
                <a:moveTo>
                  <a:pt x="0" y="0"/>
                </a:moveTo>
                <a:lnTo>
                  <a:pt x="1736077" y="0"/>
                </a:lnTo>
                <a:lnTo>
                  <a:pt x="1736077" y="1498291"/>
                </a:lnTo>
                <a:lnTo>
                  <a:pt x="0" y="1498291"/>
                </a:lnTo>
                <a:close/>
              </a:path>
            </a:pathLst>
          </a:custGeom>
          <a:noFill/>
        </p:spPr>
        <p:txBody>
          <a:bodyPr wrap="square">
            <a:noAutofit/>
          </a:bodyPr>
          <a:lstStyle/>
          <a:p>
            <a:endParaRPr lang="id-ID"/>
          </a:p>
        </p:txBody>
      </p:sp>
      <p:sp>
        <p:nvSpPr>
          <p:cNvPr id="24" name="Picture Placeholder 23"/>
          <p:cNvSpPr>
            <a:spLocks noGrp="1"/>
          </p:cNvSpPr>
          <p:nvPr>
            <p:ph type="pic" sz="quarter" idx="12"/>
          </p:nvPr>
        </p:nvSpPr>
        <p:spPr>
          <a:xfrm>
            <a:off x="1183336" y="4552669"/>
            <a:ext cx="1736077" cy="1498508"/>
          </a:xfrm>
          <a:custGeom>
            <a:avLst/>
            <a:gdLst>
              <a:gd name="connsiteX0" fmla="*/ 0 w 1736077"/>
              <a:gd name="connsiteY0" fmla="*/ 0 h 1498508"/>
              <a:gd name="connsiteX1" fmla="*/ 1736077 w 1736077"/>
              <a:gd name="connsiteY1" fmla="*/ 0 h 1498508"/>
              <a:gd name="connsiteX2" fmla="*/ 1736077 w 1736077"/>
              <a:gd name="connsiteY2" fmla="*/ 1498508 h 1498508"/>
              <a:gd name="connsiteX3" fmla="*/ 0 w 1736077"/>
              <a:gd name="connsiteY3" fmla="*/ 1498508 h 14985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736077" h="1498508">
                <a:moveTo>
                  <a:pt x="0" y="0"/>
                </a:moveTo>
                <a:lnTo>
                  <a:pt x="1736077" y="0"/>
                </a:lnTo>
                <a:lnTo>
                  <a:pt x="1736077" y="1498508"/>
                </a:lnTo>
                <a:lnTo>
                  <a:pt x="0" y="1498508"/>
                </a:lnTo>
                <a:close/>
              </a:path>
            </a:pathLst>
          </a:custGeom>
          <a:noFill/>
        </p:spPr>
        <p:txBody>
          <a:bodyPr wrap="square">
            <a:noAutofit/>
          </a:bodyPr>
          <a:lstStyle/>
          <a:p>
            <a:endParaRPr lang="id-ID"/>
          </a:p>
        </p:txBody>
      </p:sp>
      <p:sp>
        <p:nvSpPr>
          <p:cNvPr id="27" name="Picture Placeholder 26"/>
          <p:cNvSpPr>
            <a:spLocks noGrp="1"/>
          </p:cNvSpPr>
          <p:nvPr>
            <p:ph type="pic" sz="quarter" idx="13"/>
          </p:nvPr>
        </p:nvSpPr>
        <p:spPr>
          <a:xfrm>
            <a:off x="3154995" y="1226673"/>
            <a:ext cx="1736372" cy="1497943"/>
          </a:xfrm>
          <a:custGeom>
            <a:avLst/>
            <a:gdLst>
              <a:gd name="connsiteX0" fmla="*/ 0 w 1736372"/>
              <a:gd name="connsiteY0" fmla="*/ 0 h 1497943"/>
              <a:gd name="connsiteX1" fmla="*/ 1736372 w 1736372"/>
              <a:gd name="connsiteY1" fmla="*/ 0 h 1497943"/>
              <a:gd name="connsiteX2" fmla="*/ 1736372 w 1736372"/>
              <a:gd name="connsiteY2" fmla="*/ 1497943 h 1497943"/>
              <a:gd name="connsiteX3" fmla="*/ 0 w 1736372"/>
              <a:gd name="connsiteY3" fmla="*/ 1497943 h 14979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736371" h="1497943">
                <a:moveTo>
                  <a:pt x="0" y="0"/>
                </a:moveTo>
                <a:lnTo>
                  <a:pt x="1736372" y="0"/>
                </a:lnTo>
                <a:lnTo>
                  <a:pt x="1736372" y="1497943"/>
                </a:lnTo>
                <a:lnTo>
                  <a:pt x="0" y="1497943"/>
                </a:lnTo>
                <a:close/>
              </a:path>
            </a:pathLst>
          </a:custGeom>
          <a:noFill/>
        </p:spPr>
        <p:txBody>
          <a:bodyPr wrap="square">
            <a:noAutofit/>
          </a:bodyPr>
          <a:lstStyle/>
          <a:p>
            <a:endParaRPr lang="id-ID"/>
          </a:p>
        </p:txBody>
      </p:sp>
      <p:sp>
        <p:nvSpPr>
          <p:cNvPr id="30" name="Picture Placeholder 29"/>
          <p:cNvSpPr>
            <a:spLocks noGrp="1"/>
          </p:cNvSpPr>
          <p:nvPr>
            <p:ph type="pic" sz="quarter" idx="14"/>
          </p:nvPr>
        </p:nvSpPr>
        <p:spPr>
          <a:xfrm>
            <a:off x="3155671" y="2933792"/>
            <a:ext cx="1735696" cy="1498508"/>
          </a:xfrm>
          <a:custGeom>
            <a:avLst/>
            <a:gdLst>
              <a:gd name="connsiteX0" fmla="*/ 0 w 1735696"/>
              <a:gd name="connsiteY0" fmla="*/ 0 h 1498508"/>
              <a:gd name="connsiteX1" fmla="*/ 1735696 w 1735696"/>
              <a:gd name="connsiteY1" fmla="*/ 0 h 1498508"/>
              <a:gd name="connsiteX2" fmla="*/ 1735696 w 1735696"/>
              <a:gd name="connsiteY2" fmla="*/ 1498508 h 1498508"/>
              <a:gd name="connsiteX3" fmla="*/ 0 w 1735696"/>
              <a:gd name="connsiteY3" fmla="*/ 1498508 h 14985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735696" h="1498508">
                <a:moveTo>
                  <a:pt x="0" y="0"/>
                </a:moveTo>
                <a:lnTo>
                  <a:pt x="1735696" y="0"/>
                </a:lnTo>
                <a:lnTo>
                  <a:pt x="1735696" y="1498508"/>
                </a:lnTo>
                <a:lnTo>
                  <a:pt x="0" y="1498508"/>
                </a:lnTo>
                <a:close/>
              </a:path>
            </a:pathLst>
          </a:custGeom>
          <a:noFill/>
        </p:spPr>
        <p:txBody>
          <a:bodyPr wrap="square">
            <a:noAutofit/>
          </a:bodyPr>
          <a:lstStyle/>
          <a:p>
            <a:endParaRPr lang="id-ID"/>
          </a:p>
        </p:txBody>
      </p:sp>
      <p:sp>
        <p:nvSpPr>
          <p:cNvPr id="33" name="Picture Placeholder 32"/>
          <p:cNvSpPr>
            <a:spLocks noGrp="1"/>
          </p:cNvSpPr>
          <p:nvPr>
            <p:ph type="pic" sz="quarter" idx="15"/>
          </p:nvPr>
        </p:nvSpPr>
        <p:spPr>
          <a:xfrm>
            <a:off x="3155494" y="4571299"/>
            <a:ext cx="1735873" cy="1498508"/>
          </a:xfrm>
          <a:custGeom>
            <a:avLst/>
            <a:gdLst>
              <a:gd name="connsiteX0" fmla="*/ 0 w 1735873"/>
              <a:gd name="connsiteY0" fmla="*/ 0 h 1498508"/>
              <a:gd name="connsiteX1" fmla="*/ 1735873 w 1735873"/>
              <a:gd name="connsiteY1" fmla="*/ 0 h 1498508"/>
              <a:gd name="connsiteX2" fmla="*/ 1735873 w 1735873"/>
              <a:gd name="connsiteY2" fmla="*/ 1498508 h 1498508"/>
              <a:gd name="connsiteX3" fmla="*/ 0 w 1735873"/>
              <a:gd name="connsiteY3" fmla="*/ 1498508 h 14985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735873" h="1498508">
                <a:moveTo>
                  <a:pt x="0" y="0"/>
                </a:moveTo>
                <a:lnTo>
                  <a:pt x="1735873" y="0"/>
                </a:lnTo>
                <a:lnTo>
                  <a:pt x="1735873" y="1498508"/>
                </a:lnTo>
                <a:lnTo>
                  <a:pt x="0" y="1498508"/>
                </a:lnTo>
                <a:close/>
              </a:path>
            </a:pathLst>
          </a:custGeom>
          <a:noFill/>
        </p:spPr>
        <p:txBody>
          <a:bodyPr wrap="square">
            <a:noAutofit/>
          </a:bodyPr>
          <a:lstStyle/>
          <a:p>
            <a:endParaRPr lang="id-ID"/>
          </a:p>
        </p:txBody>
      </p:sp>
    </p:spTree>
  </p:cSld>
  <p:clrMapOvr>
    <a:masterClrMapping/>
  </p:clrMapOvr>
  <p:transition/>
  <p:hf sldNum="0" ftr="0" dt="0"/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10"/>
          <p:cNvSpPr>
            <a:spLocks noGrp="1"/>
          </p:cNvSpPr>
          <p:nvPr>
            <p:ph type="pic" sz="quarter" idx="16"/>
          </p:nvPr>
        </p:nvSpPr>
        <p:spPr>
          <a:xfrm>
            <a:off x="8917624" y="2301240"/>
            <a:ext cx="1664746" cy="1664746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endParaRPr lang="en-US"/>
          </a:p>
        </p:txBody>
      </p:sp>
      <p:sp>
        <p:nvSpPr>
          <p:cNvPr id="11" name="Picture Placeholder 10"/>
          <p:cNvSpPr>
            <a:spLocks noGrp="1"/>
          </p:cNvSpPr>
          <p:nvPr>
            <p:ph type="pic" sz="quarter" idx="13"/>
          </p:nvPr>
        </p:nvSpPr>
        <p:spPr>
          <a:xfrm>
            <a:off x="1387792" y="2301240"/>
            <a:ext cx="1664746" cy="1664746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endParaRPr lang="en-US"/>
          </a:p>
        </p:txBody>
      </p:sp>
      <p:sp>
        <p:nvSpPr>
          <p:cNvPr id="12" name="Picture Placeholder 10"/>
          <p:cNvSpPr>
            <a:spLocks noGrp="1"/>
          </p:cNvSpPr>
          <p:nvPr>
            <p:ph type="pic" sz="quarter" idx="14"/>
          </p:nvPr>
        </p:nvSpPr>
        <p:spPr>
          <a:xfrm>
            <a:off x="3915901" y="2301240"/>
            <a:ext cx="1664746" cy="1664746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endParaRPr lang="en-US"/>
          </a:p>
        </p:txBody>
      </p:sp>
      <p:sp>
        <p:nvSpPr>
          <p:cNvPr id="13" name="Picture Placeholder 10"/>
          <p:cNvSpPr>
            <a:spLocks noGrp="1"/>
          </p:cNvSpPr>
          <p:nvPr>
            <p:ph type="pic" sz="quarter" idx="15"/>
          </p:nvPr>
        </p:nvSpPr>
        <p:spPr>
          <a:xfrm>
            <a:off x="6400577" y="2301240"/>
            <a:ext cx="1664746" cy="1664746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endParaRPr lang="en-US"/>
          </a:p>
        </p:txBody>
      </p:sp>
    </p:spTree>
  </p:cSld>
  <p:clrMapOvr>
    <a:masterClrMapping/>
  </p:clrMapOvr>
  <p:transition/>
  <p:hf sldNum="0" ftr="0" dt="0"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/>
          </p:nvPr>
        </p:nvSpPr>
        <p:spPr/>
        <p:txBody>
          <a:bodyPr/>
          <a:lstStyle/>
          <a:p>
            <a:fld id="{D326060B-F0B5-442A-A7FB-1F078813C95F}" type="datetimeFigureOut">
              <a:rPr lang="zh-CN" altLang="en-US" smtClean="0"/>
              <a:t>2024/11/23</a:t>
            </a:fld>
            <a:endParaRPr lang="zh-CN" alt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93AE1883-0942-4AA3-9DB2-9C7C3A0314B1}" type="slidenum">
              <a:rPr lang="zh-CN" altLang="en-US" smtClean="0"/>
              <a:t>‹#›</a:t>
            </a:fld>
            <a:endParaRPr lang="en-US"/>
          </a:p>
        </p:txBody>
      </p:sp>
      <p:sp>
        <p:nvSpPr>
          <p:cNvPr id="5" name="TextBox 4"/>
          <p:cNvSpPr txBox="1"/>
          <p:nvPr/>
        </p:nvSpPr>
        <p:spPr>
          <a:xfrm>
            <a:off x="2965031" y="3367444"/>
            <a:ext cx="453650" cy="13720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200000"/>
              </a:lnSpc>
            </a:pPr>
            <a:r>
              <a:rPr lang="zh-CN" altLang="en-US" sz="100">
                <a:solidFill>
                  <a:schemeClr val="tx1">
                    <a:alpha val="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行业</a:t>
            </a:r>
            <a:r>
              <a:rPr lang="en-US" altLang="zh-CN" sz="100">
                <a:solidFill>
                  <a:schemeClr val="tx1">
                    <a:alpha val="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en-US" sz="100">
                <a:solidFill>
                  <a:schemeClr val="tx1">
                    <a:alpha val="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模板</a:t>
            </a:r>
            <a:r>
              <a:rPr lang="en-US" altLang="zh-CN" sz="100">
                <a:solidFill>
                  <a:schemeClr val="tx1">
                    <a:alpha val="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http://www.1ppt.com/hangye/</a:t>
            </a:r>
          </a:p>
        </p:txBody>
      </p:sp>
      <p:sp>
        <p:nvSpPr>
          <p:cNvPr id="6" name="TextBox 8"/>
          <p:cNvSpPr txBox="1"/>
          <p:nvPr/>
        </p:nvSpPr>
        <p:spPr>
          <a:xfrm>
            <a:off x="7509627" y="2215277"/>
            <a:ext cx="540060" cy="13720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200000"/>
              </a:lnSpc>
            </a:pPr>
            <a:r>
              <a:rPr lang="zh-CN" altLang="en-US" sz="100">
                <a:solidFill>
                  <a:schemeClr val="tx1">
                    <a:alpha val="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hlinkClick r:id="rId2"/>
              </a:rPr>
              <a:t>行业</a:t>
            </a:r>
            <a:r>
              <a:rPr lang="en-US" altLang="zh-CN" sz="100">
                <a:solidFill>
                  <a:schemeClr val="tx1">
                    <a:alpha val="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hlinkClick r:id="rId2"/>
              </a:rPr>
              <a:t>PPT</a:t>
            </a:r>
            <a:r>
              <a:rPr lang="zh-CN" altLang="en-US" sz="100">
                <a:solidFill>
                  <a:schemeClr val="tx1">
                    <a:alpha val="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hlinkClick r:id="rId2"/>
              </a:rPr>
              <a:t>模板</a:t>
            </a:r>
            <a:r>
              <a:rPr lang="en-US" altLang="zh-CN" sz="100">
                <a:solidFill>
                  <a:schemeClr val="tx1">
                    <a:alpha val="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http://www.1ppt.com/hangye/</a:t>
            </a:r>
          </a:p>
        </p:txBody>
      </p:sp>
      <p:sp>
        <p:nvSpPr>
          <p:cNvPr id="7" name="标题 1"/>
          <p:cNvSpPr txBox="1"/>
          <p:nvPr/>
        </p:nvSpPr>
        <p:spPr>
          <a:xfrm>
            <a:off x="839788" y="365125"/>
            <a:ext cx="10515600" cy="1325563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lIns="91440" tIns="45720" rIns="91440" bIns="45720" anchor="ctr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4400" b="0" i="0" u="none" strike="noStrike" kern="1200" cap="none" spc="0" normalizeH="0" baseline="0" noProof="0">
                <a:solidFill>
                  <a:schemeClr val="tx1"/>
                </a:solidFill>
                <a:uLnTx/>
                <a:uFillTx/>
                <a:latin typeface="+mj-lt"/>
                <a:ea typeface="+mj-ea"/>
                <a:cs typeface="+mj-cs"/>
                <a:sym typeface="Wingdings" panose="05000000000000000000"/>
              </a:defRPr>
            </a:lvl1pPr>
            <a:lvl2pPr marL="0" marR="0" indent="0" algn="l" defTabSz="914400" rtl="0" eaLnBrk="0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1800" b="0" i="0" u="none" strike="noStrike" kern="1200" cap="none" spc="0" normalizeH="0" baseline="0" noProof="0">
                <a:solidFill>
                  <a:schemeClr val="phClr"/>
                </a:solidFill>
                <a:uLnTx/>
                <a:uFillTx/>
                <a:latin typeface="Arial"/>
                <a:ea typeface="Arial"/>
                <a:cs typeface="Arial"/>
                <a:sym typeface="Wingdings" panose="05000000000000000000"/>
              </a:defRPr>
            </a:lvl2pPr>
            <a:lvl3pPr marL="0" marR="0" indent="0" algn="l" defTabSz="914400" rtl="0" eaLnBrk="0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1800" b="0" i="0" u="none" strike="noStrike" kern="1200" cap="none" spc="0" normalizeH="0" baseline="0" noProof="0">
                <a:solidFill>
                  <a:schemeClr val="phClr"/>
                </a:solidFill>
                <a:uLnTx/>
                <a:uFillTx/>
                <a:latin typeface="Arial"/>
                <a:ea typeface="Arial"/>
                <a:cs typeface="Arial"/>
                <a:sym typeface="Wingdings" panose="05000000000000000000"/>
              </a:defRPr>
            </a:lvl3pPr>
            <a:lvl4pPr marL="0" marR="0" indent="0" algn="l" defTabSz="914400" rtl="0" eaLnBrk="0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1800" b="0" i="0" u="none" strike="noStrike" kern="1200" cap="none" spc="0" normalizeH="0" baseline="0" noProof="0">
                <a:solidFill>
                  <a:schemeClr val="phClr"/>
                </a:solidFill>
                <a:uLnTx/>
                <a:uFillTx/>
                <a:latin typeface="Arial"/>
                <a:ea typeface="Arial"/>
                <a:cs typeface="Arial"/>
                <a:sym typeface="Wingdings" panose="05000000000000000000"/>
              </a:defRPr>
            </a:lvl4pPr>
            <a:lvl5pPr marL="0" marR="0" indent="0" algn="l" defTabSz="914400" rtl="0" eaLnBrk="0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1800" b="0" i="0" u="none" strike="noStrike" kern="1200" cap="none" spc="0" normalizeH="0" baseline="0" noProof="0">
                <a:solidFill>
                  <a:schemeClr val="phClr"/>
                </a:solidFill>
                <a:uLnTx/>
                <a:uFillTx/>
                <a:latin typeface="Arial"/>
                <a:ea typeface="Arial"/>
                <a:cs typeface="Arial"/>
                <a:sym typeface="Wingdings" panose="05000000000000000000"/>
              </a:defRPr>
            </a:lvl5pPr>
            <a:lvl6pPr marL="0" marR="0" indent="0" algn="l" defTabSz="914400" rtl="0" eaLnBrk="0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1800" b="0" i="0" u="none" strike="noStrike" kern="1200" cap="none" spc="0" normalizeH="0" baseline="0" noProof="0">
                <a:solidFill>
                  <a:schemeClr val="phClr"/>
                </a:solidFill>
                <a:uLnTx/>
                <a:uFillTx/>
                <a:latin typeface="Arial"/>
                <a:ea typeface="Arial"/>
                <a:cs typeface="Arial"/>
                <a:sym typeface="Wingdings" panose="05000000000000000000"/>
              </a:defRPr>
            </a:lvl6pPr>
            <a:lvl7pPr marL="0" marR="0" indent="0" algn="l" defTabSz="914400" rtl="0" eaLnBrk="0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1800" b="0" i="0" u="none" strike="noStrike" kern="1200" cap="none" spc="0" normalizeH="0" baseline="0" noProof="0">
                <a:solidFill>
                  <a:schemeClr val="phClr"/>
                </a:solidFill>
                <a:uLnTx/>
                <a:uFillTx/>
                <a:latin typeface="Arial"/>
                <a:ea typeface="Arial"/>
                <a:cs typeface="Arial"/>
                <a:sym typeface="Wingdings" panose="05000000000000000000"/>
              </a:defRPr>
            </a:lvl7pPr>
            <a:lvl8pPr marL="0" marR="0" indent="0" algn="l" defTabSz="914400" rtl="0" eaLnBrk="0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1800" b="0" i="0" u="none" strike="noStrike" kern="1200" cap="none" spc="0" normalizeH="0" baseline="0" noProof="0">
                <a:solidFill>
                  <a:schemeClr val="phClr"/>
                </a:solidFill>
                <a:uLnTx/>
                <a:uFillTx/>
                <a:latin typeface="Arial"/>
                <a:ea typeface="Arial"/>
                <a:cs typeface="Arial"/>
                <a:sym typeface="Wingdings" panose="05000000000000000000"/>
              </a:defRPr>
            </a:lvl8pPr>
            <a:lvl9pPr marL="0" marR="0" indent="0" algn="l" defTabSz="914400" rtl="0" eaLnBrk="0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1800" b="0" i="0" u="none" strike="noStrike" kern="1200" cap="none" spc="0" normalizeH="0" baseline="0" noProof="0">
                <a:solidFill>
                  <a:schemeClr val="phClr"/>
                </a:solidFill>
                <a:uLnTx/>
                <a:uFillTx/>
                <a:latin typeface="Arial"/>
                <a:ea typeface="Arial"/>
                <a:cs typeface="Arial"/>
                <a:sym typeface="Wingdings" panose="05000000000000000000"/>
              </a:defRPr>
            </a:lvl9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8" name="文本占位符 2"/>
          <p:cNvSpPr txBox="1"/>
          <p:nvPr/>
        </p:nvSpPr>
        <p:spPr>
          <a:xfrm>
            <a:off x="839788" y="1681163"/>
            <a:ext cx="5157787" cy="823912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lIns="91440" tIns="45720" rIns="91440" bIns="45720" anchor="b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defRPr kumimoji="0" sz="2400" b="1" i="0" u="none" strike="noStrike" kern="1200" cap="none" spc="0" normalizeH="0" baseline="0" noProof="0">
                <a:solidFill>
                  <a:schemeClr val="tx1"/>
                </a:solidFill>
                <a:uLnTx/>
                <a:uFillTx/>
                <a:latin typeface="+mn-lt"/>
                <a:ea typeface="+mn-ea"/>
                <a:cs typeface="+mn-cs"/>
                <a:sym typeface="Wingdings" panose="05000000000000000000"/>
              </a:defRPr>
            </a:lvl1pPr>
            <a:lvl2pPr marL="457200" marR="0" indent="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defRPr kumimoji="0" sz="2000" b="1" i="0" u="none" strike="noStrike" kern="1200" cap="none" spc="0" normalizeH="0" baseline="0" noProof="0">
                <a:solidFill>
                  <a:schemeClr val="tx1"/>
                </a:solidFill>
                <a:uLnTx/>
                <a:uFillTx/>
                <a:latin typeface="+mn-lt"/>
                <a:ea typeface="+mn-ea"/>
                <a:cs typeface="+mn-cs"/>
                <a:sym typeface="Wingdings" panose="05000000000000000000"/>
              </a:defRPr>
            </a:lvl2pPr>
            <a:lvl3pPr marL="914400" marR="0" indent="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defRPr kumimoji="0" sz="1800" b="1" i="0" u="none" strike="noStrike" kern="1200" cap="none" spc="0" normalizeH="0" baseline="0" noProof="0">
                <a:solidFill>
                  <a:schemeClr val="tx1"/>
                </a:solidFill>
                <a:uLnTx/>
                <a:uFillTx/>
                <a:latin typeface="+mn-lt"/>
                <a:ea typeface="+mn-ea"/>
                <a:cs typeface="+mn-cs"/>
                <a:sym typeface="Wingdings" panose="05000000000000000000"/>
              </a:defRPr>
            </a:lvl3pPr>
            <a:lvl4pPr marL="1371600" marR="0" indent="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defRPr kumimoji="0" sz="1600" b="1" i="0" u="none" strike="noStrike" kern="1200" cap="none" spc="0" normalizeH="0" baseline="0" noProof="0">
                <a:solidFill>
                  <a:schemeClr val="tx1"/>
                </a:solidFill>
                <a:uLnTx/>
                <a:uFillTx/>
                <a:latin typeface="+mn-lt"/>
                <a:ea typeface="+mn-ea"/>
                <a:cs typeface="+mn-cs"/>
                <a:sym typeface="Wingdings" panose="05000000000000000000"/>
              </a:defRPr>
            </a:lvl4pPr>
            <a:lvl5pPr marL="1828800" marR="0" indent="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defRPr kumimoji="0" sz="1600" b="1" i="0" u="none" strike="noStrike" kern="1200" cap="none" spc="0" normalizeH="0" baseline="0" noProof="0">
                <a:solidFill>
                  <a:schemeClr val="tx1"/>
                </a:solidFill>
                <a:uLnTx/>
                <a:uFillTx/>
                <a:latin typeface="+mn-lt"/>
                <a:ea typeface="+mn-ea"/>
                <a:cs typeface="+mn-cs"/>
                <a:sym typeface="Wingdings" panose="05000000000000000000"/>
              </a:defRPr>
            </a:lvl5pPr>
            <a:lvl6pPr marL="2286000" marR="0" indent="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defRPr kumimoji="0" sz="1600" b="1" i="0" u="none" strike="noStrike" kern="1200" cap="none" spc="0" normalizeH="0" baseline="0" noProof="0">
                <a:solidFill>
                  <a:schemeClr val="tx1"/>
                </a:solidFill>
                <a:uLnTx/>
                <a:uFillTx/>
                <a:latin typeface="+mn-lt"/>
                <a:ea typeface="+mn-ea"/>
                <a:cs typeface="+mn-cs"/>
                <a:sym typeface="Wingdings" panose="05000000000000000000"/>
              </a:defRPr>
            </a:lvl6pPr>
            <a:lvl7pPr marL="2743200" marR="0" indent="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defRPr kumimoji="0" sz="1600" b="1" i="0" u="none" strike="noStrike" kern="1200" cap="none" spc="0" normalizeH="0" baseline="0" noProof="0">
                <a:solidFill>
                  <a:schemeClr val="tx1"/>
                </a:solidFill>
                <a:uLnTx/>
                <a:uFillTx/>
                <a:latin typeface="+mn-lt"/>
                <a:ea typeface="+mn-ea"/>
                <a:cs typeface="+mn-cs"/>
                <a:sym typeface="Wingdings" panose="05000000000000000000"/>
              </a:defRPr>
            </a:lvl7pPr>
            <a:lvl8pPr marL="3200400" marR="0" indent="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defRPr kumimoji="0" sz="1600" b="1" i="0" u="none" strike="noStrike" kern="1200" cap="none" spc="0" normalizeH="0" baseline="0" noProof="0">
                <a:solidFill>
                  <a:schemeClr val="tx1"/>
                </a:solidFill>
                <a:uLnTx/>
                <a:uFillTx/>
                <a:latin typeface="+mn-lt"/>
                <a:ea typeface="+mn-ea"/>
                <a:cs typeface="+mn-cs"/>
                <a:sym typeface="Wingdings" panose="05000000000000000000"/>
              </a:defRPr>
            </a:lvl8pPr>
            <a:lvl9pPr marL="3657600" marR="0" indent="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defRPr kumimoji="0" sz="1600" b="1" i="0" u="none" strike="noStrike" kern="1200" cap="none" spc="0" normalizeH="0" baseline="0" noProof="0">
                <a:solidFill>
                  <a:schemeClr val="tx1"/>
                </a:solidFill>
                <a:uLnTx/>
                <a:uFillTx/>
                <a:latin typeface="+mn-lt"/>
                <a:ea typeface="+mn-ea"/>
                <a:cs typeface="+mn-cs"/>
                <a:sym typeface="Wingdings" panose="05000000000000000000"/>
              </a:defRPr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9" name="内容占位符 3"/>
          <p:cNvSpPr txBox="1"/>
          <p:nvPr/>
        </p:nvSpPr>
        <p:spPr>
          <a:xfrm>
            <a:off x="839788" y="2505075"/>
            <a:ext cx="5157787" cy="3684588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lIns="91440" tIns="45720" rIns="91440" bIns="45720"/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defRPr kumimoji="0" sz="2800" b="0" i="0" u="none" strike="noStrike" kern="1200" cap="none" spc="0" normalizeH="0" baseline="0" noProof="0">
                <a:solidFill>
                  <a:schemeClr val="tx1"/>
                </a:solidFill>
                <a:uLnTx/>
                <a:uFillTx/>
                <a:latin typeface="+mn-lt"/>
                <a:ea typeface="+mn-ea"/>
                <a:cs typeface="+mn-cs"/>
                <a:sym typeface="Wingdings" panose="05000000000000000000"/>
              </a:defRPr>
            </a:lvl1pPr>
            <a:lvl2pPr marL="685800" marR="0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defRPr kumimoji="0" sz="2400" b="0" i="0" u="none" strike="noStrike" kern="1200" cap="none" spc="0" normalizeH="0" baseline="0" noProof="0">
                <a:solidFill>
                  <a:schemeClr val="tx1"/>
                </a:solidFill>
                <a:uLnTx/>
                <a:uFillTx/>
                <a:latin typeface="+mn-lt"/>
                <a:ea typeface="+mn-ea"/>
                <a:cs typeface="+mn-cs"/>
                <a:sym typeface="Wingdings" panose="05000000000000000000"/>
              </a:defRPr>
            </a:lvl2pPr>
            <a:lvl3pPr marL="1143000" marR="0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defRPr kumimoji="0" sz="2000" b="0" i="0" u="none" strike="noStrike" kern="1200" cap="none" spc="0" normalizeH="0" baseline="0" noProof="0">
                <a:solidFill>
                  <a:schemeClr val="tx1"/>
                </a:solidFill>
                <a:uLnTx/>
                <a:uFillTx/>
                <a:latin typeface="+mn-lt"/>
                <a:ea typeface="+mn-ea"/>
                <a:cs typeface="+mn-cs"/>
                <a:sym typeface="Wingdings" panose="05000000000000000000"/>
              </a:defRPr>
            </a:lvl3pPr>
            <a:lvl4pPr marL="1600200" marR="0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defRPr kumimoji="0" sz="1800" b="0" i="0" u="none" strike="noStrike" kern="1200" cap="none" spc="0" normalizeH="0" baseline="0" noProof="0">
                <a:solidFill>
                  <a:schemeClr val="tx1"/>
                </a:solidFill>
                <a:uLnTx/>
                <a:uFillTx/>
                <a:latin typeface="+mn-lt"/>
                <a:ea typeface="+mn-ea"/>
                <a:cs typeface="+mn-cs"/>
                <a:sym typeface="Wingdings" panose="05000000000000000000"/>
              </a:defRPr>
            </a:lvl4pPr>
            <a:lvl5pPr marL="2057400" marR="0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defRPr kumimoji="0" sz="1800" b="0" i="0" u="none" strike="noStrike" kern="1200" cap="none" spc="0" normalizeH="0" baseline="0" noProof="0">
                <a:solidFill>
                  <a:schemeClr val="tx1"/>
                </a:solidFill>
                <a:uLnTx/>
                <a:uFillTx/>
                <a:latin typeface="+mn-lt"/>
                <a:ea typeface="+mn-ea"/>
                <a:cs typeface="+mn-cs"/>
                <a:sym typeface="Wingdings" panose="05000000000000000000"/>
              </a:defRPr>
            </a:lvl5pPr>
            <a:lvl6pPr marL="2514600" marR="0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defRPr kumimoji="0" sz="1800" b="0" i="0" u="none" strike="noStrike" kern="1200" cap="none" spc="0" normalizeH="0" baseline="0" noProof="0">
                <a:solidFill>
                  <a:schemeClr val="tx1"/>
                </a:solidFill>
                <a:uLnTx/>
                <a:uFillTx/>
                <a:latin typeface="+mn-lt"/>
                <a:ea typeface="+mn-ea"/>
                <a:cs typeface="+mn-cs"/>
                <a:sym typeface="Wingdings" panose="05000000000000000000"/>
              </a:defRPr>
            </a:lvl6pPr>
            <a:lvl7pPr marL="2971800" marR="0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defRPr kumimoji="0" sz="1800" b="0" i="0" u="none" strike="noStrike" kern="1200" cap="none" spc="0" normalizeH="0" baseline="0" noProof="0">
                <a:solidFill>
                  <a:schemeClr val="tx1"/>
                </a:solidFill>
                <a:uLnTx/>
                <a:uFillTx/>
                <a:latin typeface="+mn-lt"/>
                <a:ea typeface="+mn-ea"/>
                <a:cs typeface="+mn-cs"/>
                <a:sym typeface="Wingdings" panose="05000000000000000000"/>
              </a:defRPr>
            </a:lvl7pPr>
            <a:lvl8pPr marL="3429000" marR="0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defRPr kumimoji="0" sz="1800" b="0" i="0" u="none" strike="noStrike" kern="1200" cap="none" spc="0" normalizeH="0" baseline="0" noProof="0">
                <a:solidFill>
                  <a:schemeClr val="tx1"/>
                </a:solidFill>
                <a:uLnTx/>
                <a:uFillTx/>
                <a:latin typeface="+mn-lt"/>
                <a:ea typeface="+mn-ea"/>
                <a:cs typeface="+mn-cs"/>
                <a:sym typeface="Wingdings" panose="05000000000000000000"/>
              </a:defRPr>
            </a:lvl8pPr>
            <a:lvl9pPr marL="3886200" marR="0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defRPr kumimoji="0" sz="1800" b="0" i="0" u="none" strike="noStrike" kern="1200" cap="none" spc="0" normalizeH="0" baseline="0" noProof="0">
                <a:solidFill>
                  <a:schemeClr val="tx1"/>
                </a:solidFill>
                <a:uLnTx/>
                <a:uFillTx/>
                <a:latin typeface="+mn-lt"/>
                <a:ea typeface="+mn-ea"/>
                <a:cs typeface="+mn-cs"/>
                <a:sym typeface="Wingdings" panose="05000000000000000000"/>
              </a:defRPr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10" name="文本占位符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11" name="内容占位符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12" name="页脚占位符 7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</p:spPr>
        <p:txBody>
          <a:bodyPr/>
          <a:lstStyle/>
          <a:p>
            <a:endParaRPr lang="zh-CN" altLang="en-US"/>
          </a:p>
        </p:txBody>
      </p:sp>
      <p:sp>
        <p:nvSpPr>
          <p:cNvPr id="13" name="灯片编号占位符 8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E9B957CC-A438-4D82-B305-22914934740F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  <p:transition/>
  <p:hf sldNum="0" ftr="0" dt="0"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9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p:transition/>
  <p:hf sldNum="0" ftr="0" dt="0"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EE11ECF-D4C8-74D4-A731-3B62D45008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1E9624D-FE2D-4597-B311-55080AF42397}" type="datetimeFigureOut">
              <a:rPr lang="en-US" smtClean="0"/>
              <a:t>11/23/20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B85B175-83FF-DAAA-E479-2028076C073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36CACBA-1D1C-50B8-579A-DFC0D210CF6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D4EED9A-F093-4465-B20F-8EFB89AAADC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10825681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p:transition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A51786-9DDF-404B-8F81-531DAE20F938}" type="datetimeFigureOut">
              <a:rPr lang="zh-CN" altLang="en-US" smtClean="0"/>
              <a:t>2024/11/23</a:t>
            </a:fld>
            <a:endParaRPr lang="zh-CN" altLang="en-US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901947-2015-41B3-BD25-B4F5F50681E3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  <p:transition/>
  <p:hf sldNum="0" ft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SWOT_Analys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936130" y="5092701"/>
            <a:ext cx="6758335" cy="1163320"/>
          </a:xfrm>
          <a:prstGeom prst="rect">
            <a:avLst/>
          </a:prstGeom>
        </p:spPr>
      </p:pic>
      <p:sp>
        <p:nvSpPr>
          <p:cNvPr id="12" name="Oval 11"/>
          <p:cNvSpPr/>
          <p:nvPr userDrawn="1"/>
        </p:nvSpPr>
        <p:spPr>
          <a:xfrm>
            <a:off x="3863905" y="2298699"/>
            <a:ext cx="2260600" cy="2260600"/>
          </a:xfrm>
          <a:prstGeom prst="ellipse">
            <a:avLst/>
          </a:prstGeom>
          <a:solidFill>
            <a:srgbClr val="FFC000"/>
          </a:solidFill>
          <a:ln w="25400" cap="rnd">
            <a:noFill/>
            <a:round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200">
              <a:cs typeface="思源黑体 CN Regular" panose="020B0500000000000000" charset="-122"/>
            </a:endParaRP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6200000" flipH="1">
            <a:off x="3834103" y="2211663"/>
            <a:ext cx="4754880" cy="2434674"/>
          </a:xfrm>
          <a:custGeom>
            <a:avLst/>
            <a:gdLst>
              <a:gd name="connsiteX0" fmla="*/ 3758 w 12344400"/>
              <a:gd name="connsiteY0" fmla="*/ 0 h 6320790"/>
              <a:gd name="connsiteX1" fmla="*/ 3705225 w 12344400"/>
              <a:gd name="connsiteY1" fmla="*/ 0 h 6320790"/>
              <a:gd name="connsiteX2" fmla="*/ 6172200 w 12344400"/>
              <a:gd name="connsiteY2" fmla="*/ 2466975 h 6320790"/>
              <a:gd name="connsiteX3" fmla="*/ 8639175 w 12344400"/>
              <a:gd name="connsiteY3" fmla="*/ 0 h 6320790"/>
              <a:gd name="connsiteX4" fmla="*/ 12340643 w 12344400"/>
              <a:gd name="connsiteY4" fmla="*/ 0 h 6320790"/>
              <a:gd name="connsiteX5" fmla="*/ 12344400 w 12344400"/>
              <a:gd name="connsiteY5" fmla="*/ 148590 h 6320790"/>
              <a:gd name="connsiteX6" fmla="*/ 6172200 w 12344400"/>
              <a:gd name="connsiteY6" fmla="*/ 6320790 h 6320790"/>
              <a:gd name="connsiteX7" fmla="*/ 0 w 12344400"/>
              <a:gd name="connsiteY7" fmla="*/ 148590 h 63207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344400" h="6320790">
                <a:moveTo>
                  <a:pt x="3758" y="0"/>
                </a:moveTo>
                <a:lnTo>
                  <a:pt x="3705225" y="0"/>
                </a:lnTo>
                <a:cubicBezTo>
                  <a:pt x="3705225" y="1362473"/>
                  <a:pt x="4809727" y="2466975"/>
                  <a:pt x="6172200" y="2466975"/>
                </a:cubicBezTo>
                <a:cubicBezTo>
                  <a:pt x="7534673" y="2466975"/>
                  <a:pt x="8639175" y="1362473"/>
                  <a:pt x="8639175" y="0"/>
                </a:cubicBezTo>
                <a:lnTo>
                  <a:pt x="12340643" y="0"/>
                </a:lnTo>
                <a:lnTo>
                  <a:pt x="12344400" y="148590"/>
                </a:lnTo>
                <a:cubicBezTo>
                  <a:pt x="12344400" y="3557402"/>
                  <a:pt x="9581012" y="6320790"/>
                  <a:pt x="6172200" y="6320790"/>
                </a:cubicBezTo>
                <a:cubicBezTo>
                  <a:pt x="2763388" y="6320790"/>
                  <a:pt x="0" y="3557402"/>
                  <a:pt x="0" y="148590"/>
                </a:cubicBezTo>
                <a:close/>
              </a:path>
            </a:pathLst>
          </a:custGeom>
        </p:spPr>
      </p:pic>
      <p:sp>
        <p:nvSpPr>
          <p:cNvPr id="15" name="Freeform: Shape 14"/>
          <p:cNvSpPr/>
          <p:nvPr userDrawn="1"/>
        </p:nvSpPr>
        <p:spPr>
          <a:xfrm>
            <a:off x="0" y="990600"/>
            <a:ext cx="4994205" cy="4876801"/>
          </a:xfrm>
          <a:custGeom>
            <a:avLst/>
            <a:gdLst>
              <a:gd name="connsiteX0" fmla="*/ 0 w 7491308"/>
              <a:gd name="connsiteY0" fmla="*/ 0 h 7315201"/>
              <a:gd name="connsiteX1" fmla="*/ 7491308 w 7491308"/>
              <a:gd name="connsiteY1" fmla="*/ 0 h 7315201"/>
              <a:gd name="connsiteX2" fmla="*/ 7491308 w 7491308"/>
              <a:gd name="connsiteY2" fmla="*/ 7315201 h 7315201"/>
              <a:gd name="connsiteX3" fmla="*/ 0 w 7491308"/>
              <a:gd name="connsiteY3" fmla="*/ 7315201 h 73152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491308" h="7315201">
                <a:moveTo>
                  <a:pt x="0" y="0"/>
                </a:moveTo>
                <a:lnTo>
                  <a:pt x="7491308" y="0"/>
                </a:lnTo>
                <a:lnTo>
                  <a:pt x="7491308" y="7315201"/>
                </a:lnTo>
                <a:lnTo>
                  <a:pt x="0" y="7315201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 w="25400" cap="rnd">
            <a:noFill/>
            <a:round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200">
              <a:cs typeface="思源黑体 CN Regular" panose="020B0500000000000000" charset="-122"/>
            </a:endParaRPr>
          </a:p>
        </p:txBody>
      </p:sp>
      <p:sp>
        <p:nvSpPr>
          <p:cNvPr id="16" name="Picture Placeholder 11"/>
          <p:cNvSpPr>
            <a:spLocks noGrp="1" noChangeAspect="1"/>
          </p:cNvSpPr>
          <p:nvPr>
            <p:ph type="pic" sz="quarter" idx="24"/>
          </p:nvPr>
        </p:nvSpPr>
        <p:spPr>
          <a:xfrm>
            <a:off x="-6489" y="1137212"/>
            <a:ext cx="4826000" cy="4583575"/>
          </a:xfrm>
          <a:custGeom>
            <a:avLst/>
            <a:gdLst>
              <a:gd name="connsiteX0" fmla="*/ 0 w 7491308"/>
              <a:gd name="connsiteY0" fmla="*/ 0 h 7315201"/>
              <a:gd name="connsiteX1" fmla="*/ 7491308 w 7491308"/>
              <a:gd name="connsiteY1" fmla="*/ 0 h 7315201"/>
              <a:gd name="connsiteX2" fmla="*/ 7491308 w 7491308"/>
              <a:gd name="connsiteY2" fmla="*/ 7315201 h 7315201"/>
              <a:gd name="connsiteX3" fmla="*/ 0 w 7491308"/>
              <a:gd name="connsiteY3" fmla="*/ 7315201 h 73152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491308" h="7315201">
                <a:moveTo>
                  <a:pt x="0" y="0"/>
                </a:moveTo>
                <a:lnTo>
                  <a:pt x="7491308" y="0"/>
                </a:lnTo>
                <a:lnTo>
                  <a:pt x="7491308" y="7315201"/>
                </a:lnTo>
                <a:lnTo>
                  <a:pt x="0" y="7315201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127000">
            <a:noFill/>
            <a:miter lim="800000"/>
          </a:ln>
          <a:effectLst/>
        </p:spPr>
        <p:txBody>
          <a:bodyPr wrap="square" tIns="457200">
            <a:noAutofit/>
          </a:bodyPr>
          <a:lstStyle>
            <a:lvl1pPr marL="0" indent="0" algn="ctr">
              <a:buNone/>
              <a:defRPr sz="1335" spc="400">
                <a:latin typeface="Bebas Neue Book" panose="00000500000000000000" pitchFamily="2" charset="0"/>
              </a:defRPr>
            </a:lvl1pPr>
          </a:lstStyle>
          <a:p>
            <a:endParaRPr lang="ko-KR" altLang="en-US"/>
          </a:p>
        </p:txBody>
      </p:sp>
    </p:spTree>
  </p:cSld>
  <p:clrMapOvr>
    <a:masterClrMapping/>
  </p:clrMapOvr>
  <p:transition/>
  <p:hf sldNum="0" ftr="0" dt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Flat_Device_Mockup">
    <p:bg>
      <p:bgPr>
        <a:solidFill>
          <a:srgbClr val="E3E6E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Picture 2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5400000" flipV="1">
            <a:off x="10001043" y="5126670"/>
            <a:ext cx="303567" cy="1323881"/>
          </a:xfrm>
          <a:prstGeom prst="rect">
            <a:avLst/>
          </a:prstGeom>
        </p:spPr>
      </p:pic>
      <p:pic>
        <p:nvPicPr>
          <p:cNvPr id="20" name="Picture 19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 rot="5400000" flipV="1">
            <a:off x="8113990" y="4378113"/>
            <a:ext cx="571979" cy="2862557"/>
          </a:xfrm>
          <a:prstGeom prst="rect">
            <a:avLst/>
          </a:prstGeom>
        </p:spPr>
      </p:pic>
      <p:pic>
        <p:nvPicPr>
          <p:cNvPr id="19" name="Picture 18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 rot="5400000" flipV="1">
            <a:off x="3813960" y="1784023"/>
            <a:ext cx="655753" cy="8116867"/>
          </a:xfrm>
          <a:prstGeom prst="rect">
            <a:avLst/>
          </a:prstGeom>
        </p:spPr>
      </p:pic>
      <p:sp>
        <p:nvSpPr>
          <p:cNvPr id="4" name="Freeform: Shape 3"/>
          <p:cNvSpPr/>
          <p:nvPr userDrawn="1"/>
        </p:nvSpPr>
        <p:spPr>
          <a:xfrm flipV="1">
            <a:off x="9789951" y="5290732"/>
            <a:ext cx="735743" cy="447697"/>
          </a:xfrm>
          <a:custGeom>
            <a:avLst/>
            <a:gdLst>
              <a:gd name="connsiteX0" fmla="*/ 963047 w 1926095"/>
              <a:gd name="connsiteY0" fmla="*/ 0 h 813246"/>
              <a:gd name="connsiteX1" fmla="*/ 1583261 w 1926095"/>
              <a:gd name="connsiteY1" fmla="*/ 76790 h 813246"/>
              <a:gd name="connsiteX2" fmla="*/ 1590399 w 1926095"/>
              <a:gd name="connsiteY2" fmla="*/ 81086 h 813246"/>
              <a:gd name="connsiteX3" fmla="*/ 1602190 w 1926095"/>
              <a:gd name="connsiteY3" fmla="*/ 84252 h 813246"/>
              <a:gd name="connsiteX4" fmla="*/ 1667333 w 1926095"/>
              <a:gd name="connsiteY4" fmla="*/ 133002 h 813246"/>
              <a:gd name="connsiteX5" fmla="*/ 1926095 w 1926095"/>
              <a:gd name="connsiteY5" fmla="*/ 810865 h 813246"/>
              <a:gd name="connsiteX6" fmla="*/ 985043 w 1926095"/>
              <a:gd name="connsiteY6" fmla="*/ 813140 h 813246"/>
              <a:gd name="connsiteX7" fmla="*/ 985043 w 1926095"/>
              <a:gd name="connsiteY7" fmla="*/ 813246 h 813246"/>
              <a:gd name="connsiteX8" fmla="*/ 963048 w 1926095"/>
              <a:gd name="connsiteY8" fmla="*/ 813193 h 813246"/>
              <a:gd name="connsiteX9" fmla="*/ 941052 w 1926095"/>
              <a:gd name="connsiteY9" fmla="*/ 813246 h 813246"/>
              <a:gd name="connsiteX10" fmla="*/ 941052 w 1926095"/>
              <a:gd name="connsiteY10" fmla="*/ 813140 h 813246"/>
              <a:gd name="connsiteX11" fmla="*/ 0 w 1926095"/>
              <a:gd name="connsiteY11" fmla="*/ 810865 h 813246"/>
              <a:gd name="connsiteX12" fmla="*/ 258762 w 1926095"/>
              <a:gd name="connsiteY12" fmla="*/ 133002 h 813246"/>
              <a:gd name="connsiteX13" fmla="*/ 323905 w 1926095"/>
              <a:gd name="connsiteY13" fmla="*/ 84252 h 813246"/>
              <a:gd name="connsiteX14" fmla="*/ 335694 w 1926095"/>
              <a:gd name="connsiteY14" fmla="*/ 81086 h 813246"/>
              <a:gd name="connsiteX15" fmla="*/ 342833 w 1926095"/>
              <a:gd name="connsiteY15" fmla="*/ 76790 h 813246"/>
              <a:gd name="connsiteX16" fmla="*/ 963047 w 1926095"/>
              <a:gd name="connsiteY16" fmla="*/ 0 h 8132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1926095" h="813246">
                <a:moveTo>
                  <a:pt x="963047" y="0"/>
                </a:moveTo>
                <a:cubicBezTo>
                  <a:pt x="1241858" y="0"/>
                  <a:pt x="1481077" y="31664"/>
                  <a:pt x="1583261" y="76790"/>
                </a:cubicBezTo>
                <a:lnTo>
                  <a:pt x="1590399" y="81086"/>
                </a:lnTo>
                <a:lnTo>
                  <a:pt x="1602190" y="84252"/>
                </a:lnTo>
                <a:cubicBezTo>
                  <a:pt x="1634107" y="97572"/>
                  <a:pt x="1656915" y="113655"/>
                  <a:pt x="1667333" y="133002"/>
                </a:cubicBezTo>
                <a:cubicBezTo>
                  <a:pt x="1747238" y="268469"/>
                  <a:pt x="1674740" y="665873"/>
                  <a:pt x="1926095" y="810865"/>
                </a:cubicBezTo>
                <a:lnTo>
                  <a:pt x="985043" y="813140"/>
                </a:lnTo>
                <a:lnTo>
                  <a:pt x="985043" y="813246"/>
                </a:lnTo>
                <a:lnTo>
                  <a:pt x="963048" y="813193"/>
                </a:lnTo>
                <a:lnTo>
                  <a:pt x="941052" y="813246"/>
                </a:lnTo>
                <a:lnTo>
                  <a:pt x="941052" y="813140"/>
                </a:lnTo>
                <a:lnTo>
                  <a:pt x="0" y="810865"/>
                </a:lnTo>
                <a:cubicBezTo>
                  <a:pt x="251355" y="665873"/>
                  <a:pt x="178857" y="268469"/>
                  <a:pt x="258762" y="133002"/>
                </a:cubicBezTo>
                <a:cubicBezTo>
                  <a:pt x="269180" y="113655"/>
                  <a:pt x="291988" y="97572"/>
                  <a:pt x="323905" y="84252"/>
                </a:cubicBezTo>
                <a:lnTo>
                  <a:pt x="335694" y="81086"/>
                </a:lnTo>
                <a:lnTo>
                  <a:pt x="342833" y="76790"/>
                </a:lnTo>
                <a:cubicBezTo>
                  <a:pt x="445017" y="31664"/>
                  <a:pt x="684236" y="0"/>
                  <a:pt x="963047" y="0"/>
                </a:cubicBezTo>
                <a:close/>
              </a:path>
            </a:pathLst>
          </a:custGeom>
          <a:gradFill>
            <a:gsLst>
              <a:gs pos="0">
                <a:srgbClr val="BFC4CB"/>
              </a:gs>
              <a:gs pos="34000">
                <a:schemeClr val="bg1">
                  <a:lumMod val="95000"/>
                </a:schemeClr>
              </a:gs>
              <a:gs pos="82000">
                <a:schemeClr val="bg1"/>
              </a:gs>
              <a:gs pos="100000">
                <a:schemeClr val="bg1"/>
              </a:gs>
            </a:gsLst>
            <a:lin ang="16800000" scaled="0"/>
          </a:gradFill>
          <a:ln w="25400" cap="rnd">
            <a:noFill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ko-KR" altLang="en-US" sz="1200">
              <a:cs typeface="思源黑体 CN Regular" panose="020B0500000000000000" charset="-122"/>
            </a:endParaRPr>
          </a:p>
        </p:txBody>
      </p:sp>
      <p:sp>
        <p:nvSpPr>
          <p:cNvPr id="5" name="Freeform: Shape 4"/>
          <p:cNvSpPr/>
          <p:nvPr userDrawn="1"/>
        </p:nvSpPr>
        <p:spPr>
          <a:xfrm>
            <a:off x="9789951" y="3906140"/>
            <a:ext cx="735743" cy="310649"/>
          </a:xfrm>
          <a:custGeom>
            <a:avLst/>
            <a:gdLst>
              <a:gd name="connsiteX0" fmla="*/ 963047 w 1926095"/>
              <a:gd name="connsiteY0" fmla="*/ 0 h 813246"/>
              <a:gd name="connsiteX1" fmla="*/ 1583261 w 1926095"/>
              <a:gd name="connsiteY1" fmla="*/ 76790 h 813246"/>
              <a:gd name="connsiteX2" fmla="*/ 1590399 w 1926095"/>
              <a:gd name="connsiteY2" fmla="*/ 81086 h 813246"/>
              <a:gd name="connsiteX3" fmla="*/ 1602190 w 1926095"/>
              <a:gd name="connsiteY3" fmla="*/ 84252 h 813246"/>
              <a:gd name="connsiteX4" fmla="*/ 1667333 w 1926095"/>
              <a:gd name="connsiteY4" fmla="*/ 133002 h 813246"/>
              <a:gd name="connsiteX5" fmla="*/ 1926095 w 1926095"/>
              <a:gd name="connsiteY5" fmla="*/ 810865 h 813246"/>
              <a:gd name="connsiteX6" fmla="*/ 985043 w 1926095"/>
              <a:gd name="connsiteY6" fmla="*/ 813140 h 813246"/>
              <a:gd name="connsiteX7" fmla="*/ 985043 w 1926095"/>
              <a:gd name="connsiteY7" fmla="*/ 813246 h 813246"/>
              <a:gd name="connsiteX8" fmla="*/ 963048 w 1926095"/>
              <a:gd name="connsiteY8" fmla="*/ 813193 h 813246"/>
              <a:gd name="connsiteX9" fmla="*/ 941052 w 1926095"/>
              <a:gd name="connsiteY9" fmla="*/ 813246 h 813246"/>
              <a:gd name="connsiteX10" fmla="*/ 941052 w 1926095"/>
              <a:gd name="connsiteY10" fmla="*/ 813140 h 813246"/>
              <a:gd name="connsiteX11" fmla="*/ 0 w 1926095"/>
              <a:gd name="connsiteY11" fmla="*/ 810865 h 813246"/>
              <a:gd name="connsiteX12" fmla="*/ 258762 w 1926095"/>
              <a:gd name="connsiteY12" fmla="*/ 133002 h 813246"/>
              <a:gd name="connsiteX13" fmla="*/ 323905 w 1926095"/>
              <a:gd name="connsiteY13" fmla="*/ 84252 h 813246"/>
              <a:gd name="connsiteX14" fmla="*/ 335694 w 1926095"/>
              <a:gd name="connsiteY14" fmla="*/ 81086 h 813246"/>
              <a:gd name="connsiteX15" fmla="*/ 342833 w 1926095"/>
              <a:gd name="connsiteY15" fmla="*/ 76790 h 813246"/>
              <a:gd name="connsiteX16" fmla="*/ 963047 w 1926095"/>
              <a:gd name="connsiteY16" fmla="*/ 0 h 8132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1926095" h="813246">
                <a:moveTo>
                  <a:pt x="963047" y="0"/>
                </a:moveTo>
                <a:cubicBezTo>
                  <a:pt x="1241858" y="0"/>
                  <a:pt x="1481077" y="31664"/>
                  <a:pt x="1583261" y="76790"/>
                </a:cubicBezTo>
                <a:lnTo>
                  <a:pt x="1590399" y="81086"/>
                </a:lnTo>
                <a:lnTo>
                  <a:pt x="1602190" y="84252"/>
                </a:lnTo>
                <a:cubicBezTo>
                  <a:pt x="1634107" y="97572"/>
                  <a:pt x="1656915" y="113655"/>
                  <a:pt x="1667333" y="133002"/>
                </a:cubicBezTo>
                <a:cubicBezTo>
                  <a:pt x="1747238" y="268469"/>
                  <a:pt x="1674740" y="665873"/>
                  <a:pt x="1926095" y="810865"/>
                </a:cubicBezTo>
                <a:lnTo>
                  <a:pt x="985043" y="813140"/>
                </a:lnTo>
                <a:lnTo>
                  <a:pt x="985043" y="813246"/>
                </a:lnTo>
                <a:lnTo>
                  <a:pt x="963048" y="813193"/>
                </a:lnTo>
                <a:lnTo>
                  <a:pt x="941052" y="813246"/>
                </a:lnTo>
                <a:lnTo>
                  <a:pt x="941052" y="813140"/>
                </a:lnTo>
                <a:lnTo>
                  <a:pt x="0" y="810865"/>
                </a:lnTo>
                <a:cubicBezTo>
                  <a:pt x="251355" y="665873"/>
                  <a:pt x="178857" y="268469"/>
                  <a:pt x="258762" y="133002"/>
                </a:cubicBezTo>
                <a:cubicBezTo>
                  <a:pt x="269180" y="113655"/>
                  <a:pt x="291988" y="97572"/>
                  <a:pt x="323905" y="84252"/>
                </a:cubicBezTo>
                <a:lnTo>
                  <a:pt x="335694" y="81086"/>
                </a:lnTo>
                <a:lnTo>
                  <a:pt x="342833" y="76790"/>
                </a:lnTo>
                <a:cubicBezTo>
                  <a:pt x="445017" y="31664"/>
                  <a:pt x="684236" y="0"/>
                  <a:pt x="963047" y="0"/>
                </a:cubicBezTo>
                <a:close/>
              </a:path>
            </a:pathLst>
          </a:custGeom>
          <a:gradFill>
            <a:gsLst>
              <a:gs pos="0">
                <a:srgbClr val="BFC4CB"/>
              </a:gs>
              <a:gs pos="27000">
                <a:schemeClr val="bg1">
                  <a:lumMod val="95000"/>
                </a:schemeClr>
              </a:gs>
              <a:gs pos="82000">
                <a:schemeClr val="bg1"/>
              </a:gs>
              <a:gs pos="100000">
                <a:schemeClr val="bg1"/>
              </a:gs>
            </a:gsLst>
            <a:lin ang="16800000" scaled="0"/>
          </a:gradFill>
          <a:ln w="25400" cap="rnd">
            <a:noFill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ko-KR" altLang="en-US" sz="1200">
              <a:cs typeface="思源黑体 CN Regular" panose="020B0500000000000000" charset="-122"/>
            </a:endParaRPr>
          </a:p>
        </p:txBody>
      </p:sp>
      <p:sp>
        <p:nvSpPr>
          <p:cNvPr id="6" name="Rectangle: Rounded Corners 5"/>
          <p:cNvSpPr/>
          <p:nvPr userDrawn="1"/>
        </p:nvSpPr>
        <p:spPr>
          <a:xfrm>
            <a:off x="9685347" y="4202842"/>
            <a:ext cx="945989" cy="1104262"/>
          </a:xfrm>
          <a:prstGeom prst="roundRect">
            <a:avLst>
              <a:gd name="adj" fmla="val 18013"/>
            </a:avLst>
          </a:prstGeom>
          <a:solidFill>
            <a:srgbClr val="F7F7F8"/>
          </a:solidFill>
          <a:ln w="25400" cap="rnd">
            <a:noFill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ko-KR" altLang="en-US" sz="1200">
              <a:cs typeface="思源黑体 CN Regular" panose="020B0500000000000000" charset="-122"/>
            </a:endParaRPr>
          </a:p>
        </p:txBody>
      </p:sp>
      <p:sp>
        <p:nvSpPr>
          <p:cNvPr id="7" name="Freeform: Shape 6"/>
          <p:cNvSpPr/>
          <p:nvPr userDrawn="1"/>
        </p:nvSpPr>
        <p:spPr>
          <a:xfrm>
            <a:off x="10611781" y="4457531"/>
            <a:ext cx="70495" cy="189199"/>
          </a:xfrm>
          <a:custGeom>
            <a:avLst/>
            <a:gdLst>
              <a:gd name="connsiteX0" fmla="*/ 51197 w 184547"/>
              <a:gd name="connsiteY0" fmla="*/ 0 h 495300"/>
              <a:gd name="connsiteX1" fmla="*/ 117872 w 184547"/>
              <a:gd name="connsiteY1" fmla="*/ 0 h 495300"/>
              <a:gd name="connsiteX2" fmla="*/ 134540 w 184547"/>
              <a:gd name="connsiteY2" fmla="*/ 0 h 495300"/>
              <a:gd name="connsiteX3" fmla="*/ 134540 w 184547"/>
              <a:gd name="connsiteY3" fmla="*/ 6904 h 495300"/>
              <a:gd name="connsiteX4" fmla="*/ 165019 w 184547"/>
              <a:gd name="connsiteY4" fmla="*/ 19529 h 495300"/>
              <a:gd name="connsiteX5" fmla="*/ 184547 w 184547"/>
              <a:gd name="connsiteY5" fmla="*/ 66675 h 495300"/>
              <a:gd name="connsiteX6" fmla="*/ 184547 w 184547"/>
              <a:gd name="connsiteY6" fmla="*/ 428625 h 495300"/>
              <a:gd name="connsiteX7" fmla="*/ 165019 w 184547"/>
              <a:gd name="connsiteY7" fmla="*/ 475772 h 495300"/>
              <a:gd name="connsiteX8" fmla="*/ 134540 w 184547"/>
              <a:gd name="connsiteY8" fmla="*/ 488396 h 495300"/>
              <a:gd name="connsiteX9" fmla="*/ 134540 w 184547"/>
              <a:gd name="connsiteY9" fmla="*/ 495300 h 495300"/>
              <a:gd name="connsiteX10" fmla="*/ 117872 w 184547"/>
              <a:gd name="connsiteY10" fmla="*/ 495300 h 495300"/>
              <a:gd name="connsiteX11" fmla="*/ 51197 w 184547"/>
              <a:gd name="connsiteY11" fmla="*/ 495300 h 495300"/>
              <a:gd name="connsiteX12" fmla="*/ 0 w 184547"/>
              <a:gd name="connsiteY12" fmla="*/ 247650 h 495300"/>
              <a:gd name="connsiteX13" fmla="*/ 51197 w 184547"/>
              <a:gd name="connsiteY13" fmla="*/ 0 h 495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84547" h="495300">
                <a:moveTo>
                  <a:pt x="51197" y="0"/>
                </a:moveTo>
                <a:lnTo>
                  <a:pt x="117872" y="0"/>
                </a:lnTo>
                <a:lnTo>
                  <a:pt x="134540" y="0"/>
                </a:lnTo>
                <a:lnTo>
                  <a:pt x="134540" y="6904"/>
                </a:lnTo>
                <a:lnTo>
                  <a:pt x="165019" y="19529"/>
                </a:lnTo>
                <a:cubicBezTo>
                  <a:pt x="177084" y="31595"/>
                  <a:pt x="184547" y="48263"/>
                  <a:pt x="184547" y="66675"/>
                </a:cubicBezTo>
                <a:lnTo>
                  <a:pt x="184547" y="428625"/>
                </a:lnTo>
                <a:cubicBezTo>
                  <a:pt x="184547" y="447037"/>
                  <a:pt x="177084" y="463706"/>
                  <a:pt x="165019" y="475772"/>
                </a:cubicBezTo>
                <a:lnTo>
                  <a:pt x="134540" y="488396"/>
                </a:lnTo>
                <a:lnTo>
                  <a:pt x="134540" y="495300"/>
                </a:lnTo>
                <a:lnTo>
                  <a:pt x="117872" y="495300"/>
                </a:lnTo>
                <a:lnTo>
                  <a:pt x="51197" y="495300"/>
                </a:lnTo>
                <a:cubicBezTo>
                  <a:pt x="22922" y="495300"/>
                  <a:pt x="0" y="384423"/>
                  <a:pt x="0" y="247650"/>
                </a:cubicBezTo>
                <a:cubicBezTo>
                  <a:pt x="0" y="110877"/>
                  <a:pt x="22922" y="0"/>
                  <a:pt x="51197" y="0"/>
                </a:cubicBezTo>
                <a:close/>
              </a:path>
            </a:pathLst>
          </a:custGeom>
          <a:solidFill>
            <a:schemeClr val="bg1"/>
          </a:solidFill>
          <a:ln w="12700" cap="rnd">
            <a:noFill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ko-KR" altLang="en-US" sz="1200">
              <a:cs typeface="思源黑体 CN Regular" panose="020B0500000000000000" charset="-122"/>
            </a:endParaRPr>
          </a:p>
        </p:txBody>
      </p:sp>
      <p:sp>
        <p:nvSpPr>
          <p:cNvPr id="8" name="Rectangle: Rounded Corners 7"/>
          <p:cNvSpPr/>
          <p:nvPr userDrawn="1"/>
        </p:nvSpPr>
        <p:spPr>
          <a:xfrm>
            <a:off x="10622241" y="4788629"/>
            <a:ext cx="28199" cy="263786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12700" cap="rnd">
            <a:noFill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ko-KR" altLang="en-US" sz="1200">
              <a:cs typeface="思源黑体 CN Regular" panose="020B0500000000000000" charset="-122"/>
            </a:endParaRPr>
          </a:p>
        </p:txBody>
      </p:sp>
      <p:sp>
        <p:nvSpPr>
          <p:cNvPr id="13" name="Freeform: Shape 12"/>
          <p:cNvSpPr/>
          <p:nvPr userDrawn="1"/>
        </p:nvSpPr>
        <p:spPr>
          <a:xfrm>
            <a:off x="7653146" y="2681345"/>
            <a:ext cx="1493668" cy="2993639"/>
          </a:xfrm>
          <a:custGeom>
            <a:avLst/>
            <a:gdLst>
              <a:gd name="connsiteX0" fmla="*/ 483915 w 3193663"/>
              <a:gd name="connsiteY0" fmla="*/ 173853 h 6400800"/>
              <a:gd name="connsiteX1" fmla="*/ 200841 w 3193663"/>
              <a:gd name="connsiteY1" fmla="*/ 459277 h 6400800"/>
              <a:gd name="connsiteX2" fmla="*/ 200841 w 3193663"/>
              <a:gd name="connsiteY2" fmla="*/ 5941755 h 6400800"/>
              <a:gd name="connsiteX3" fmla="*/ 483915 w 3193663"/>
              <a:gd name="connsiteY3" fmla="*/ 6227181 h 6400800"/>
              <a:gd name="connsiteX4" fmla="*/ 2706684 w 3193663"/>
              <a:gd name="connsiteY4" fmla="*/ 6227181 h 6400800"/>
              <a:gd name="connsiteX5" fmla="*/ 2989761 w 3193663"/>
              <a:gd name="connsiteY5" fmla="*/ 5941755 h 6400800"/>
              <a:gd name="connsiteX6" fmla="*/ 2989761 w 3193663"/>
              <a:gd name="connsiteY6" fmla="*/ 459277 h 6400800"/>
              <a:gd name="connsiteX7" fmla="*/ 2706684 w 3193663"/>
              <a:gd name="connsiteY7" fmla="*/ 173853 h 6400800"/>
              <a:gd name="connsiteX8" fmla="*/ 2414686 w 3193663"/>
              <a:gd name="connsiteY8" fmla="*/ 173853 h 6400800"/>
              <a:gd name="connsiteX9" fmla="*/ 2414686 w 3193663"/>
              <a:gd name="connsiteY9" fmla="*/ 175768 h 6400800"/>
              <a:gd name="connsiteX10" fmla="*/ 2410278 w 3193663"/>
              <a:gd name="connsiteY10" fmla="*/ 173853 h 6400800"/>
              <a:gd name="connsiteX11" fmla="*/ 2374834 w 3193663"/>
              <a:gd name="connsiteY11" fmla="*/ 189254 h 6400800"/>
              <a:gd name="connsiteX12" fmla="*/ 2363947 w 3193663"/>
              <a:gd name="connsiteY12" fmla="*/ 216827 h 6400800"/>
              <a:gd name="connsiteX13" fmla="*/ 2363947 w 3193663"/>
              <a:gd name="connsiteY13" fmla="*/ 226832 h 6400800"/>
              <a:gd name="connsiteX14" fmla="*/ 2182514 w 3193663"/>
              <a:gd name="connsiteY14" fmla="*/ 409771 h 6400800"/>
              <a:gd name="connsiteX15" fmla="*/ 1000573 w 3193663"/>
              <a:gd name="connsiteY15" fmla="*/ 409771 h 6400800"/>
              <a:gd name="connsiteX16" fmla="*/ 819142 w 3193663"/>
              <a:gd name="connsiteY16" fmla="*/ 226832 h 6400800"/>
              <a:gd name="connsiteX17" fmla="*/ 819142 w 3193663"/>
              <a:gd name="connsiteY17" fmla="*/ 214003 h 6400800"/>
              <a:gd name="connsiteX18" fmla="*/ 809369 w 3193663"/>
              <a:gd name="connsiteY18" fmla="*/ 189254 h 6400800"/>
              <a:gd name="connsiteX19" fmla="*/ 773925 w 3193663"/>
              <a:gd name="connsiteY19" fmla="*/ 173853 h 6400800"/>
              <a:gd name="connsiteX20" fmla="*/ 769516 w 3193663"/>
              <a:gd name="connsiteY20" fmla="*/ 175768 h 6400800"/>
              <a:gd name="connsiteX21" fmla="*/ 769516 w 3193663"/>
              <a:gd name="connsiteY21" fmla="*/ 173853 h 6400800"/>
              <a:gd name="connsiteX22" fmla="*/ 490054 w 3193663"/>
              <a:gd name="connsiteY22" fmla="*/ 0 h 6400800"/>
              <a:gd name="connsiteX23" fmla="*/ 2707015 w 3193663"/>
              <a:gd name="connsiteY23" fmla="*/ 0 h 6400800"/>
              <a:gd name="connsiteX24" fmla="*/ 3178198 w 3193663"/>
              <a:gd name="connsiteY24" fmla="*/ 471182 h 6400800"/>
              <a:gd name="connsiteX25" fmla="*/ 3178198 w 3193663"/>
              <a:gd name="connsiteY25" fmla="*/ 1474326 h 6400800"/>
              <a:gd name="connsiteX26" fmla="*/ 3188507 w 3193663"/>
              <a:gd name="connsiteY26" fmla="*/ 1478596 h 6400800"/>
              <a:gd name="connsiteX27" fmla="*/ 3193663 w 3193663"/>
              <a:gd name="connsiteY27" fmla="*/ 1491045 h 6400800"/>
              <a:gd name="connsiteX28" fmla="*/ 3193663 w 3193663"/>
              <a:gd name="connsiteY28" fmla="*/ 2200219 h 6400800"/>
              <a:gd name="connsiteX29" fmla="*/ 3188507 w 3193663"/>
              <a:gd name="connsiteY29" fmla="*/ 2212667 h 6400800"/>
              <a:gd name="connsiteX30" fmla="*/ 3178198 w 3193663"/>
              <a:gd name="connsiteY30" fmla="*/ 2216938 h 6400800"/>
              <a:gd name="connsiteX31" fmla="*/ 3178198 w 3193663"/>
              <a:gd name="connsiteY31" fmla="*/ 5929618 h 6400800"/>
              <a:gd name="connsiteX32" fmla="*/ 2707015 w 3193663"/>
              <a:gd name="connsiteY32" fmla="*/ 6400800 h 6400800"/>
              <a:gd name="connsiteX33" fmla="*/ 490054 w 3193663"/>
              <a:gd name="connsiteY33" fmla="*/ 6400800 h 6400800"/>
              <a:gd name="connsiteX34" fmla="*/ 18872 w 3193663"/>
              <a:gd name="connsiteY34" fmla="*/ 5929618 h 6400800"/>
              <a:gd name="connsiteX35" fmla="*/ 18872 w 3193663"/>
              <a:gd name="connsiteY35" fmla="*/ 2366019 h 6400800"/>
              <a:gd name="connsiteX36" fmla="*/ 17605 w 3193663"/>
              <a:gd name="connsiteY36" fmla="*/ 2366019 h 6400800"/>
              <a:gd name="connsiteX37" fmla="*/ 0 w 3193663"/>
              <a:gd name="connsiteY37" fmla="*/ 2348413 h 6400800"/>
              <a:gd name="connsiteX38" fmla="*/ 0 w 3193663"/>
              <a:gd name="connsiteY38" fmla="*/ 1922004 h 6400800"/>
              <a:gd name="connsiteX39" fmla="*/ 17605 w 3193663"/>
              <a:gd name="connsiteY39" fmla="*/ 1904398 h 6400800"/>
              <a:gd name="connsiteX40" fmla="*/ 18872 w 3193663"/>
              <a:gd name="connsiteY40" fmla="*/ 1904398 h 6400800"/>
              <a:gd name="connsiteX41" fmla="*/ 18872 w 3193663"/>
              <a:gd name="connsiteY41" fmla="*/ 1783458 h 6400800"/>
              <a:gd name="connsiteX42" fmla="*/ 17605 w 3193663"/>
              <a:gd name="connsiteY42" fmla="*/ 1783458 h 6400800"/>
              <a:gd name="connsiteX43" fmla="*/ 0 w 3193663"/>
              <a:gd name="connsiteY43" fmla="*/ 1765852 h 6400800"/>
              <a:gd name="connsiteX44" fmla="*/ 0 w 3193663"/>
              <a:gd name="connsiteY44" fmla="*/ 1339443 h 6400800"/>
              <a:gd name="connsiteX45" fmla="*/ 17605 w 3193663"/>
              <a:gd name="connsiteY45" fmla="*/ 1321837 h 6400800"/>
              <a:gd name="connsiteX46" fmla="*/ 18872 w 3193663"/>
              <a:gd name="connsiteY46" fmla="*/ 1321837 h 6400800"/>
              <a:gd name="connsiteX47" fmla="*/ 18872 w 3193663"/>
              <a:gd name="connsiteY47" fmla="*/ 1105506 h 6400800"/>
              <a:gd name="connsiteX48" fmla="*/ 11239 w 3193663"/>
              <a:gd name="connsiteY48" fmla="*/ 1105506 h 6400800"/>
              <a:gd name="connsiteX49" fmla="*/ 0 w 3193663"/>
              <a:gd name="connsiteY49" fmla="*/ 1094267 h 6400800"/>
              <a:gd name="connsiteX50" fmla="*/ 0 w 3193663"/>
              <a:gd name="connsiteY50" fmla="*/ 873158 h 6400800"/>
              <a:gd name="connsiteX51" fmla="*/ 11239 w 3193663"/>
              <a:gd name="connsiteY51" fmla="*/ 861920 h 6400800"/>
              <a:gd name="connsiteX52" fmla="*/ 18872 w 3193663"/>
              <a:gd name="connsiteY52" fmla="*/ 861920 h 6400800"/>
              <a:gd name="connsiteX53" fmla="*/ 18872 w 3193663"/>
              <a:gd name="connsiteY53" fmla="*/ 471182 h 6400800"/>
              <a:gd name="connsiteX54" fmla="*/ 490054 w 3193663"/>
              <a:gd name="connsiteY54" fmla="*/ 0 h 6400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</a:cxnLst>
            <a:rect l="l" t="t" r="r" b="b"/>
            <a:pathLst>
              <a:path w="3193663" h="6400800">
                <a:moveTo>
                  <a:pt x="483915" y="173853"/>
                </a:moveTo>
                <a:cubicBezTo>
                  <a:pt x="327579" y="173853"/>
                  <a:pt x="200841" y="301641"/>
                  <a:pt x="200841" y="459277"/>
                </a:cubicBezTo>
                <a:lnTo>
                  <a:pt x="200841" y="5941755"/>
                </a:lnTo>
                <a:cubicBezTo>
                  <a:pt x="200841" y="6099393"/>
                  <a:pt x="327579" y="6227181"/>
                  <a:pt x="483915" y="6227181"/>
                </a:cubicBezTo>
                <a:lnTo>
                  <a:pt x="2706684" y="6227181"/>
                </a:lnTo>
                <a:cubicBezTo>
                  <a:pt x="2863025" y="6227181"/>
                  <a:pt x="2989761" y="6099393"/>
                  <a:pt x="2989761" y="5941755"/>
                </a:cubicBezTo>
                <a:lnTo>
                  <a:pt x="2989761" y="459277"/>
                </a:lnTo>
                <a:cubicBezTo>
                  <a:pt x="2989761" y="301641"/>
                  <a:pt x="2863025" y="173853"/>
                  <a:pt x="2706684" y="173853"/>
                </a:cubicBezTo>
                <a:lnTo>
                  <a:pt x="2414686" y="173853"/>
                </a:lnTo>
                <a:lnTo>
                  <a:pt x="2414686" y="175768"/>
                </a:lnTo>
                <a:lnTo>
                  <a:pt x="2410278" y="173853"/>
                </a:lnTo>
                <a:cubicBezTo>
                  <a:pt x="2396436" y="173853"/>
                  <a:pt x="2383906" y="179738"/>
                  <a:pt x="2374834" y="189254"/>
                </a:cubicBezTo>
                <a:lnTo>
                  <a:pt x="2363947" y="216827"/>
                </a:lnTo>
                <a:lnTo>
                  <a:pt x="2363947" y="226832"/>
                </a:lnTo>
                <a:cubicBezTo>
                  <a:pt x="2363947" y="327868"/>
                  <a:pt x="2282718" y="409771"/>
                  <a:pt x="2182514" y="409771"/>
                </a:cubicBezTo>
                <a:lnTo>
                  <a:pt x="1000573" y="409771"/>
                </a:lnTo>
                <a:cubicBezTo>
                  <a:pt x="900372" y="409771"/>
                  <a:pt x="819142" y="327868"/>
                  <a:pt x="819142" y="226832"/>
                </a:cubicBezTo>
                <a:lnTo>
                  <a:pt x="819142" y="214003"/>
                </a:lnTo>
                <a:lnTo>
                  <a:pt x="809369" y="189254"/>
                </a:lnTo>
                <a:cubicBezTo>
                  <a:pt x="800296" y="179738"/>
                  <a:pt x="787766" y="173853"/>
                  <a:pt x="773925" y="173853"/>
                </a:cubicBezTo>
                <a:lnTo>
                  <a:pt x="769516" y="175768"/>
                </a:lnTo>
                <a:lnTo>
                  <a:pt x="769516" y="173853"/>
                </a:lnTo>
                <a:close/>
                <a:moveTo>
                  <a:pt x="490054" y="0"/>
                </a:moveTo>
                <a:lnTo>
                  <a:pt x="2707015" y="0"/>
                </a:lnTo>
                <a:cubicBezTo>
                  <a:pt x="2967242" y="0"/>
                  <a:pt x="3178198" y="210955"/>
                  <a:pt x="3178198" y="471182"/>
                </a:cubicBezTo>
                <a:lnTo>
                  <a:pt x="3178198" y="1474326"/>
                </a:lnTo>
                <a:lnTo>
                  <a:pt x="3188507" y="1478596"/>
                </a:lnTo>
                <a:cubicBezTo>
                  <a:pt x="3191692" y="1481782"/>
                  <a:pt x="3193663" y="1486183"/>
                  <a:pt x="3193663" y="1491045"/>
                </a:cubicBezTo>
                <a:lnTo>
                  <a:pt x="3193663" y="2200219"/>
                </a:lnTo>
                <a:cubicBezTo>
                  <a:pt x="3193663" y="2205080"/>
                  <a:pt x="3191692" y="2209481"/>
                  <a:pt x="3188507" y="2212667"/>
                </a:cubicBezTo>
                <a:lnTo>
                  <a:pt x="3178198" y="2216938"/>
                </a:lnTo>
                <a:lnTo>
                  <a:pt x="3178198" y="5929618"/>
                </a:lnTo>
                <a:cubicBezTo>
                  <a:pt x="3178198" y="6189845"/>
                  <a:pt x="2967242" y="6400800"/>
                  <a:pt x="2707015" y="6400800"/>
                </a:cubicBezTo>
                <a:lnTo>
                  <a:pt x="490054" y="6400800"/>
                </a:lnTo>
                <a:cubicBezTo>
                  <a:pt x="229827" y="6400800"/>
                  <a:pt x="18872" y="6189845"/>
                  <a:pt x="18872" y="5929618"/>
                </a:cubicBezTo>
                <a:lnTo>
                  <a:pt x="18872" y="2366019"/>
                </a:lnTo>
                <a:lnTo>
                  <a:pt x="17605" y="2366019"/>
                </a:lnTo>
                <a:cubicBezTo>
                  <a:pt x="7882" y="2366019"/>
                  <a:pt x="0" y="2358136"/>
                  <a:pt x="0" y="2348413"/>
                </a:cubicBezTo>
                <a:lnTo>
                  <a:pt x="0" y="1922004"/>
                </a:lnTo>
                <a:cubicBezTo>
                  <a:pt x="0" y="1912281"/>
                  <a:pt x="7882" y="1904398"/>
                  <a:pt x="17605" y="1904398"/>
                </a:cubicBezTo>
                <a:lnTo>
                  <a:pt x="18872" y="1904398"/>
                </a:lnTo>
                <a:lnTo>
                  <a:pt x="18872" y="1783458"/>
                </a:lnTo>
                <a:lnTo>
                  <a:pt x="17605" y="1783458"/>
                </a:lnTo>
                <a:cubicBezTo>
                  <a:pt x="7882" y="1783458"/>
                  <a:pt x="0" y="1775575"/>
                  <a:pt x="0" y="1765852"/>
                </a:cubicBezTo>
                <a:lnTo>
                  <a:pt x="0" y="1339443"/>
                </a:lnTo>
                <a:cubicBezTo>
                  <a:pt x="0" y="1329720"/>
                  <a:pt x="7882" y="1321837"/>
                  <a:pt x="17605" y="1321837"/>
                </a:cubicBezTo>
                <a:lnTo>
                  <a:pt x="18872" y="1321837"/>
                </a:lnTo>
                <a:lnTo>
                  <a:pt x="18872" y="1105506"/>
                </a:lnTo>
                <a:lnTo>
                  <a:pt x="11239" y="1105506"/>
                </a:lnTo>
                <a:cubicBezTo>
                  <a:pt x="5032" y="1105506"/>
                  <a:pt x="0" y="1100473"/>
                  <a:pt x="0" y="1094267"/>
                </a:cubicBezTo>
                <a:lnTo>
                  <a:pt x="0" y="873158"/>
                </a:lnTo>
                <a:cubicBezTo>
                  <a:pt x="0" y="866951"/>
                  <a:pt x="5032" y="861920"/>
                  <a:pt x="11239" y="861920"/>
                </a:cubicBezTo>
                <a:lnTo>
                  <a:pt x="18872" y="861920"/>
                </a:lnTo>
                <a:lnTo>
                  <a:pt x="18872" y="471182"/>
                </a:lnTo>
                <a:cubicBezTo>
                  <a:pt x="18872" y="210955"/>
                  <a:pt x="229827" y="0"/>
                  <a:pt x="490054" y="0"/>
                </a:cubicBezTo>
                <a:close/>
              </a:path>
            </a:pathLst>
          </a:custGeom>
          <a:solidFill>
            <a:srgbClr val="F7F7F8"/>
          </a:solidFill>
          <a:ln w="25400" cap="rnd">
            <a:noFill/>
            <a:round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200">
              <a:cs typeface="思源黑体 CN Regular" panose="020B0500000000000000" charset="-122"/>
            </a:endParaRPr>
          </a:p>
        </p:txBody>
      </p:sp>
      <p:sp>
        <p:nvSpPr>
          <p:cNvPr id="17" name="Freeform: Shape 16"/>
          <p:cNvSpPr/>
          <p:nvPr userDrawn="1"/>
        </p:nvSpPr>
        <p:spPr>
          <a:xfrm>
            <a:off x="1602049" y="2316831"/>
            <a:ext cx="5079577" cy="3274694"/>
          </a:xfrm>
          <a:custGeom>
            <a:avLst/>
            <a:gdLst>
              <a:gd name="connsiteX0" fmla="*/ 123268 w 3721022"/>
              <a:gd name="connsiteY0" fmla="*/ 0 h 2398862"/>
              <a:gd name="connsiteX1" fmla="*/ 3597754 w 3721022"/>
              <a:gd name="connsiteY1" fmla="*/ 0 h 2398862"/>
              <a:gd name="connsiteX2" fmla="*/ 3721022 w 3721022"/>
              <a:gd name="connsiteY2" fmla="*/ 123268 h 2398862"/>
              <a:gd name="connsiteX3" fmla="*/ 3721022 w 3721022"/>
              <a:gd name="connsiteY3" fmla="*/ 2398862 h 2398862"/>
              <a:gd name="connsiteX4" fmla="*/ 0 w 3721022"/>
              <a:gd name="connsiteY4" fmla="*/ 2398862 h 2398862"/>
              <a:gd name="connsiteX5" fmla="*/ 0 w 3721022"/>
              <a:gd name="connsiteY5" fmla="*/ 123268 h 2398862"/>
              <a:gd name="connsiteX6" fmla="*/ 123268 w 3721022"/>
              <a:gd name="connsiteY6" fmla="*/ 0 h 23988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721022" h="2398862">
                <a:moveTo>
                  <a:pt x="123268" y="0"/>
                </a:moveTo>
                <a:lnTo>
                  <a:pt x="3597754" y="0"/>
                </a:lnTo>
                <a:cubicBezTo>
                  <a:pt x="3665833" y="0"/>
                  <a:pt x="3721022" y="55189"/>
                  <a:pt x="3721022" y="123268"/>
                </a:cubicBezTo>
                <a:lnTo>
                  <a:pt x="3721022" y="2398862"/>
                </a:lnTo>
                <a:lnTo>
                  <a:pt x="0" y="2398862"/>
                </a:lnTo>
                <a:lnTo>
                  <a:pt x="0" y="123268"/>
                </a:lnTo>
                <a:cubicBezTo>
                  <a:pt x="0" y="55189"/>
                  <a:pt x="55189" y="0"/>
                  <a:pt x="123268" y="0"/>
                </a:cubicBezTo>
                <a:close/>
              </a:path>
            </a:pathLst>
          </a:custGeom>
          <a:solidFill>
            <a:srgbClr val="F7F7F8"/>
          </a:solidFill>
          <a:ln w="25400">
            <a:noFill/>
            <a:miter/>
          </a:ln>
        </p:spPr>
        <p:txBody>
          <a:bodyPr wrap="square" lIns="40639" tIns="40639" rIns="40639" bIns="40639" anchor="ctr">
            <a:noAutofit/>
          </a:bodyPr>
          <a:lstStyle/>
          <a:p>
            <a:pPr algn="ctr" defTabSz="1219200">
              <a:lnSpc>
                <a:spcPct val="100000"/>
              </a:lnSpc>
              <a:defRPr sz="3600" spc="0">
                <a:ln>
                  <a:noFill/>
                </a:ln>
                <a:solidFill>
                  <a:srgbClr val="FFFFFF"/>
                </a:solidFill>
                <a:latin typeface="+mn-lt"/>
                <a:ea typeface="+mn-ea"/>
                <a:cs typeface="+mn-cs"/>
                <a:sym typeface="Montserrat Regular"/>
              </a:defRPr>
            </a:pPr>
            <a:endParaRPr sz="2400">
              <a:cs typeface="思源黑体 CN Regular" panose="020B0500000000000000" charset="-122"/>
              <a:sym typeface="思源黑体 CN Regular" panose="020B0500000000000000" charset="-122"/>
            </a:endParaRPr>
          </a:p>
        </p:txBody>
      </p:sp>
      <p:sp>
        <p:nvSpPr>
          <p:cNvPr id="18" name="Freeform 18"/>
          <p:cNvSpPr/>
          <p:nvPr userDrawn="1"/>
        </p:nvSpPr>
        <p:spPr>
          <a:xfrm rot="10800000" flipH="1">
            <a:off x="1031077" y="5591525"/>
            <a:ext cx="6221520" cy="9060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21600"/>
                </a:moveTo>
                <a:lnTo>
                  <a:pt x="21600" y="21600"/>
                </a:lnTo>
                <a:cubicBezTo>
                  <a:pt x="21192" y="6109"/>
                  <a:pt x="20709" y="873"/>
                  <a:pt x="20434" y="909"/>
                </a:cubicBezTo>
                <a:lnTo>
                  <a:pt x="10909" y="20"/>
                </a:lnTo>
                <a:lnTo>
                  <a:pt x="10909" y="0"/>
                </a:lnTo>
                <a:lnTo>
                  <a:pt x="10800" y="10"/>
                </a:lnTo>
                <a:lnTo>
                  <a:pt x="10691" y="0"/>
                </a:lnTo>
                <a:lnTo>
                  <a:pt x="10691" y="20"/>
                </a:lnTo>
                <a:lnTo>
                  <a:pt x="1166" y="909"/>
                </a:lnTo>
                <a:cubicBezTo>
                  <a:pt x="891" y="873"/>
                  <a:pt x="408" y="6109"/>
                  <a:pt x="0" y="21600"/>
                </a:cubicBezTo>
                <a:close/>
              </a:path>
            </a:pathLst>
          </a:custGeom>
          <a:gradFill>
            <a:gsLst>
              <a:gs pos="0">
                <a:srgbClr val="BFC4CB"/>
              </a:gs>
              <a:gs pos="57000">
                <a:schemeClr val="bg1">
                  <a:lumMod val="95000"/>
                </a:schemeClr>
              </a:gs>
              <a:gs pos="82000">
                <a:schemeClr val="bg1"/>
              </a:gs>
              <a:gs pos="100000">
                <a:schemeClr val="bg1">
                  <a:lumMod val="95000"/>
                </a:schemeClr>
              </a:gs>
            </a:gsLst>
            <a:lin ang="5400000" scaled="0"/>
          </a:gradFill>
          <a:ln w="25400">
            <a:noFill/>
            <a:round/>
          </a:ln>
          <a:effectLst/>
        </p:spPr>
        <p:txBody>
          <a:bodyPr lIns="40639" tIns="40639" rIns="40639" bIns="40639" anchor="ctr"/>
          <a:lstStyle/>
          <a:p>
            <a:pPr>
              <a:lnSpc>
                <a:spcPct val="100000"/>
              </a:lnSpc>
              <a:defRPr sz="2400" spc="0">
                <a:ln>
                  <a:noFill/>
                </a:ln>
                <a:latin typeface="+mn-lt"/>
                <a:ea typeface="+mn-ea"/>
                <a:cs typeface="+mn-cs"/>
                <a:sym typeface="Montserrat Regular"/>
              </a:defRPr>
            </a:pPr>
            <a:endParaRPr sz="1600">
              <a:cs typeface="思源黑体 CN Regular" panose="020B0500000000000000" charset="-122"/>
              <a:sym typeface="思源黑体 CN Regular" panose="020B0500000000000000" charset="-122"/>
            </a:endParaRPr>
          </a:p>
        </p:txBody>
      </p:sp>
      <p:sp>
        <p:nvSpPr>
          <p:cNvPr id="23" name="Picture Placeholder 22"/>
          <p:cNvSpPr>
            <a:spLocks noGrp="1" noChangeAspect="1"/>
          </p:cNvSpPr>
          <p:nvPr>
            <p:ph type="pic" sz="quarter" idx="11" hasCustomPrompt="1"/>
          </p:nvPr>
        </p:nvSpPr>
        <p:spPr>
          <a:xfrm>
            <a:off x="1801368" y="2469713"/>
            <a:ext cx="4680937" cy="2925586"/>
          </a:xfrm>
          <a:custGeom>
            <a:avLst/>
            <a:gdLst>
              <a:gd name="connsiteX0" fmla="*/ 0 w 7021406"/>
              <a:gd name="connsiteY0" fmla="*/ 0 h 4388379"/>
              <a:gd name="connsiteX1" fmla="*/ 7021406 w 7021406"/>
              <a:gd name="connsiteY1" fmla="*/ 0 h 4388379"/>
              <a:gd name="connsiteX2" fmla="*/ 7021406 w 7021406"/>
              <a:gd name="connsiteY2" fmla="*/ 4388379 h 4388379"/>
              <a:gd name="connsiteX3" fmla="*/ 0 w 7021406"/>
              <a:gd name="connsiteY3" fmla="*/ 4388379 h 43883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021405" h="4388379">
                <a:moveTo>
                  <a:pt x="0" y="0"/>
                </a:moveTo>
                <a:lnTo>
                  <a:pt x="7021406" y="0"/>
                </a:lnTo>
                <a:lnTo>
                  <a:pt x="7021406" y="4388379"/>
                </a:lnTo>
                <a:lnTo>
                  <a:pt x="0" y="4388379"/>
                </a:lnTo>
                <a:close/>
              </a:path>
            </a:pathLst>
          </a:custGeom>
          <a:solidFill>
            <a:schemeClr val="bg1"/>
          </a:solidFill>
          <a:effectLst/>
        </p:spPr>
        <p:txBody>
          <a:bodyPr wrap="square" anchor="ctr">
            <a:noAutofit/>
          </a:bodyPr>
          <a:lstStyle>
            <a:lvl1pPr marL="0" indent="0" algn="ctr">
              <a:buNone/>
              <a:defRPr sz="1335" spc="400">
                <a:latin typeface="Bebas Neue Book" panose="00000500000000000000" pitchFamily="2" charset="0"/>
              </a:defRPr>
            </a:lvl1pPr>
          </a:lstStyle>
          <a:p>
            <a:r>
              <a:rPr lang="en-US"/>
              <a:t>Drag and Drop</a:t>
            </a:r>
          </a:p>
        </p:txBody>
      </p:sp>
      <p:sp>
        <p:nvSpPr>
          <p:cNvPr id="24" name="Picture Placeholder 23"/>
          <p:cNvSpPr>
            <a:spLocks noGrp="1" noChangeAspect="1"/>
          </p:cNvSpPr>
          <p:nvPr>
            <p:ph type="pic" sz="quarter" idx="12" hasCustomPrompt="1"/>
          </p:nvPr>
        </p:nvSpPr>
        <p:spPr>
          <a:xfrm>
            <a:off x="7747794" y="2762602"/>
            <a:ext cx="1304371" cy="2831127"/>
          </a:xfrm>
          <a:custGeom>
            <a:avLst/>
            <a:gdLst>
              <a:gd name="connsiteX0" fmla="*/ 198590 w 1956556"/>
              <a:gd name="connsiteY0" fmla="*/ 0 h 4246691"/>
              <a:gd name="connsiteX1" fmla="*/ 398952 w 1956556"/>
              <a:gd name="connsiteY1" fmla="*/ 0 h 4246691"/>
              <a:gd name="connsiteX2" fmla="*/ 398952 w 1956556"/>
              <a:gd name="connsiteY2" fmla="*/ 1343 h 4246691"/>
              <a:gd name="connsiteX3" fmla="*/ 402045 w 1956556"/>
              <a:gd name="connsiteY3" fmla="*/ 0 h 4246691"/>
              <a:gd name="connsiteX4" fmla="*/ 426910 w 1956556"/>
              <a:gd name="connsiteY4" fmla="*/ 10804 h 4246691"/>
              <a:gd name="connsiteX5" fmla="*/ 433767 w 1956556"/>
              <a:gd name="connsiteY5" fmla="*/ 28167 h 4246691"/>
              <a:gd name="connsiteX6" fmla="*/ 433767 w 1956556"/>
              <a:gd name="connsiteY6" fmla="*/ 37167 h 4246691"/>
              <a:gd name="connsiteX7" fmla="*/ 561049 w 1956556"/>
              <a:gd name="connsiteY7" fmla="*/ 165507 h 4246691"/>
              <a:gd name="connsiteX8" fmla="*/ 1390235 w 1956556"/>
              <a:gd name="connsiteY8" fmla="*/ 165507 h 4246691"/>
              <a:gd name="connsiteX9" fmla="*/ 1517519 w 1956556"/>
              <a:gd name="connsiteY9" fmla="*/ 37167 h 4246691"/>
              <a:gd name="connsiteX10" fmla="*/ 1517519 w 1956556"/>
              <a:gd name="connsiteY10" fmla="*/ 30148 h 4246691"/>
              <a:gd name="connsiteX11" fmla="*/ 1525156 w 1956556"/>
              <a:gd name="connsiteY11" fmla="*/ 10804 h 4246691"/>
              <a:gd name="connsiteX12" fmla="*/ 1550021 w 1956556"/>
              <a:gd name="connsiteY12" fmla="*/ 0 h 4246691"/>
              <a:gd name="connsiteX13" fmla="*/ 1553114 w 1956556"/>
              <a:gd name="connsiteY13" fmla="*/ 1343 h 4246691"/>
              <a:gd name="connsiteX14" fmla="*/ 1553114 w 1956556"/>
              <a:gd name="connsiteY14" fmla="*/ 0 h 4246691"/>
              <a:gd name="connsiteX15" fmla="*/ 1757965 w 1956556"/>
              <a:gd name="connsiteY15" fmla="*/ 0 h 4246691"/>
              <a:gd name="connsiteX16" fmla="*/ 1956556 w 1956556"/>
              <a:gd name="connsiteY16" fmla="*/ 200238 h 4246691"/>
              <a:gd name="connsiteX17" fmla="*/ 1956556 w 1956556"/>
              <a:gd name="connsiteY17" fmla="*/ 4046452 h 4246691"/>
              <a:gd name="connsiteX18" fmla="*/ 1757965 w 1956556"/>
              <a:gd name="connsiteY18" fmla="*/ 4246691 h 4246691"/>
              <a:gd name="connsiteX19" fmla="*/ 198590 w 1956556"/>
              <a:gd name="connsiteY19" fmla="*/ 4246691 h 4246691"/>
              <a:gd name="connsiteX20" fmla="*/ 0 w 1956556"/>
              <a:gd name="connsiteY20" fmla="*/ 4046452 h 4246691"/>
              <a:gd name="connsiteX21" fmla="*/ 0 w 1956556"/>
              <a:gd name="connsiteY21" fmla="*/ 200238 h 4246691"/>
              <a:gd name="connsiteX22" fmla="*/ 198590 w 1956556"/>
              <a:gd name="connsiteY22" fmla="*/ 0 h 42466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1956556" h="4246691">
                <a:moveTo>
                  <a:pt x="198590" y="0"/>
                </a:moveTo>
                <a:lnTo>
                  <a:pt x="398952" y="0"/>
                </a:lnTo>
                <a:lnTo>
                  <a:pt x="398952" y="1343"/>
                </a:lnTo>
                <a:lnTo>
                  <a:pt x="402045" y="0"/>
                </a:lnTo>
                <a:cubicBezTo>
                  <a:pt x="411755" y="0"/>
                  <a:pt x="420545" y="4128"/>
                  <a:pt x="426910" y="10804"/>
                </a:cubicBezTo>
                <a:lnTo>
                  <a:pt x="433767" y="28167"/>
                </a:lnTo>
                <a:lnTo>
                  <a:pt x="433767" y="37167"/>
                </a:lnTo>
                <a:cubicBezTo>
                  <a:pt x="433767" y="108048"/>
                  <a:pt x="490753" y="165507"/>
                  <a:pt x="561049" y="165507"/>
                </a:cubicBezTo>
                <a:lnTo>
                  <a:pt x="1390235" y="165507"/>
                </a:lnTo>
                <a:cubicBezTo>
                  <a:pt x="1460533" y="165507"/>
                  <a:pt x="1517519" y="108048"/>
                  <a:pt x="1517519" y="37167"/>
                </a:cubicBezTo>
                <a:lnTo>
                  <a:pt x="1517519" y="30148"/>
                </a:lnTo>
                <a:lnTo>
                  <a:pt x="1525156" y="10804"/>
                </a:lnTo>
                <a:cubicBezTo>
                  <a:pt x="1531521" y="4128"/>
                  <a:pt x="1540311" y="0"/>
                  <a:pt x="1550021" y="0"/>
                </a:cubicBezTo>
                <a:lnTo>
                  <a:pt x="1553114" y="1343"/>
                </a:lnTo>
                <a:lnTo>
                  <a:pt x="1553114" y="0"/>
                </a:lnTo>
                <a:lnTo>
                  <a:pt x="1757965" y="0"/>
                </a:lnTo>
                <a:cubicBezTo>
                  <a:pt x="1867645" y="0"/>
                  <a:pt x="1956556" y="89649"/>
                  <a:pt x="1956556" y="200238"/>
                </a:cubicBezTo>
                <a:lnTo>
                  <a:pt x="1956556" y="4046452"/>
                </a:lnTo>
                <a:cubicBezTo>
                  <a:pt x="1956556" y="4157042"/>
                  <a:pt x="1867645" y="4246691"/>
                  <a:pt x="1757965" y="4246691"/>
                </a:cubicBezTo>
                <a:lnTo>
                  <a:pt x="198590" y="4246691"/>
                </a:lnTo>
                <a:cubicBezTo>
                  <a:pt x="88913" y="4246691"/>
                  <a:pt x="0" y="4157042"/>
                  <a:pt x="0" y="4046452"/>
                </a:cubicBezTo>
                <a:lnTo>
                  <a:pt x="0" y="200238"/>
                </a:lnTo>
                <a:cubicBezTo>
                  <a:pt x="0" y="89649"/>
                  <a:pt x="88913" y="0"/>
                  <a:pt x="198590" y="0"/>
                </a:cubicBezTo>
                <a:close/>
              </a:path>
            </a:pathLst>
          </a:custGeom>
          <a:solidFill>
            <a:schemeClr val="bg1"/>
          </a:solidFill>
          <a:effectLst/>
        </p:spPr>
        <p:txBody>
          <a:bodyPr wrap="square" anchor="ctr">
            <a:noAutofit/>
          </a:bodyPr>
          <a:lstStyle>
            <a:lvl1pPr marL="0" indent="0" algn="ctr">
              <a:buNone/>
              <a:defRPr sz="1335" spc="400">
                <a:latin typeface="Bebas Neue Book" panose="00000500000000000000" pitchFamily="2" charset="0"/>
              </a:defRPr>
            </a:lvl1pPr>
          </a:lstStyle>
          <a:p>
            <a:r>
              <a:rPr lang="en-US"/>
              <a:t>Drag and Drop</a:t>
            </a:r>
          </a:p>
        </p:txBody>
      </p:sp>
      <p:sp>
        <p:nvSpPr>
          <p:cNvPr id="25" name="Picture Placeholder 24"/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9758192" y="4287995"/>
            <a:ext cx="797543" cy="930467"/>
          </a:xfrm>
          <a:custGeom>
            <a:avLst/>
            <a:gdLst>
              <a:gd name="connsiteX0" fmla="*/ 139454 w 1196314"/>
              <a:gd name="connsiteY0" fmla="*/ 0 h 1395700"/>
              <a:gd name="connsiteX1" fmla="*/ 1056860 w 1196314"/>
              <a:gd name="connsiteY1" fmla="*/ 0 h 1395700"/>
              <a:gd name="connsiteX2" fmla="*/ 1196314 w 1196314"/>
              <a:gd name="connsiteY2" fmla="*/ 139454 h 1395700"/>
              <a:gd name="connsiteX3" fmla="*/ 1196314 w 1196314"/>
              <a:gd name="connsiteY3" fmla="*/ 1256246 h 1395700"/>
              <a:gd name="connsiteX4" fmla="*/ 1056860 w 1196314"/>
              <a:gd name="connsiteY4" fmla="*/ 1395700 h 1395700"/>
              <a:gd name="connsiteX5" fmla="*/ 139454 w 1196314"/>
              <a:gd name="connsiteY5" fmla="*/ 1395700 h 1395700"/>
              <a:gd name="connsiteX6" fmla="*/ 0 w 1196314"/>
              <a:gd name="connsiteY6" fmla="*/ 1256246 h 1395700"/>
              <a:gd name="connsiteX7" fmla="*/ 0 w 1196314"/>
              <a:gd name="connsiteY7" fmla="*/ 139454 h 1395700"/>
              <a:gd name="connsiteX8" fmla="*/ 139454 w 1196314"/>
              <a:gd name="connsiteY8" fmla="*/ 0 h 1395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96314" h="1395700">
                <a:moveTo>
                  <a:pt x="139454" y="0"/>
                </a:moveTo>
                <a:lnTo>
                  <a:pt x="1056860" y="0"/>
                </a:lnTo>
                <a:cubicBezTo>
                  <a:pt x="1133878" y="0"/>
                  <a:pt x="1196314" y="62435"/>
                  <a:pt x="1196314" y="139454"/>
                </a:cubicBezTo>
                <a:lnTo>
                  <a:pt x="1196314" y="1256246"/>
                </a:lnTo>
                <a:cubicBezTo>
                  <a:pt x="1196314" y="1333265"/>
                  <a:pt x="1133878" y="1395700"/>
                  <a:pt x="1056860" y="1395700"/>
                </a:cubicBezTo>
                <a:lnTo>
                  <a:pt x="139454" y="1395700"/>
                </a:lnTo>
                <a:cubicBezTo>
                  <a:pt x="62436" y="1395700"/>
                  <a:pt x="0" y="1333265"/>
                  <a:pt x="0" y="1256246"/>
                </a:cubicBezTo>
                <a:lnTo>
                  <a:pt x="0" y="139454"/>
                </a:lnTo>
                <a:cubicBezTo>
                  <a:pt x="0" y="62435"/>
                  <a:pt x="62436" y="0"/>
                  <a:pt x="139454" y="0"/>
                </a:cubicBezTo>
                <a:close/>
              </a:path>
            </a:pathLst>
          </a:custGeom>
          <a:solidFill>
            <a:schemeClr val="bg1"/>
          </a:solidFill>
          <a:effectLst/>
        </p:spPr>
        <p:txBody>
          <a:bodyPr wrap="square" anchor="ctr">
            <a:noAutofit/>
          </a:bodyPr>
          <a:lstStyle>
            <a:lvl1pPr marL="0" indent="0" algn="ctr">
              <a:buNone/>
              <a:defRPr sz="1335" spc="400">
                <a:latin typeface="Bebas Neue Book" panose="00000500000000000000" pitchFamily="2" charset="0"/>
              </a:defRPr>
            </a:lvl1pPr>
          </a:lstStyle>
          <a:p>
            <a:r>
              <a:rPr lang="en-US"/>
              <a:t>Drag and Drop</a:t>
            </a:r>
          </a:p>
        </p:txBody>
      </p:sp>
    </p:spTree>
  </p:cSld>
  <p:clrMapOvr>
    <a:masterClrMapping/>
  </p:clrMapOvr>
  <p:transition/>
  <p:hf sldNum="0" ftr="0" dt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00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Прямоугольник 7"/>
          <p:cNvSpPr/>
          <p:nvPr userDrawn="1"/>
        </p:nvSpPr>
        <p:spPr>
          <a:xfrm>
            <a:off x="8838632" y="2117"/>
            <a:ext cx="3353368" cy="6857999"/>
          </a:xfrm>
          <a:prstGeom prst="rect">
            <a:avLst/>
          </a:prstGeom>
          <a:solidFill>
            <a:schemeClr val="tx1">
              <a:alpha val="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cs typeface="思源黑体 CN Regular" panose="020B0500000000000000" charset="-122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400">
        <p14:doors dir="vert"/>
      </p:transition>
    </mc:Choice>
    <mc:Fallback xmlns:p159="http://schemas.microsoft.com/office/powerpoint/2015/09/main" xmlns:p15="http://schemas.microsoft.com/office/powerpoint/2012/main" xmlns:a14="http://schemas.microsoft.com/office/drawing/2010/main" xmlns:wp="http://schemas.openxmlformats.org/drawingml/2006/wordprocessingDrawing" xmlns:w="http://schemas.openxmlformats.org/wordprocessingml/2006/main" xmlns:m="http://schemas.openxmlformats.org/officeDocument/2006/math" xmlns="">
      <p:transition spd="slow">
        <p:fade/>
      </p:transition>
    </mc:Fallback>
  </mc:AlternateContent>
  <p:hf sldNum="0" ftr="0" dt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01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 userDrawn="1"/>
        </p:nvSpPr>
        <p:spPr>
          <a:xfrm>
            <a:off x="8496300" y="2286000"/>
            <a:ext cx="3695700" cy="2286000"/>
          </a:xfrm>
          <a:prstGeom prst="rect">
            <a:avLst/>
          </a:prstGeom>
          <a:solidFill>
            <a:schemeClr val="tx1">
              <a:alpha val="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cs typeface="思源黑体 CN Regular" panose="020B0500000000000000" charset="-122"/>
            </a:endParaRPr>
          </a:p>
        </p:txBody>
      </p:sp>
      <p:sp>
        <p:nvSpPr>
          <p:cNvPr id="60" name="Рисунок 4"/>
          <p:cNvSpPr>
            <a:spLocks noGrp="1"/>
          </p:cNvSpPr>
          <p:nvPr>
            <p:ph type="pic" sz="quarter" idx="86"/>
          </p:nvPr>
        </p:nvSpPr>
        <p:spPr>
          <a:xfrm>
            <a:off x="6096000" y="1"/>
            <a:ext cx="2400300" cy="2300288"/>
          </a:xfrm>
          <a:solidFill>
            <a:schemeClr val="bg1"/>
          </a:solidFill>
        </p:spPr>
        <p:txBody>
          <a:bodyPr anchor="ctr" anchorCtr="0">
            <a:normAutofit/>
          </a:bodyPr>
          <a:lstStyle>
            <a:lvl1pPr algn="ctr">
              <a:defRPr sz="1000"/>
            </a:lvl1pPr>
          </a:lstStyle>
          <a:p>
            <a:endParaRPr lang="en-US"/>
          </a:p>
        </p:txBody>
      </p:sp>
      <p:sp>
        <p:nvSpPr>
          <p:cNvPr id="61" name="Рисунок 4"/>
          <p:cNvSpPr>
            <a:spLocks noGrp="1"/>
          </p:cNvSpPr>
          <p:nvPr>
            <p:ph type="pic" sz="quarter" idx="87"/>
          </p:nvPr>
        </p:nvSpPr>
        <p:spPr>
          <a:xfrm>
            <a:off x="6096000" y="2286001"/>
            <a:ext cx="2400299" cy="2286000"/>
          </a:xfrm>
          <a:noFill/>
        </p:spPr>
        <p:txBody>
          <a:bodyPr anchor="ctr" anchorCtr="0">
            <a:normAutofit/>
          </a:bodyPr>
          <a:lstStyle>
            <a:lvl1pPr algn="ctr">
              <a:defRPr sz="1000"/>
            </a:lvl1pPr>
          </a:lstStyle>
          <a:p>
            <a:endParaRPr lang="en-US"/>
          </a:p>
        </p:txBody>
      </p:sp>
      <p:sp>
        <p:nvSpPr>
          <p:cNvPr id="62" name="Рисунок 4"/>
          <p:cNvSpPr>
            <a:spLocks noGrp="1"/>
          </p:cNvSpPr>
          <p:nvPr>
            <p:ph type="pic" sz="quarter" idx="88"/>
          </p:nvPr>
        </p:nvSpPr>
        <p:spPr>
          <a:xfrm>
            <a:off x="6096000" y="4572000"/>
            <a:ext cx="2400300" cy="2286000"/>
          </a:xfrm>
          <a:noFill/>
        </p:spPr>
        <p:txBody>
          <a:bodyPr anchor="ctr" anchorCtr="0">
            <a:normAutofit/>
          </a:bodyPr>
          <a:lstStyle>
            <a:lvl1pPr algn="ctr">
              <a:defRPr sz="1000"/>
            </a:lvl1pPr>
          </a:lstStyle>
          <a:p>
            <a:endParaRPr lang="en-US"/>
          </a:p>
        </p:txBody>
      </p:sp>
    </p:spTree>
  </p:cSld>
  <p:clrMapOvr>
    <a:masterClrMapping/>
  </p:clrMapOvr>
  <p:transition spd="slow">
    <p:comb dir="vert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dur="500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6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6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dur="500" decel="10000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6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6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4" dur="500" decel="10000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4" dur="500" decel="100000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6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6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60" grpId="0" bldLvl="0" animBg="1"/>
      <p:bldP spid="61" grpId="0"/>
      <p:bldP spid="62" grpId="0"/>
    </p:bldLst>
  </p:timing>
  <p:hf sldNum="0" ftr="0" dt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08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Прямоугольник 17"/>
          <p:cNvSpPr/>
          <p:nvPr userDrawn="1"/>
        </p:nvSpPr>
        <p:spPr>
          <a:xfrm>
            <a:off x="8838632" y="2117"/>
            <a:ext cx="3353368" cy="6857999"/>
          </a:xfrm>
          <a:prstGeom prst="rect">
            <a:avLst/>
          </a:prstGeom>
          <a:solidFill>
            <a:schemeClr val="tx1">
              <a:alpha val="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cs typeface="思源黑体 CN Regular" panose="020B0500000000000000" charset="-122"/>
            </a:endParaRPr>
          </a:p>
        </p:txBody>
      </p:sp>
      <p:grpSp>
        <p:nvGrpSpPr>
          <p:cNvPr id="2" name="Группа 1"/>
          <p:cNvGrpSpPr/>
          <p:nvPr userDrawn="1"/>
        </p:nvGrpSpPr>
        <p:grpSpPr>
          <a:xfrm>
            <a:off x="5250038" y="856779"/>
            <a:ext cx="9773239" cy="5561188"/>
            <a:chOff x="4703929" y="717077"/>
            <a:chExt cx="9773238" cy="5561188"/>
          </a:xfrm>
        </p:grpSpPr>
        <p:sp>
          <p:nvSpPr>
            <p:cNvPr id="35" name="Полилиния 34"/>
            <p:cNvSpPr/>
            <p:nvPr userDrawn="1"/>
          </p:nvSpPr>
          <p:spPr>
            <a:xfrm>
              <a:off x="5555970" y="717077"/>
              <a:ext cx="7984744" cy="5414294"/>
            </a:xfrm>
            <a:custGeom>
              <a:avLst/>
              <a:gdLst>
                <a:gd name="connsiteX0" fmla="*/ 593737 w 15796902"/>
                <a:gd name="connsiteY0" fmla="*/ 0 h 10799762"/>
                <a:gd name="connsiteX1" fmla="*/ 2968613 w 15796902"/>
                <a:gd name="connsiteY1" fmla="*/ 0 h 10799762"/>
                <a:gd name="connsiteX2" fmla="*/ 2968615 w 15796902"/>
                <a:gd name="connsiteY2" fmla="*/ 0 h 10799762"/>
                <a:gd name="connsiteX3" fmla="*/ 12828290 w 15796902"/>
                <a:gd name="connsiteY3" fmla="*/ 0 h 10799762"/>
                <a:gd name="connsiteX4" fmla="*/ 14287500 w 15796902"/>
                <a:gd name="connsiteY4" fmla="*/ 0 h 10799762"/>
                <a:gd name="connsiteX5" fmla="*/ 15203166 w 15796902"/>
                <a:gd name="connsiteY5" fmla="*/ 0 h 10799762"/>
                <a:gd name="connsiteX6" fmla="*/ 15796902 w 15796902"/>
                <a:gd name="connsiteY6" fmla="*/ 593737 h 10799762"/>
                <a:gd name="connsiteX7" fmla="*/ 15796902 w 15796902"/>
                <a:gd name="connsiteY7" fmla="*/ 5080012 h 10799762"/>
                <a:gd name="connsiteX8" fmla="*/ 15796902 w 15796902"/>
                <a:gd name="connsiteY8" fmla="*/ 5719750 h 10799762"/>
                <a:gd name="connsiteX9" fmla="*/ 15796902 w 15796902"/>
                <a:gd name="connsiteY9" fmla="*/ 10206025 h 10799762"/>
                <a:gd name="connsiteX10" fmla="*/ 15203166 w 15796902"/>
                <a:gd name="connsiteY10" fmla="*/ 10799762 h 10799762"/>
                <a:gd name="connsiteX11" fmla="*/ 14287500 w 15796902"/>
                <a:gd name="connsiteY11" fmla="*/ 10799762 h 10799762"/>
                <a:gd name="connsiteX12" fmla="*/ 12828290 w 15796902"/>
                <a:gd name="connsiteY12" fmla="*/ 10799762 h 10799762"/>
                <a:gd name="connsiteX13" fmla="*/ 2968613 w 15796902"/>
                <a:gd name="connsiteY13" fmla="*/ 10799762 h 10799762"/>
                <a:gd name="connsiteX14" fmla="*/ 1781175 w 15796902"/>
                <a:gd name="connsiteY14" fmla="*/ 10799762 h 10799762"/>
                <a:gd name="connsiteX15" fmla="*/ 593737 w 15796902"/>
                <a:gd name="connsiteY15" fmla="*/ 10799762 h 10799762"/>
                <a:gd name="connsiteX16" fmla="*/ 0 w 15796902"/>
                <a:gd name="connsiteY16" fmla="*/ 10206025 h 10799762"/>
                <a:gd name="connsiteX17" fmla="*/ 0 w 15796902"/>
                <a:gd name="connsiteY17" fmla="*/ 5719750 h 10799762"/>
                <a:gd name="connsiteX18" fmla="*/ 0 w 15796902"/>
                <a:gd name="connsiteY18" fmla="*/ 5080012 h 10799762"/>
                <a:gd name="connsiteX19" fmla="*/ 0 w 15796902"/>
                <a:gd name="connsiteY19" fmla="*/ 593737 h 10799762"/>
                <a:gd name="connsiteX20" fmla="*/ 593737 w 15796902"/>
                <a:gd name="connsiteY20" fmla="*/ 0 h 107997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5796902" h="10799762">
                  <a:moveTo>
                    <a:pt x="593737" y="0"/>
                  </a:moveTo>
                  <a:lnTo>
                    <a:pt x="2968613" y="0"/>
                  </a:lnTo>
                  <a:lnTo>
                    <a:pt x="2968615" y="0"/>
                  </a:lnTo>
                  <a:lnTo>
                    <a:pt x="12828290" y="0"/>
                  </a:lnTo>
                  <a:lnTo>
                    <a:pt x="14287500" y="0"/>
                  </a:lnTo>
                  <a:lnTo>
                    <a:pt x="15203166" y="0"/>
                  </a:lnTo>
                  <a:cubicBezTo>
                    <a:pt x="15531078" y="0"/>
                    <a:pt x="15796902" y="265825"/>
                    <a:pt x="15796902" y="593737"/>
                  </a:cubicBezTo>
                  <a:lnTo>
                    <a:pt x="15796902" y="5080012"/>
                  </a:lnTo>
                  <a:lnTo>
                    <a:pt x="15796902" y="5719750"/>
                  </a:lnTo>
                  <a:lnTo>
                    <a:pt x="15796902" y="10206025"/>
                  </a:lnTo>
                  <a:cubicBezTo>
                    <a:pt x="15796902" y="10533937"/>
                    <a:pt x="15531078" y="10799762"/>
                    <a:pt x="15203166" y="10799762"/>
                  </a:cubicBezTo>
                  <a:lnTo>
                    <a:pt x="14287500" y="10799762"/>
                  </a:lnTo>
                  <a:lnTo>
                    <a:pt x="12828290" y="10799762"/>
                  </a:lnTo>
                  <a:lnTo>
                    <a:pt x="2968613" y="10799762"/>
                  </a:lnTo>
                  <a:lnTo>
                    <a:pt x="1781175" y="10799762"/>
                  </a:lnTo>
                  <a:lnTo>
                    <a:pt x="593737" y="10799762"/>
                  </a:lnTo>
                  <a:cubicBezTo>
                    <a:pt x="265825" y="10799762"/>
                    <a:pt x="0" y="10533937"/>
                    <a:pt x="0" y="10206025"/>
                  </a:cubicBezTo>
                  <a:lnTo>
                    <a:pt x="0" y="5719750"/>
                  </a:lnTo>
                  <a:lnTo>
                    <a:pt x="0" y="5080012"/>
                  </a:lnTo>
                  <a:lnTo>
                    <a:pt x="0" y="593737"/>
                  </a:lnTo>
                  <a:cubicBezTo>
                    <a:pt x="0" y="265825"/>
                    <a:pt x="265825" y="0"/>
                    <a:pt x="593737" y="0"/>
                  </a:cubicBezTo>
                  <a:close/>
                </a:path>
              </a:pathLst>
            </a:custGeom>
            <a:solidFill>
              <a:srgbClr val="38383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905">
                <a:cs typeface="思源黑体 CN Regular" panose="020B0500000000000000" charset="-122"/>
              </a:endParaRPr>
            </a:p>
          </p:txBody>
        </p:sp>
        <p:sp>
          <p:nvSpPr>
            <p:cNvPr id="37" name="Полилиния 36"/>
            <p:cNvSpPr/>
            <p:nvPr userDrawn="1"/>
          </p:nvSpPr>
          <p:spPr>
            <a:xfrm>
              <a:off x="4703929" y="6202089"/>
              <a:ext cx="9773238" cy="76176"/>
            </a:xfrm>
            <a:custGeom>
              <a:avLst/>
              <a:gdLst>
                <a:gd name="connsiteX0" fmla="*/ 0 w 19335232"/>
                <a:gd name="connsiteY0" fmla="*/ 0 h 333694"/>
                <a:gd name="connsiteX1" fmla="*/ 19335232 w 19335232"/>
                <a:gd name="connsiteY1" fmla="*/ 0 h 333694"/>
                <a:gd name="connsiteX2" fmla="*/ 19322694 w 19335232"/>
                <a:gd name="connsiteY2" fmla="*/ 40390 h 333694"/>
                <a:gd name="connsiteX3" fmla="*/ 18880202 w 19335232"/>
                <a:gd name="connsiteY3" fmla="*/ 333694 h 333694"/>
                <a:gd name="connsiteX4" fmla="*/ 455030 w 19335232"/>
                <a:gd name="connsiteY4" fmla="*/ 333694 h 333694"/>
                <a:gd name="connsiteX5" fmla="*/ 12538 w 19335232"/>
                <a:gd name="connsiteY5" fmla="*/ 40390 h 3336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9335232" h="333694">
                  <a:moveTo>
                    <a:pt x="0" y="0"/>
                  </a:moveTo>
                  <a:lnTo>
                    <a:pt x="19335232" y="0"/>
                  </a:lnTo>
                  <a:lnTo>
                    <a:pt x="19322694" y="40390"/>
                  </a:lnTo>
                  <a:cubicBezTo>
                    <a:pt x="19249792" y="212753"/>
                    <a:pt x="19079120" y="333694"/>
                    <a:pt x="18880202" y="333694"/>
                  </a:cubicBezTo>
                  <a:lnTo>
                    <a:pt x="455030" y="333694"/>
                  </a:lnTo>
                  <a:cubicBezTo>
                    <a:pt x="256112" y="333694"/>
                    <a:pt x="85441" y="212753"/>
                    <a:pt x="12538" y="40390"/>
                  </a:cubicBezTo>
                  <a:close/>
                </a:path>
              </a:pathLst>
            </a:custGeom>
            <a:gradFill flip="none" rotWithShape="1">
              <a:gsLst>
                <a:gs pos="89000">
                  <a:srgbClr val="828282"/>
                </a:gs>
                <a:gs pos="0">
                  <a:srgbClr val="C5C5C5"/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905">
                <a:cs typeface="思源黑体 CN Regular" panose="020B0500000000000000" charset="-122"/>
              </a:endParaRPr>
            </a:p>
          </p:txBody>
        </p:sp>
        <p:sp>
          <p:nvSpPr>
            <p:cNvPr id="7" name="Прямоугольник 6"/>
            <p:cNvSpPr/>
            <p:nvPr userDrawn="1"/>
          </p:nvSpPr>
          <p:spPr>
            <a:xfrm>
              <a:off x="4703929" y="6015623"/>
              <a:ext cx="9773238" cy="186467"/>
            </a:xfrm>
            <a:prstGeom prst="rect">
              <a:avLst/>
            </a:prstGeom>
            <a:gradFill flip="none" rotWithShape="1">
              <a:gsLst>
                <a:gs pos="2000">
                  <a:srgbClr val="D5D5D5"/>
                </a:gs>
                <a:gs pos="1000">
                  <a:srgbClr val="F2F2F2"/>
                </a:gs>
                <a:gs pos="0">
                  <a:schemeClr val="tx1">
                    <a:alpha val="50000"/>
                  </a:schemeClr>
                </a:gs>
              </a:gsLst>
              <a:lin ang="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905">
                <a:cs typeface="思源黑体 CN Regular" panose="020B0500000000000000" charset="-122"/>
              </a:endParaRPr>
            </a:p>
          </p:txBody>
        </p:sp>
        <p:sp>
          <p:nvSpPr>
            <p:cNvPr id="38" name="Полилиния 37"/>
            <p:cNvSpPr/>
            <p:nvPr userDrawn="1"/>
          </p:nvSpPr>
          <p:spPr>
            <a:xfrm>
              <a:off x="8891012" y="6018701"/>
              <a:ext cx="1351391" cy="106495"/>
            </a:xfrm>
            <a:custGeom>
              <a:avLst/>
              <a:gdLst>
                <a:gd name="connsiteX0" fmla="*/ 0 w 2673572"/>
                <a:gd name="connsiteY0" fmla="*/ 0 h 212424"/>
                <a:gd name="connsiteX1" fmla="*/ 2673572 w 2673572"/>
                <a:gd name="connsiteY1" fmla="*/ 0 h 212424"/>
                <a:gd name="connsiteX2" fmla="*/ 2662629 w 2673572"/>
                <a:gd name="connsiteY2" fmla="*/ 54207 h 212424"/>
                <a:gd name="connsiteX3" fmla="*/ 2423935 w 2673572"/>
                <a:gd name="connsiteY3" fmla="*/ 212424 h 212424"/>
                <a:gd name="connsiteX4" fmla="*/ 249637 w 2673572"/>
                <a:gd name="connsiteY4" fmla="*/ 212424 h 212424"/>
                <a:gd name="connsiteX5" fmla="*/ 10944 w 2673572"/>
                <a:gd name="connsiteY5" fmla="*/ 54207 h 2124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673572" h="212424">
                  <a:moveTo>
                    <a:pt x="0" y="0"/>
                  </a:moveTo>
                  <a:lnTo>
                    <a:pt x="2673572" y="0"/>
                  </a:lnTo>
                  <a:lnTo>
                    <a:pt x="2662629" y="54207"/>
                  </a:lnTo>
                  <a:cubicBezTo>
                    <a:pt x="2623302" y="147185"/>
                    <a:pt x="2531237" y="212424"/>
                    <a:pt x="2423935" y="212424"/>
                  </a:cubicBezTo>
                  <a:lnTo>
                    <a:pt x="249637" y="212424"/>
                  </a:lnTo>
                  <a:cubicBezTo>
                    <a:pt x="142335" y="212424"/>
                    <a:pt x="50270" y="147185"/>
                    <a:pt x="10944" y="54207"/>
                  </a:cubicBezTo>
                  <a:close/>
                </a:path>
              </a:pathLst>
            </a:custGeom>
            <a:gradFill>
              <a:gsLst>
                <a:gs pos="88000">
                  <a:srgbClr val="F2F2F2"/>
                </a:gs>
                <a:gs pos="12000">
                  <a:srgbClr val="F2F2F2"/>
                </a:gs>
                <a:gs pos="100000">
                  <a:srgbClr val="828282"/>
                </a:gs>
                <a:gs pos="0">
                  <a:srgbClr val="828282"/>
                </a:gs>
              </a:gsLst>
              <a:lin ang="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905">
                <a:cs typeface="思源黑体 CN Regular" panose="020B0500000000000000" charset="-122"/>
              </a:endParaRPr>
            </a:p>
          </p:txBody>
        </p:sp>
        <p:grpSp>
          <p:nvGrpSpPr>
            <p:cNvPr id="27" name="Группа 26"/>
            <p:cNvGrpSpPr/>
            <p:nvPr userDrawn="1"/>
          </p:nvGrpSpPr>
          <p:grpSpPr>
            <a:xfrm flipH="1">
              <a:off x="9572513" y="890239"/>
              <a:ext cx="23483" cy="22921"/>
              <a:chOff x="13422299" y="954496"/>
              <a:chExt cx="127026" cy="125005"/>
            </a:xfrm>
          </p:grpSpPr>
          <p:sp>
            <p:nvSpPr>
              <p:cNvPr id="30" name="Овал 29"/>
              <p:cNvSpPr/>
              <p:nvPr userDrawn="1"/>
            </p:nvSpPr>
            <p:spPr>
              <a:xfrm>
                <a:off x="13422302" y="954496"/>
                <a:ext cx="127023" cy="125004"/>
              </a:xfrm>
              <a:prstGeom prst="ellipse">
                <a:avLst/>
              </a:prstGeom>
              <a:solidFill>
                <a:schemeClr val="bg1"/>
              </a:solidFill>
              <a:ln w="50800">
                <a:solidFill>
                  <a:schemeClr val="bg1">
                    <a:alpha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905">
                  <a:cs typeface="思源黑体 CN Regular" panose="020B0500000000000000" charset="-122"/>
                </a:endParaRPr>
              </a:p>
            </p:txBody>
          </p:sp>
          <p:sp>
            <p:nvSpPr>
              <p:cNvPr id="34" name="Овал 33"/>
              <p:cNvSpPr/>
              <p:nvPr userDrawn="1"/>
            </p:nvSpPr>
            <p:spPr>
              <a:xfrm>
                <a:off x="13422299" y="954497"/>
                <a:ext cx="127026" cy="125004"/>
              </a:xfrm>
              <a:prstGeom prst="ellipse">
                <a:avLst/>
              </a:prstGeom>
              <a:solidFill>
                <a:srgbClr val="002060"/>
              </a:solidFill>
              <a:ln w="762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905">
                  <a:cs typeface="思源黑体 CN Regular" panose="020B0500000000000000" charset="-122"/>
                </a:endParaRPr>
              </a:p>
            </p:txBody>
          </p:sp>
        </p:grpSp>
      </p:grpSp>
      <p:sp>
        <p:nvSpPr>
          <p:cNvPr id="36" name="Рисунок 13"/>
          <p:cNvSpPr>
            <a:spLocks noGrp="1"/>
          </p:cNvSpPr>
          <p:nvPr>
            <p:ph type="pic" sz="quarter" idx="39" hasCustomPrompt="1"/>
          </p:nvPr>
        </p:nvSpPr>
        <p:spPr>
          <a:xfrm>
            <a:off x="6359105" y="1222085"/>
            <a:ext cx="7475104" cy="4693237"/>
          </a:xfrm>
          <a:prstGeom prst="rect">
            <a:avLst/>
          </a:prstGeom>
          <a:noFill/>
          <a:ln w="3175">
            <a:noFill/>
          </a:ln>
        </p:spPr>
        <p:txBody>
          <a:bodyPr anchor="ctr"/>
          <a:lstStyle>
            <a:lvl1pPr marL="0" indent="0" algn="ctr">
              <a:buNone/>
              <a:defRPr sz="1005" baseline="0"/>
            </a:lvl1pPr>
          </a:lstStyle>
          <a:p>
            <a:r>
              <a:rPr lang="en-US"/>
              <a:t>PLACEHOLDER IMAGE</a:t>
            </a:r>
            <a:r>
              <a:rPr lang="ru-RU"/>
              <a:t> </a:t>
            </a:r>
            <a:endParaRPr lang="en-US"/>
          </a:p>
        </p:txBody>
      </p:sp>
    </p:spTree>
  </p:cSld>
  <p:clrMapOvr>
    <a:masterClrMapping/>
  </p:clrMapOvr>
  <p:transition spd="slow">
    <p:cover/>
  </p:transition>
  <p:hf sldNum="0" ftr="0" dt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09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" name="Line 11"/>
          <p:cNvSpPr>
            <a:spLocks noChangeShapeType="1"/>
          </p:cNvSpPr>
          <p:nvPr userDrawn="1"/>
        </p:nvSpPr>
        <p:spPr bwMode="auto">
          <a:xfrm flipH="1" flipV="1">
            <a:off x="1390660" y="2971799"/>
            <a:ext cx="0" cy="926086"/>
          </a:xfrm>
          <a:prstGeom prst="line">
            <a:avLst/>
          </a:prstGeom>
          <a:noFill/>
          <a:ln w="6350" cap="sq" cmpd="sng">
            <a:solidFill>
              <a:srgbClr val="DCDEE0"/>
            </a:solidFill>
            <a:prstDash val="solid"/>
            <a:round/>
            <a:head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 lIns="0" tIns="0" rIns="0" bIns="0" anchor="ctr"/>
          <a:lstStyle/>
          <a:p>
            <a:pPr defTabSz="171450">
              <a:defRPr/>
            </a:pPr>
            <a:endParaRPr lang="es-ES" sz="900">
              <a:solidFill>
                <a:srgbClr val="000000"/>
              </a:solidFill>
              <a:latin typeface="+mn-ea"/>
              <a:ea typeface="+mn-ea"/>
              <a:cs typeface="等线" panose="02010600030101010101" charset="-122"/>
              <a:sym typeface="等线" panose="02010600030101010101" charset="-122"/>
            </a:endParaRPr>
          </a:p>
        </p:txBody>
      </p:sp>
      <p:sp>
        <p:nvSpPr>
          <p:cNvPr id="68" name="Line 11"/>
          <p:cNvSpPr>
            <a:spLocks noChangeShapeType="1"/>
          </p:cNvSpPr>
          <p:nvPr userDrawn="1"/>
        </p:nvSpPr>
        <p:spPr bwMode="auto">
          <a:xfrm flipH="1" flipV="1">
            <a:off x="2969052" y="3886200"/>
            <a:ext cx="0" cy="914400"/>
          </a:xfrm>
          <a:prstGeom prst="line">
            <a:avLst/>
          </a:prstGeom>
          <a:noFill/>
          <a:ln w="6350" cap="sq" cmpd="sng">
            <a:solidFill>
              <a:srgbClr val="DCDEE0"/>
            </a:solidFill>
            <a:prstDash val="solid"/>
            <a:round/>
            <a:head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 lIns="0" tIns="0" rIns="0" bIns="0" anchor="ctr"/>
          <a:lstStyle/>
          <a:p>
            <a:pPr defTabSz="171450">
              <a:defRPr/>
            </a:pPr>
            <a:endParaRPr lang="es-ES" sz="500">
              <a:solidFill>
                <a:srgbClr val="000000"/>
              </a:solidFill>
              <a:latin typeface="等线" panose="02010600030101010101" charset="-122"/>
              <a:cs typeface="等线" panose="02010600030101010101" charset="-122"/>
              <a:sym typeface="等线" panose="02010600030101010101" charset="-122"/>
            </a:endParaRPr>
          </a:p>
        </p:txBody>
      </p:sp>
      <p:sp>
        <p:nvSpPr>
          <p:cNvPr id="70" name="Line 11"/>
          <p:cNvSpPr>
            <a:spLocks noChangeShapeType="1"/>
          </p:cNvSpPr>
          <p:nvPr userDrawn="1"/>
        </p:nvSpPr>
        <p:spPr bwMode="auto">
          <a:xfrm flipH="1" flipV="1">
            <a:off x="4549391" y="2985158"/>
            <a:ext cx="0" cy="912728"/>
          </a:xfrm>
          <a:prstGeom prst="line">
            <a:avLst/>
          </a:prstGeom>
          <a:noFill/>
          <a:ln w="6350" cap="sq" cmpd="sng">
            <a:solidFill>
              <a:srgbClr val="DCDEE0"/>
            </a:solidFill>
            <a:prstDash val="solid"/>
            <a:round/>
            <a:head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 lIns="0" tIns="0" rIns="0" bIns="0" anchor="ctr"/>
          <a:lstStyle/>
          <a:p>
            <a:pPr defTabSz="171450">
              <a:defRPr/>
            </a:pPr>
            <a:endParaRPr lang="es-ES" sz="900">
              <a:solidFill>
                <a:srgbClr val="000000"/>
              </a:solidFill>
              <a:latin typeface="+mn-ea"/>
              <a:ea typeface="+mn-ea"/>
              <a:cs typeface="等线" panose="02010600030101010101" charset="-122"/>
              <a:sym typeface="等线" panose="02010600030101010101" charset="-122"/>
            </a:endParaRPr>
          </a:p>
        </p:txBody>
      </p:sp>
      <p:sp>
        <p:nvSpPr>
          <p:cNvPr id="72" name="Line 11"/>
          <p:cNvSpPr>
            <a:spLocks noChangeShapeType="1"/>
          </p:cNvSpPr>
          <p:nvPr userDrawn="1"/>
        </p:nvSpPr>
        <p:spPr bwMode="auto">
          <a:xfrm flipH="1" flipV="1">
            <a:off x="6095415" y="2081534"/>
            <a:ext cx="0" cy="890266"/>
          </a:xfrm>
          <a:prstGeom prst="line">
            <a:avLst/>
          </a:prstGeom>
          <a:noFill/>
          <a:ln w="6350" cap="sq" cmpd="sng">
            <a:solidFill>
              <a:srgbClr val="DCDEE0"/>
            </a:solidFill>
            <a:prstDash val="solid"/>
            <a:round/>
            <a:head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 lIns="0" tIns="0" rIns="0" bIns="0" anchor="ctr"/>
          <a:lstStyle/>
          <a:p>
            <a:pPr defTabSz="171450">
              <a:defRPr/>
            </a:pPr>
            <a:endParaRPr lang="es-ES" sz="900">
              <a:solidFill>
                <a:srgbClr val="000000"/>
              </a:solidFill>
              <a:latin typeface="+mn-ea"/>
              <a:ea typeface="+mn-ea"/>
              <a:cs typeface="等线" panose="02010600030101010101" charset="-122"/>
              <a:sym typeface="等线" panose="02010600030101010101" charset="-122"/>
            </a:endParaRPr>
          </a:p>
        </p:txBody>
      </p:sp>
      <p:sp>
        <p:nvSpPr>
          <p:cNvPr id="74" name="Line 11"/>
          <p:cNvSpPr>
            <a:spLocks noChangeShapeType="1"/>
          </p:cNvSpPr>
          <p:nvPr userDrawn="1"/>
        </p:nvSpPr>
        <p:spPr bwMode="auto">
          <a:xfrm flipH="1" flipV="1">
            <a:off x="7663284" y="3005662"/>
            <a:ext cx="0" cy="880538"/>
          </a:xfrm>
          <a:prstGeom prst="line">
            <a:avLst/>
          </a:prstGeom>
          <a:noFill/>
          <a:ln w="6350" cap="sq" cmpd="sng">
            <a:solidFill>
              <a:srgbClr val="DCDEE0"/>
            </a:solidFill>
            <a:prstDash val="solid"/>
            <a:round/>
            <a:head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 lIns="0" tIns="0" rIns="0" bIns="0" anchor="ctr"/>
          <a:lstStyle/>
          <a:p>
            <a:pPr defTabSz="171450">
              <a:defRPr/>
            </a:pPr>
            <a:endParaRPr lang="es-ES" sz="900">
              <a:solidFill>
                <a:srgbClr val="000000"/>
              </a:solidFill>
              <a:latin typeface="+mn-ea"/>
              <a:ea typeface="+mn-ea"/>
              <a:cs typeface="等线" panose="02010600030101010101" charset="-122"/>
              <a:sym typeface="等线" panose="02010600030101010101" charset="-122"/>
            </a:endParaRPr>
          </a:p>
        </p:txBody>
      </p:sp>
      <p:sp>
        <p:nvSpPr>
          <p:cNvPr id="76" name="Line 11"/>
          <p:cNvSpPr>
            <a:spLocks noChangeShapeType="1"/>
          </p:cNvSpPr>
          <p:nvPr userDrawn="1"/>
        </p:nvSpPr>
        <p:spPr bwMode="auto">
          <a:xfrm flipH="1" flipV="1">
            <a:off x="9216459" y="2097415"/>
            <a:ext cx="0" cy="874390"/>
          </a:xfrm>
          <a:prstGeom prst="line">
            <a:avLst/>
          </a:prstGeom>
          <a:noFill/>
          <a:ln w="6350" cap="sq" cmpd="sng">
            <a:solidFill>
              <a:srgbClr val="DCDEE0"/>
            </a:solidFill>
            <a:prstDash val="solid"/>
            <a:round/>
            <a:head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 lIns="0" tIns="0" rIns="0" bIns="0" anchor="ctr"/>
          <a:lstStyle/>
          <a:p>
            <a:pPr defTabSz="171450">
              <a:defRPr/>
            </a:pPr>
            <a:endParaRPr lang="es-ES" sz="900">
              <a:solidFill>
                <a:srgbClr val="000000"/>
              </a:solidFill>
              <a:latin typeface="+mn-ea"/>
              <a:ea typeface="+mn-ea"/>
              <a:cs typeface="等线" panose="02010600030101010101" charset="-122"/>
              <a:sym typeface="等线" panose="02010600030101010101" charset="-122"/>
            </a:endParaRPr>
          </a:p>
        </p:txBody>
      </p:sp>
      <p:sp>
        <p:nvSpPr>
          <p:cNvPr id="42" name="Freeform 5"/>
          <p:cNvSpPr/>
          <p:nvPr/>
        </p:nvSpPr>
        <p:spPr bwMode="auto">
          <a:xfrm>
            <a:off x="8980612" y="936173"/>
            <a:ext cx="2077924" cy="1415080"/>
          </a:xfrm>
          <a:custGeom>
            <a:avLst/>
            <a:gdLst>
              <a:gd name="T0" fmla="*/ 12630 w 15298"/>
              <a:gd name="T1" fmla="*/ 444 h 10413"/>
              <a:gd name="T2" fmla="*/ 1033 w 15298"/>
              <a:gd name="T3" fmla="*/ 7139 h 10413"/>
              <a:gd name="T4" fmla="*/ 443 w 15298"/>
              <a:gd name="T5" fmla="*/ 9341 h 10413"/>
              <a:gd name="T6" fmla="*/ 466 w 15298"/>
              <a:gd name="T7" fmla="*/ 9380 h 10413"/>
              <a:gd name="T8" fmla="*/ 2668 w 15298"/>
              <a:gd name="T9" fmla="*/ 9970 h 10413"/>
              <a:gd name="T10" fmla="*/ 14264 w 15298"/>
              <a:gd name="T11" fmla="*/ 3275 h 10413"/>
              <a:gd name="T12" fmla="*/ 14854 w 15298"/>
              <a:gd name="T13" fmla="*/ 1073 h 10413"/>
              <a:gd name="T14" fmla="*/ 14832 w 15298"/>
              <a:gd name="T15" fmla="*/ 1034 h 10413"/>
              <a:gd name="T16" fmla="*/ 12630 w 15298"/>
              <a:gd name="T17" fmla="*/ 444 h 104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15298" h="10413">
                <a:moveTo>
                  <a:pt x="12630" y="444"/>
                </a:moveTo>
                <a:lnTo>
                  <a:pt x="1033" y="7139"/>
                </a:lnTo>
                <a:cubicBezTo>
                  <a:pt x="266" y="7582"/>
                  <a:pt x="0" y="8573"/>
                  <a:pt x="443" y="9341"/>
                </a:cubicBezTo>
                <a:lnTo>
                  <a:pt x="466" y="9380"/>
                </a:lnTo>
                <a:cubicBezTo>
                  <a:pt x="909" y="10148"/>
                  <a:pt x="1900" y="10413"/>
                  <a:pt x="2668" y="9970"/>
                </a:cubicBezTo>
                <a:lnTo>
                  <a:pt x="14264" y="3275"/>
                </a:lnTo>
                <a:cubicBezTo>
                  <a:pt x="15032" y="2832"/>
                  <a:pt x="15298" y="1841"/>
                  <a:pt x="14854" y="1073"/>
                </a:cubicBezTo>
                <a:lnTo>
                  <a:pt x="14832" y="1034"/>
                </a:lnTo>
                <a:cubicBezTo>
                  <a:pt x="14389" y="266"/>
                  <a:pt x="13398" y="0"/>
                  <a:pt x="12630" y="444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en-US" sz="1800">
              <a:cs typeface="思源黑体 CN Regular" panose="020B0500000000000000" charset="-122"/>
            </a:endParaRPr>
          </a:p>
        </p:txBody>
      </p:sp>
      <p:sp>
        <p:nvSpPr>
          <p:cNvPr id="43" name="Freeform 6"/>
          <p:cNvSpPr/>
          <p:nvPr/>
        </p:nvSpPr>
        <p:spPr bwMode="auto">
          <a:xfrm>
            <a:off x="4275573" y="1843577"/>
            <a:ext cx="2076239" cy="1415080"/>
          </a:xfrm>
          <a:custGeom>
            <a:avLst/>
            <a:gdLst>
              <a:gd name="T0" fmla="*/ 12630 w 15298"/>
              <a:gd name="T1" fmla="*/ 443 h 10413"/>
              <a:gd name="T2" fmla="*/ 1033 w 15298"/>
              <a:gd name="T3" fmla="*/ 7138 h 10413"/>
              <a:gd name="T4" fmla="*/ 443 w 15298"/>
              <a:gd name="T5" fmla="*/ 9341 h 10413"/>
              <a:gd name="T6" fmla="*/ 466 w 15298"/>
              <a:gd name="T7" fmla="*/ 9379 h 10413"/>
              <a:gd name="T8" fmla="*/ 2668 w 15298"/>
              <a:gd name="T9" fmla="*/ 9970 h 10413"/>
              <a:gd name="T10" fmla="*/ 14264 w 15298"/>
              <a:gd name="T11" fmla="*/ 3275 h 10413"/>
              <a:gd name="T12" fmla="*/ 14854 w 15298"/>
              <a:gd name="T13" fmla="*/ 1072 h 10413"/>
              <a:gd name="T14" fmla="*/ 14832 w 15298"/>
              <a:gd name="T15" fmla="*/ 1033 h 10413"/>
              <a:gd name="T16" fmla="*/ 12630 w 15298"/>
              <a:gd name="T17" fmla="*/ 443 h 104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15298" h="10413">
                <a:moveTo>
                  <a:pt x="12630" y="443"/>
                </a:moveTo>
                <a:lnTo>
                  <a:pt x="1033" y="7138"/>
                </a:lnTo>
                <a:cubicBezTo>
                  <a:pt x="266" y="7582"/>
                  <a:pt x="0" y="8573"/>
                  <a:pt x="443" y="9341"/>
                </a:cubicBezTo>
                <a:lnTo>
                  <a:pt x="466" y="9379"/>
                </a:lnTo>
                <a:cubicBezTo>
                  <a:pt x="909" y="10147"/>
                  <a:pt x="1900" y="10413"/>
                  <a:pt x="2668" y="9970"/>
                </a:cubicBezTo>
                <a:lnTo>
                  <a:pt x="14264" y="3275"/>
                </a:lnTo>
                <a:cubicBezTo>
                  <a:pt x="15032" y="2831"/>
                  <a:pt x="15298" y="1840"/>
                  <a:pt x="14854" y="1072"/>
                </a:cubicBezTo>
                <a:lnTo>
                  <a:pt x="14832" y="1033"/>
                </a:lnTo>
                <a:cubicBezTo>
                  <a:pt x="14389" y="266"/>
                  <a:pt x="13398" y="0"/>
                  <a:pt x="12630" y="443"/>
                </a:cubicBezTo>
                <a:close/>
              </a:path>
            </a:pathLst>
          </a:custGeom>
          <a:solidFill>
            <a:schemeClr val="tx1">
              <a:alpha val="7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en-US" sz="900">
              <a:latin typeface="+mn-ea"/>
              <a:ea typeface="+mn-ea"/>
              <a:cs typeface="思源黑体 CN Regular" panose="020B0500000000000000" charset="-122"/>
            </a:endParaRPr>
          </a:p>
        </p:txBody>
      </p:sp>
      <p:sp>
        <p:nvSpPr>
          <p:cNvPr id="44" name="Freeform 7"/>
          <p:cNvSpPr/>
          <p:nvPr/>
        </p:nvSpPr>
        <p:spPr bwMode="auto">
          <a:xfrm>
            <a:off x="1152534" y="2732432"/>
            <a:ext cx="2076239" cy="1416767"/>
          </a:xfrm>
          <a:custGeom>
            <a:avLst/>
            <a:gdLst>
              <a:gd name="T0" fmla="*/ 2668 w 15298"/>
              <a:gd name="T1" fmla="*/ 443 h 10413"/>
              <a:gd name="T2" fmla="*/ 14265 w 15298"/>
              <a:gd name="T3" fmla="*/ 7138 h 10413"/>
              <a:gd name="T4" fmla="*/ 14855 w 15298"/>
              <a:gd name="T5" fmla="*/ 9340 h 10413"/>
              <a:gd name="T6" fmla="*/ 14832 w 15298"/>
              <a:gd name="T7" fmla="*/ 9379 h 10413"/>
              <a:gd name="T8" fmla="*/ 12630 w 15298"/>
              <a:gd name="T9" fmla="*/ 9969 h 10413"/>
              <a:gd name="T10" fmla="*/ 1034 w 15298"/>
              <a:gd name="T11" fmla="*/ 3274 h 10413"/>
              <a:gd name="T12" fmla="*/ 444 w 15298"/>
              <a:gd name="T13" fmla="*/ 1072 h 10413"/>
              <a:gd name="T14" fmla="*/ 466 w 15298"/>
              <a:gd name="T15" fmla="*/ 1033 h 10413"/>
              <a:gd name="T16" fmla="*/ 2668 w 15298"/>
              <a:gd name="T17" fmla="*/ 443 h 104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15298" h="10413">
                <a:moveTo>
                  <a:pt x="2668" y="443"/>
                </a:moveTo>
                <a:lnTo>
                  <a:pt x="14265" y="7138"/>
                </a:lnTo>
                <a:cubicBezTo>
                  <a:pt x="15032" y="7581"/>
                  <a:pt x="15298" y="8572"/>
                  <a:pt x="14855" y="9340"/>
                </a:cubicBezTo>
                <a:lnTo>
                  <a:pt x="14832" y="9379"/>
                </a:lnTo>
                <a:cubicBezTo>
                  <a:pt x="14389" y="10147"/>
                  <a:pt x="13398" y="10413"/>
                  <a:pt x="12630" y="9969"/>
                </a:cubicBezTo>
                <a:lnTo>
                  <a:pt x="1034" y="3274"/>
                </a:lnTo>
                <a:cubicBezTo>
                  <a:pt x="266" y="2831"/>
                  <a:pt x="0" y="1840"/>
                  <a:pt x="444" y="1072"/>
                </a:cubicBezTo>
                <a:lnTo>
                  <a:pt x="466" y="1033"/>
                </a:lnTo>
                <a:cubicBezTo>
                  <a:pt x="910" y="265"/>
                  <a:pt x="1901" y="0"/>
                  <a:pt x="2668" y="443"/>
                </a:cubicBezTo>
                <a:close/>
              </a:path>
            </a:pathLst>
          </a:custGeom>
          <a:solidFill>
            <a:schemeClr val="tx1">
              <a:alpha val="1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en-US" sz="900">
              <a:latin typeface="+mn-ea"/>
              <a:ea typeface="+mn-ea"/>
              <a:cs typeface="思源黑体 CN Regular" panose="020B0500000000000000" charset="-122"/>
            </a:endParaRPr>
          </a:p>
        </p:txBody>
      </p:sp>
      <p:sp>
        <p:nvSpPr>
          <p:cNvPr id="45" name="Freeform 8"/>
          <p:cNvSpPr/>
          <p:nvPr/>
        </p:nvSpPr>
        <p:spPr bwMode="auto">
          <a:xfrm>
            <a:off x="2726156" y="2731583"/>
            <a:ext cx="2077924" cy="1415080"/>
          </a:xfrm>
          <a:custGeom>
            <a:avLst/>
            <a:gdLst>
              <a:gd name="T0" fmla="*/ 12629 w 15298"/>
              <a:gd name="T1" fmla="*/ 443 h 10413"/>
              <a:gd name="T2" fmla="*/ 1033 w 15298"/>
              <a:gd name="T3" fmla="*/ 7138 h 10413"/>
              <a:gd name="T4" fmla="*/ 443 w 15298"/>
              <a:gd name="T5" fmla="*/ 9341 h 10413"/>
              <a:gd name="T6" fmla="*/ 466 w 15298"/>
              <a:gd name="T7" fmla="*/ 9380 h 10413"/>
              <a:gd name="T8" fmla="*/ 2668 w 15298"/>
              <a:gd name="T9" fmla="*/ 9970 h 10413"/>
              <a:gd name="T10" fmla="*/ 14264 w 15298"/>
              <a:gd name="T11" fmla="*/ 3275 h 10413"/>
              <a:gd name="T12" fmla="*/ 14854 w 15298"/>
              <a:gd name="T13" fmla="*/ 1072 h 10413"/>
              <a:gd name="T14" fmla="*/ 14832 w 15298"/>
              <a:gd name="T15" fmla="*/ 1033 h 10413"/>
              <a:gd name="T16" fmla="*/ 12629 w 15298"/>
              <a:gd name="T17" fmla="*/ 443 h 104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15298" h="10413">
                <a:moveTo>
                  <a:pt x="12629" y="443"/>
                </a:moveTo>
                <a:lnTo>
                  <a:pt x="1033" y="7138"/>
                </a:lnTo>
                <a:cubicBezTo>
                  <a:pt x="265" y="7582"/>
                  <a:pt x="0" y="8573"/>
                  <a:pt x="443" y="9341"/>
                </a:cubicBezTo>
                <a:lnTo>
                  <a:pt x="466" y="9380"/>
                </a:lnTo>
                <a:cubicBezTo>
                  <a:pt x="909" y="10147"/>
                  <a:pt x="1900" y="10413"/>
                  <a:pt x="2668" y="9970"/>
                </a:cubicBezTo>
                <a:lnTo>
                  <a:pt x="14264" y="3275"/>
                </a:lnTo>
                <a:cubicBezTo>
                  <a:pt x="15032" y="2831"/>
                  <a:pt x="15298" y="1840"/>
                  <a:pt x="14854" y="1072"/>
                </a:cubicBezTo>
                <a:lnTo>
                  <a:pt x="14832" y="1033"/>
                </a:lnTo>
                <a:cubicBezTo>
                  <a:pt x="14388" y="266"/>
                  <a:pt x="13397" y="0"/>
                  <a:pt x="12629" y="443"/>
                </a:cubicBezTo>
                <a:close/>
              </a:path>
            </a:pathLst>
          </a:custGeom>
          <a:solidFill>
            <a:schemeClr val="tx1">
              <a:alpha val="3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en-US" sz="900">
              <a:latin typeface="+mn-ea"/>
              <a:ea typeface="+mn-ea"/>
              <a:cs typeface="思源黑体 CN Regular" panose="020B0500000000000000" charset="-122"/>
            </a:endParaRPr>
          </a:p>
        </p:txBody>
      </p:sp>
      <p:sp>
        <p:nvSpPr>
          <p:cNvPr id="47" name="Freeform 9"/>
          <p:cNvSpPr/>
          <p:nvPr/>
        </p:nvSpPr>
        <p:spPr bwMode="auto">
          <a:xfrm>
            <a:off x="5841355" y="1843577"/>
            <a:ext cx="2076239" cy="1415080"/>
          </a:xfrm>
          <a:custGeom>
            <a:avLst/>
            <a:gdLst>
              <a:gd name="T0" fmla="*/ 2668 w 15298"/>
              <a:gd name="T1" fmla="*/ 444 h 10413"/>
              <a:gd name="T2" fmla="*/ 14264 w 15298"/>
              <a:gd name="T3" fmla="*/ 7139 h 10413"/>
              <a:gd name="T4" fmla="*/ 14854 w 15298"/>
              <a:gd name="T5" fmla="*/ 9341 h 10413"/>
              <a:gd name="T6" fmla="*/ 14832 w 15298"/>
              <a:gd name="T7" fmla="*/ 9380 h 10413"/>
              <a:gd name="T8" fmla="*/ 12630 w 15298"/>
              <a:gd name="T9" fmla="*/ 9970 h 10413"/>
              <a:gd name="T10" fmla="*/ 1034 w 15298"/>
              <a:gd name="T11" fmla="*/ 3275 h 10413"/>
              <a:gd name="T12" fmla="*/ 443 w 15298"/>
              <a:gd name="T13" fmla="*/ 1073 h 10413"/>
              <a:gd name="T14" fmla="*/ 466 w 15298"/>
              <a:gd name="T15" fmla="*/ 1034 h 10413"/>
              <a:gd name="T16" fmla="*/ 2668 w 15298"/>
              <a:gd name="T17" fmla="*/ 444 h 104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15298" h="10413">
                <a:moveTo>
                  <a:pt x="2668" y="444"/>
                </a:moveTo>
                <a:lnTo>
                  <a:pt x="14264" y="7139"/>
                </a:lnTo>
                <a:cubicBezTo>
                  <a:pt x="15032" y="7582"/>
                  <a:pt x="15298" y="8573"/>
                  <a:pt x="14854" y="9341"/>
                </a:cubicBezTo>
                <a:lnTo>
                  <a:pt x="14832" y="9380"/>
                </a:lnTo>
                <a:cubicBezTo>
                  <a:pt x="14389" y="10148"/>
                  <a:pt x="13398" y="10413"/>
                  <a:pt x="12630" y="9970"/>
                </a:cubicBezTo>
                <a:lnTo>
                  <a:pt x="1034" y="3275"/>
                </a:lnTo>
                <a:cubicBezTo>
                  <a:pt x="266" y="2832"/>
                  <a:pt x="0" y="1841"/>
                  <a:pt x="443" y="1073"/>
                </a:cubicBezTo>
                <a:lnTo>
                  <a:pt x="466" y="1034"/>
                </a:lnTo>
                <a:cubicBezTo>
                  <a:pt x="909" y="266"/>
                  <a:pt x="1900" y="0"/>
                  <a:pt x="2668" y="444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en-US" sz="900">
              <a:latin typeface="+mn-ea"/>
              <a:ea typeface="+mn-ea"/>
              <a:cs typeface="思源黑体 CN Regular" panose="020B0500000000000000" charset="-122"/>
            </a:endParaRPr>
          </a:p>
        </p:txBody>
      </p:sp>
      <p:sp>
        <p:nvSpPr>
          <p:cNvPr id="48" name="Freeform 10"/>
          <p:cNvSpPr/>
          <p:nvPr/>
        </p:nvSpPr>
        <p:spPr bwMode="auto">
          <a:xfrm>
            <a:off x="7405304" y="1843577"/>
            <a:ext cx="2077924" cy="1415080"/>
          </a:xfrm>
          <a:custGeom>
            <a:avLst/>
            <a:gdLst>
              <a:gd name="T0" fmla="*/ 12630 w 15298"/>
              <a:gd name="T1" fmla="*/ 444 h 10413"/>
              <a:gd name="T2" fmla="*/ 1033 w 15298"/>
              <a:gd name="T3" fmla="*/ 7139 h 10413"/>
              <a:gd name="T4" fmla="*/ 443 w 15298"/>
              <a:gd name="T5" fmla="*/ 9341 h 10413"/>
              <a:gd name="T6" fmla="*/ 466 w 15298"/>
              <a:gd name="T7" fmla="*/ 9380 h 10413"/>
              <a:gd name="T8" fmla="*/ 2668 w 15298"/>
              <a:gd name="T9" fmla="*/ 9970 h 10413"/>
              <a:gd name="T10" fmla="*/ 14264 w 15298"/>
              <a:gd name="T11" fmla="*/ 3275 h 10413"/>
              <a:gd name="T12" fmla="*/ 14854 w 15298"/>
              <a:gd name="T13" fmla="*/ 1073 h 10413"/>
              <a:gd name="T14" fmla="*/ 14832 w 15298"/>
              <a:gd name="T15" fmla="*/ 1034 h 10413"/>
              <a:gd name="T16" fmla="*/ 12630 w 15298"/>
              <a:gd name="T17" fmla="*/ 444 h 104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15298" h="10413">
                <a:moveTo>
                  <a:pt x="12630" y="444"/>
                </a:moveTo>
                <a:lnTo>
                  <a:pt x="1033" y="7139"/>
                </a:lnTo>
                <a:cubicBezTo>
                  <a:pt x="265" y="7582"/>
                  <a:pt x="0" y="8573"/>
                  <a:pt x="443" y="9341"/>
                </a:cubicBezTo>
                <a:lnTo>
                  <a:pt x="466" y="9380"/>
                </a:lnTo>
                <a:cubicBezTo>
                  <a:pt x="909" y="10148"/>
                  <a:pt x="1900" y="10413"/>
                  <a:pt x="2668" y="9970"/>
                </a:cubicBezTo>
                <a:lnTo>
                  <a:pt x="14264" y="3275"/>
                </a:lnTo>
                <a:cubicBezTo>
                  <a:pt x="15032" y="2832"/>
                  <a:pt x="15298" y="1841"/>
                  <a:pt x="14854" y="1073"/>
                </a:cubicBezTo>
                <a:lnTo>
                  <a:pt x="14832" y="1034"/>
                </a:lnTo>
                <a:cubicBezTo>
                  <a:pt x="14388" y="266"/>
                  <a:pt x="13397" y="0"/>
                  <a:pt x="12630" y="444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en-US" sz="900">
              <a:latin typeface="+mn-ea"/>
              <a:ea typeface="+mn-ea"/>
              <a:cs typeface="思源黑体 CN Regular" panose="020B0500000000000000" charset="-122"/>
            </a:endParaRPr>
          </a:p>
        </p:txBody>
      </p:sp>
      <p:sp>
        <p:nvSpPr>
          <p:cNvPr id="49" name="Oval 11"/>
          <p:cNvSpPr>
            <a:spLocks noChangeArrowheads="1"/>
          </p:cNvSpPr>
          <p:nvPr/>
        </p:nvSpPr>
        <p:spPr bwMode="auto">
          <a:xfrm>
            <a:off x="2768324" y="3693806"/>
            <a:ext cx="408164" cy="408164"/>
          </a:xfrm>
          <a:prstGeom prst="ellipse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vert="horz" wrap="square" lIns="91440" tIns="45720" rIns="91440" bIns="45720" numCol="1" anchor="t" anchorCtr="0" compatLnSpc="1"/>
          <a:lstStyle/>
          <a:p>
            <a:endParaRPr lang="en-US" sz="900">
              <a:latin typeface="+mn-ea"/>
              <a:ea typeface="+mn-ea"/>
              <a:cs typeface="思源黑体 CN Regular" panose="020B0500000000000000" charset="-122"/>
            </a:endParaRPr>
          </a:p>
        </p:txBody>
      </p:sp>
      <p:sp>
        <p:nvSpPr>
          <p:cNvPr id="50" name="Oval 12"/>
          <p:cNvSpPr>
            <a:spLocks noChangeArrowheads="1"/>
          </p:cNvSpPr>
          <p:nvPr/>
        </p:nvSpPr>
        <p:spPr bwMode="auto">
          <a:xfrm>
            <a:off x="4331027" y="2797313"/>
            <a:ext cx="408164" cy="408164"/>
          </a:xfrm>
          <a:prstGeom prst="ellipse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vert="horz" wrap="square" lIns="91440" tIns="45720" rIns="91440" bIns="45720" numCol="1" anchor="t" anchorCtr="0" compatLnSpc="1"/>
          <a:lstStyle/>
          <a:p>
            <a:endParaRPr lang="en-US" sz="900">
              <a:latin typeface="+mn-ea"/>
              <a:ea typeface="+mn-ea"/>
              <a:cs typeface="思源黑体 CN Regular" panose="020B0500000000000000" charset="-122"/>
            </a:endParaRPr>
          </a:p>
        </p:txBody>
      </p:sp>
      <p:sp>
        <p:nvSpPr>
          <p:cNvPr id="51" name="Oval 13"/>
          <p:cNvSpPr>
            <a:spLocks noChangeArrowheads="1"/>
          </p:cNvSpPr>
          <p:nvPr/>
        </p:nvSpPr>
        <p:spPr bwMode="auto">
          <a:xfrm>
            <a:off x="5888584" y="1892487"/>
            <a:ext cx="408164" cy="409850"/>
          </a:xfrm>
          <a:prstGeom prst="ellipse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vert="horz" wrap="square" lIns="91440" tIns="45720" rIns="91440" bIns="45720" numCol="1" anchor="t" anchorCtr="0" compatLnSpc="1"/>
          <a:lstStyle/>
          <a:p>
            <a:endParaRPr lang="en-US" sz="900">
              <a:latin typeface="+mn-ea"/>
              <a:ea typeface="+mn-ea"/>
              <a:cs typeface="思源黑体 CN Regular" panose="020B0500000000000000" charset="-122"/>
            </a:endParaRPr>
          </a:p>
        </p:txBody>
      </p:sp>
      <p:sp>
        <p:nvSpPr>
          <p:cNvPr id="52" name="Oval 14"/>
          <p:cNvSpPr>
            <a:spLocks noChangeArrowheads="1"/>
          </p:cNvSpPr>
          <p:nvPr/>
        </p:nvSpPr>
        <p:spPr bwMode="auto">
          <a:xfrm>
            <a:off x="7457983" y="2801582"/>
            <a:ext cx="408164" cy="408164"/>
          </a:xfrm>
          <a:prstGeom prst="ellipse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vert="horz" wrap="square" lIns="91440" tIns="45720" rIns="91440" bIns="45720" numCol="1" anchor="t" anchorCtr="0" compatLnSpc="1"/>
          <a:lstStyle/>
          <a:p>
            <a:endParaRPr lang="en-US" sz="900">
              <a:latin typeface="+mn-ea"/>
              <a:ea typeface="+mn-ea"/>
              <a:cs typeface="思源黑体 CN Regular" panose="020B0500000000000000" charset="-122"/>
            </a:endParaRPr>
          </a:p>
        </p:txBody>
      </p:sp>
      <p:sp>
        <p:nvSpPr>
          <p:cNvPr id="53" name="Oval 15"/>
          <p:cNvSpPr>
            <a:spLocks noChangeArrowheads="1"/>
          </p:cNvSpPr>
          <p:nvPr/>
        </p:nvSpPr>
        <p:spPr bwMode="auto">
          <a:xfrm>
            <a:off x="9024863" y="1894173"/>
            <a:ext cx="408164" cy="408164"/>
          </a:xfrm>
          <a:prstGeom prst="ellipse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vert="horz" wrap="square" lIns="91440" tIns="45720" rIns="91440" bIns="45720" numCol="1" anchor="t" anchorCtr="0" compatLnSpc="1"/>
          <a:lstStyle/>
          <a:p>
            <a:endParaRPr lang="en-US" sz="900">
              <a:latin typeface="+mn-ea"/>
              <a:ea typeface="+mn-ea"/>
              <a:cs typeface="思源黑体 CN Regular" panose="020B0500000000000000" charset="-122"/>
            </a:endParaRPr>
          </a:p>
        </p:txBody>
      </p:sp>
      <p:sp>
        <p:nvSpPr>
          <p:cNvPr id="56" name="Oval 11"/>
          <p:cNvSpPr>
            <a:spLocks noChangeArrowheads="1"/>
          </p:cNvSpPr>
          <p:nvPr userDrawn="1"/>
        </p:nvSpPr>
        <p:spPr bwMode="auto">
          <a:xfrm>
            <a:off x="1199880" y="2783023"/>
            <a:ext cx="408164" cy="408164"/>
          </a:xfrm>
          <a:prstGeom prst="ellipse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vert="horz" wrap="square" lIns="91440" tIns="45720" rIns="91440" bIns="45720" numCol="1" anchor="t" anchorCtr="0" compatLnSpc="1"/>
          <a:lstStyle/>
          <a:p>
            <a:endParaRPr lang="en-US" sz="900">
              <a:latin typeface="+mn-ea"/>
              <a:ea typeface="+mn-ea"/>
              <a:cs typeface="思源黑体 CN Regular" panose="020B0500000000000000" charset="-122"/>
            </a:endParaRPr>
          </a:p>
        </p:txBody>
      </p:sp>
      <p:sp>
        <p:nvSpPr>
          <p:cNvPr id="57" name="Oval 11"/>
          <p:cNvSpPr>
            <a:spLocks noChangeArrowheads="1"/>
          </p:cNvSpPr>
          <p:nvPr userDrawn="1"/>
        </p:nvSpPr>
        <p:spPr bwMode="auto">
          <a:xfrm>
            <a:off x="10598591" y="985197"/>
            <a:ext cx="408164" cy="408164"/>
          </a:xfrm>
          <a:prstGeom prst="ellipse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vert="horz" wrap="square" lIns="91440" tIns="45720" rIns="91440" bIns="45720" numCol="1" anchor="t" anchorCtr="0" compatLnSpc="1"/>
          <a:lstStyle/>
          <a:p>
            <a:endParaRPr lang="en-US" sz="900">
              <a:latin typeface="+mn-ea"/>
              <a:ea typeface="+mn-ea"/>
              <a:cs typeface="思源黑体 CN Regular" panose="020B0500000000000000" charset="-122"/>
            </a:endParaRPr>
          </a:p>
        </p:txBody>
      </p:sp>
      <p:sp>
        <p:nvSpPr>
          <p:cNvPr id="58" name="Текст 7"/>
          <p:cNvSpPr>
            <a:spLocks noGrp="1"/>
          </p:cNvSpPr>
          <p:nvPr>
            <p:ph type="body" sz="quarter" idx="72" hasCustomPrompt="1"/>
          </p:nvPr>
        </p:nvSpPr>
        <p:spPr>
          <a:xfrm>
            <a:off x="1243023" y="2834057"/>
            <a:ext cx="318015" cy="288928"/>
          </a:xfrm>
        </p:spPr>
        <p:txBody>
          <a:bodyPr tIns="0" anchor="ctr" anchorCtr="0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14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defRPr sz="900" b="0" baseline="0">
                <a:solidFill>
                  <a:schemeClr val="tx1"/>
                </a:solidFill>
                <a:latin typeface="+mn-ea"/>
                <a:ea typeface="+mn-ea"/>
              </a:defRPr>
            </a:lvl1pPr>
            <a:lvl2pPr algn="ctr">
              <a:defRPr/>
            </a:lvl2pPr>
            <a:lvl3pPr algn="ctr">
              <a:defRPr/>
            </a:lvl3pPr>
            <a:lvl4pPr algn="ctr">
              <a:lnSpc>
                <a:spcPct val="150000"/>
              </a:lnSpc>
              <a:defRPr/>
            </a:lvl4pPr>
            <a:lvl5pPr algn="ctr">
              <a:defRPr/>
            </a:lvl5pPr>
          </a:lstStyle>
          <a:p>
            <a:pPr marL="0" marR="0" lvl="0" indent="0" algn="ctr" defTabSz="914400" rtl="0" eaLnBrk="1" fontAlgn="auto" latinLnBrk="0" hangingPunct="1">
              <a:lnSpc>
                <a:spcPct val="14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lang="en-US"/>
              <a:t>01</a:t>
            </a:r>
          </a:p>
        </p:txBody>
      </p:sp>
      <p:sp>
        <p:nvSpPr>
          <p:cNvPr id="59" name="Текст 7"/>
          <p:cNvSpPr>
            <a:spLocks noGrp="1"/>
          </p:cNvSpPr>
          <p:nvPr>
            <p:ph type="body" sz="quarter" idx="73" hasCustomPrompt="1"/>
          </p:nvPr>
        </p:nvSpPr>
        <p:spPr>
          <a:xfrm>
            <a:off x="2813399" y="3745216"/>
            <a:ext cx="318015" cy="288928"/>
          </a:xfrm>
        </p:spPr>
        <p:txBody>
          <a:bodyPr tIns="0" anchor="ctr" anchorCtr="0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14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defRPr sz="900" b="0" baseline="0">
                <a:solidFill>
                  <a:schemeClr val="tx1"/>
                </a:solidFill>
                <a:latin typeface="+mn-ea"/>
                <a:ea typeface="+mn-ea"/>
              </a:defRPr>
            </a:lvl1pPr>
            <a:lvl2pPr algn="ctr">
              <a:defRPr/>
            </a:lvl2pPr>
            <a:lvl3pPr algn="ctr">
              <a:defRPr/>
            </a:lvl3pPr>
            <a:lvl4pPr algn="ctr">
              <a:lnSpc>
                <a:spcPct val="150000"/>
              </a:lnSpc>
              <a:defRPr/>
            </a:lvl4pPr>
            <a:lvl5pPr algn="ctr">
              <a:defRPr/>
            </a:lvl5pPr>
          </a:lstStyle>
          <a:p>
            <a:pPr marL="0" marR="0" lvl="0" indent="0" algn="ctr" defTabSz="914400" rtl="0" eaLnBrk="1" fontAlgn="auto" latinLnBrk="0" hangingPunct="1">
              <a:lnSpc>
                <a:spcPct val="14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lang="en-US"/>
              <a:t>01</a:t>
            </a:r>
          </a:p>
        </p:txBody>
      </p:sp>
      <p:sp>
        <p:nvSpPr>
          <p:cNvPr id="60" name="Текст 7"/>
          <p:cNvSpPr>
            <a:spLocks noGrp="1"/>
          </p:cNvSpPr>
          <p:nvPr>
            <p:ph type="body" sz="quarter" idx="74" hasCustomPrompt="1"/>
          </p:nvPr>
        </p:nvSpPr>
        <p:spPr>
          <a:xfrm>
            <a:off x="4374272" y="2852603"/>
            <a:ext cx="318015" cy="288928"/>
          </a:xfrm>
        </p:spPr>
        <p:txBody>
          <a:bodyPr tIns="0" anchor="ctr" anchorCtr="0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14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defRPr sz="900" b="0" baseline="0">
                <a:solidFill>
                  <a:schemeClr val="tx1"/>
                </a:solidFill>
                <a:latin typeface="+mn-ea"/>
                <a:ea typeface="+mn-ea"/>
              </a:defRPr>
            </a:lvl1pPr>
            <a:lvl2pPr algn="ctr">
              <a:defRPr/>
            </a:lvl2pPr>
            <a:lvl3pPr algn="ctr">
              <a:defRPr/>
            </a:lvl3pPr>
            <a:lvl4pPr algn="ctr">
              <a:lnSpc>
                <a:spcPct val="150000"/>
              </a:lnSpc>
              <a:defRPr/>
            </a:lvl4pPr>
            <a:lvl5pPr algn="ctr">
              <a:defRPr/>
            </a:lvl5pPr>
          </a:lstStyle>
          <a:p>
            <a:pPr marL="0" marR="0" lvl="0" indent="0" algn="ctr" defTabSz="914400" rtl="0" eaLnBrk="1" fontAlgn="auto" latinLnBrk="0" hangingPunct="1">
              <a:lnSpc>
                <a:spcPct val="14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lang="en-US"/>
              <a:t>01</a:t>
            </a:r>
          </a:p>
        </p:txBody>
      </p:sp>
      <p:sp>
        <p:nvSpPr>
          <p:cNvPr id="61" name="Текст 7"/>
          <p:cNvSpPr>
            <a:spLocks noGrp="1"/>
          </p:cNvSpPr>
          <p:nvPr>
            <p:ph type="body" sz="quarter" idx="75" hasCustomPrompt="1"/>
          </p:nvPr>
        </p:nvSpPr>
        <p:spPr>
          <a:xfrm>
            <a:off x="5930391" y="1945805"/>
            <a:ext cx="318015" cy="288928"/>
          </a:xfrm>
        </p:spPr>
        <p:txBody>
          <a:bodyPr tIns="0" anchor="ctr" anchorCtr="0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14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defRPr sz="900" b="0" baseline="0">
                <a:solidFill>
                  <a:schemeClr val="tx1"/>
                </a:solidFill>
                <a:latin typeface="+mn-ea"/>
                <a:ea typeface="+mn-ea"/>
              </a:defRPr>
            </a:lvl1pPr>
            <a:lvl2pPr algn="ctr">
              <a:defRPr/>
            </a:lvl2pPr>
            <a:lvl3pPr algn="ctr">
              <a:defRPr/>
            </a:lvl3pPr>
            <a:lvl4pPr algn="ctr">
              <a:lnSpc>
                <a:spcPct val="150000"/>
              </a:lnSpc>
              <a:defRPr/>
            </a:lvl4pPr>
            <a:lvl5pPr algn="ctr">
              <a:defRPr/>
            </a:lvl5pPr>
          </a:lstStyle>
          <a:p>
            <a:pPr marL="0" marR="0" lvl="0" indent="0" algn="ctr" defTabSz="914400" rtl="0" eaLnBrk="1" fontAlgn="auto" latinLnBrk="0" hangingPunct="1">
              <a:lnSpc>
                <a:spcPct val="14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lang="en-US"/>
              <a:t>01</a:t>
            </a:r>
          </a:p>
        </p:txBody>
      </p:sp>
      <p:sp>
        <p:nvSpPr>
          <p:cNvPr id="62" name="Текст 7"/>
          <p:cNvSpPr>
            <a:spLocks noGrp="1"/>
          </p:cNvSpPr>
          <p:nvPr>
            <p:ph type="body" sz="quarter" idx="76" hasCustomPrompt="1"/>
          </p:nvPr>
        </p:nvSpPr>
        <p:spPr>
          <a:xfrm>
            <a:off x="7502160" y="2849721"/>
            <a:ext cx="318015" cy="288928"/>
          </a:xfrm>
        </p:spPr>
        <p:txBody>
          <a:bodyPr tIns="0" anchor="ctr" anchorCtr="0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14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defRPr sz="900" b="0" baseline="0">
                <a:solidFill>
                  <a:schemeClr val="tx1"/>
                </a:solidFill>
                <a:latin typeface="+mn-ea"/>
                <a:ea typeface="+mn-ea"/>
              </a:defRPr>
            </a:lvl1pPr>
            <a:lvl2pPr algn="ctr">
              <a:defRPr/>
            </a:lvl2pPr>
            <a:lvl3pPr algn="ctr">
              <a:defRPr/>
            </a:lvl3pPr>
            <a:lvl4pPr algn="ctr">
              <a:lnSpc>
                <a:spcPct val="150000"/>
              </a:lnSpc>
              <a:defRPr/>
            </a:lvl4pPr>
            <a:lvl5pPr algn="ctr">
              <a:defRPr/>
            </a:lvl5pPr>
          </a:lstStyle>
          <a:p>
            <a:pPr marL="0" marR="0" lvl="0" indent="0" algn="ctr" defTabSz="914400" rtl="0" eaLnBrk="1" fontAlgn="auto" latinLnBrk="0" hangingPunct="1">
              <a:lnSpc>
                <a:spcPct val="14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lang="en-US"/>
              <a:t>01</a:t>
            </a:r>
          </a:p>
        </p:txBody>
      </p:sp>
      <p:sp>
        <p:nvSpPr>
          <p:cNvPr id="63" name="Текст 7"/>
          <p:cNvSpPr>
            <a:spLocks noGrp="1"/>
          </p:cNvSpPr>
          <p:nvPr>
            <p:ph type="body" sz="quarter" idx="77" hasCustomPrompt="1"/>
          </p:nvPr>
        </p:nvSpPr>
        <p:spPr>
          <a:xfrm>
            <a:off x="9067886" y="1944204"/>
            <a:ext cx="318015" cy="288928"/>
          </a:xfrm>
        </p:spPr>
        <p:txBody>
          <a:bodyPr tIns="0" anchor="ctr" anchorCtr="0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14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defRPr sz="900" b="0" baseline="0">
                <a:solidFill>
                  <a:schemeClr val="tx1"/>
                </a:solidFill>
                <a:latin typeface="+mn-ea"/>
                <a:ea typeface="+mn-ea"/>
              </a:defRPr>
            </a:lvl1pPr>
            <a:lvl2pPr algn="ctr">
              <a:defRPr/>
            </a:lvl2pPr>
            <a:lvl3pPr algn="ctr">
              <a:defRPr/>
            </a:lvl3pPr>
            <a:lvl4pPr algn="ctr">
              <a:lnSpc>
                <a:spcPct val="150000"/>
              </a:lnSpc>
              <a:defRPr/>
            </a:lvl4pPr>
            <a:lvl5pPr algn="ctr">
              <a:defRPr/>
            </a:lvl5pPr>
          </a:lstStyle>
          <a:p>
            <a:pPr marL="0" marR="0" lvl="0" indent="0" algn="ctr" defTabSz="914400" rtl="0" eaLnBrk="1" fontAlgn="auto" latinLnBrk="0" hangingPunct="1">
              <a:lnSpc>
                <a:spcPct val="14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lang="en-US"/>
              <a:t>01</a:t>
            </a:r>
          </a:p>
        </p:txBody>
      </p:sp>
      <p:sp>
        <p:nvSpPr>
          <p:cNvPr id="66" name="Текст 7"/>
          <p:cNvSpPr>
            <a:spLocks noGrp="1"/>
          </p:cNvSpPr>
          <p:nvPr>
            <p:ph type="body" sz="quarter" idx="78" hasCustomPrompt="1"/>
          </p:nvPr>
        </p:nvSpPr>
        <p:spPr>
          <a:xfrm>
            <a:off x="10643671" y="1039331"/>
            <a:ext cx="318015" cy="288928"/>
          </a:xfrm>
        </p:spPr>
        <p:txBody>
          <a:bodyPr tIns="0" anchor="ctr" anchorCtr="0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14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defRPr sz="900" b="0" baseline="0">
                <a:solidFill>
                  <a:schemeClr val="tx1"/>
                </a:solidFill>
                <a:latin typeface="+mn-ea"/>
                <a:ea typeface="+mn-ea"/>
              </a:defRPr>
            </a:lvl1pPr>
            <a:lvl2pPr algn="ctr">
              <a:defRPr/>
            </a:lvl2pPr>
            <a:lvl3pPr algn="ctr">
              <a:defRPr/>
            </a:lvl3pPr>
            <a:lvl4pPr algn="ctr">
              <a:lnSpc>
                <a:spcPct val="150000"/>
              </a:lnSpc>
              <a:defRPr/>
            </a:lvl4pPr>
            <a:lvl5pPr algn="ctr">
              <a:defRPr/>
            </a:lvl5pPr>
          </a:lstStyle>
          <a:p>
            <a:pPr marL="0" marR="0" lvl="0" indent="0" algn="ctr" defTabSz="914400" rtl="0" eaLnBrk="1" fontAlgn="auto" latinLnBrk="0" hangingPunct="1">
              <a:lnSpc>
                <a:spcPct val="14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lang="en-US"/>
              <a:t>01</a:t>
            </a:r>
          </a:p>
        </p:txBody>
      </p:sp>
    </p:spTree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5" presetClass="entr" presetSubtype="0" dur="300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300" fill="hold"/>
                                        <p:tgtEl>
                                          <p:spTgt spid="5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300" fill="hold"/>
                                        <p:tgtEl>
                                          <p:spTgt spid="5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300"/>
                                        <p:tgtEl>
                                          <p:spTgt spid="5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2" presetClass="entr" presetSubtype="4" dur="5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5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5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4" presetID="2" presetClass="entr" presetSubtype="4" dur="5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6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6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8" presetID="55" presetClass="entr" presetSubtype="0" dur="300" fill="hold" grpId="0" nodeType="withEffect">
                                  <p:stCondLst>
                                    <p:cond delay="140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0" dur="300" fill="hold"/>
                                        <p:tgtEl>
                                          <p:spTgt spid="5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300" fill="hold"/>
                                        <p:tgtEl>
                                          <p:spTgt spid="5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2" dur="300"/>
                                        <p:tgtEl>
                                          <p:spTgt spid="5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2" presetClass="entr" presetSubtype="4" dur="500" decel="50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7" presetID="2" presetClass="entr" presetSubtype="4" dur="500" decel="50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9" dur="500" fill="hold"/>
                                        <p:tgtEl>
                                          <p:spTgt spid="6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0" dur="500" fill="hold"/>
                                        <p:tgtEl>
                                          <p:spTgt spid="6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1" presetID="55" presetClass="entr" presetSubtype="0" dur="300" fill="hold" grpId="0" nodeType="withEffect">
                                  <p:stCondLst>
                                    <p:cond delay="240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3" dur="300" fill="hold"/>
                                        <p:tgtEl>
                                          <p:spTgt spid="6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4" dur="300" fill="hold"/>
                                        <p:tgtEl>
                                          <p:spTgt spid="6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5" dur="300"/>
                                        <p:tgtEl>
                                          <p:spTgt spid="6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2" presetClass="entr" presetSubtype="4" dur="500" decel="50000" fill="hold" grpId="0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8" dur="500" fill="hold"/>
                                        <p:tgtEl>
                                          <p:spTgt spid="5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9" dur="500" fill="hold"/>
                                        <p:tgtEl>
                                          <p:spTgt spid="5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0" presetID="2" presetClass="entr" presetSubtype="4" dur="500" decel="50000" fill="hold" grpId="0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2" dur="500" fill="hold"/>
                                        <p:tgtEl>
                                          <p:spTgt spid="7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3" dur="500" fill="hold"/>
                                        <p:tgtEl>
                                          <p:spTgt spid="7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4" presetID="55" presetClass="entr" presetSubtype="0" dur="300" fill="hold" grpId="0" nodeType="withEffect">
                                  <p:stCondLst>
                                    <p:cond delay="340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6" dur="300" fill="hold"/>
                                        <p:tgtEl>
                                          <p:spTgt spid="6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7" dur="300" fill="hold"/>
                                        <p:tgtEl>
                                          <p:spTgt spid="6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8" dur="300"/>
                                        <p:tgtEl>
                                          <p:spTgt spid="6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9" presetID="2" presetClass="entr" presetSubtype="4" dur="500" decel="50000" fill="hold" grpId="0" nodeType="withEffect">
                                  <p:stCondLst>
                                    <p:cond delay="300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1" dur="50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2" dur="50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3" presetID="2" presetClass="entr" presetSubtype="4" dur="500" decel="50000" fill="hold" grpId="0" nodeType="withEffect">
                                  <p:stCondLst>
                                    <p:cond delay="300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5" dur="500" fill="hold"/>
                                        <p:tgtEl>
                                          <p:spTgt spid="7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6" dur="500" fill="hold"/>
                                        <p:tgtEl>
                                          <p:spTgt spid="7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7" presetID="55" presetClass="entr" presetSubtype="0" dur="300" fill="hold" grpId="0" nodeType="withEffect">
                                  <p:stCondLst>
                                    <p:cond delay="440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9" dur="300" fill="hold"/>
                                        <p:tgtEl>
                                          <p:spTgt spid="6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0" dur="300" fill="hold"/>
                                        <p:tgtEl>
                                          <p:spTgt spid="6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1" dur="300"/>
                                        <p:tgtEl>
                                          <p:spTgt spid="6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2" presetID="2" presetClass="entr" presetSubtype="4" dur="500" decel="50000" fill="hold" grpId="0" nodeType="withEffect">
                                  <p:stCondLst>
                                    <p:cond delay="400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4" dur="500" fill="hold"/>
                                        <p:tgtEl>
                                          <p:spTgt spid="5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5" dur="500" fill="hold"/>
                                        <p:tgtEl>
                                          <p:spTgt spid="5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6" presetID="2" presetClass="entr" presetSubtype="4" dur="500" decel="50000" fill="hold" grpId="0" nodeType="withEffect">
                                  <p:stCondLst>
                                    <p:cond delay="400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8" dur="500" fill="hold"/>
                                        <p:tgtEl>
                                          <p:spTgt spid="7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9" dur="500" fill="hold"/>
                                        <p:tgtEl>
                                          <p:spTgt spid="7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0" presetID="55" presetClass="entr" presetSubtype="0" dur="300" fill="hold" grpId="0" nodeType="withEffect">
                                  <p:stCondLst>
                                    <p:cond delay="540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2" dur="300" fill="hold"/>
                                        <p:tgtEl>
                                          <p:spTgt spid="6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3" dur="300" fill="hold"/>
                                        <p:tgtEl>
                                          <p:spTgt spid="6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74" dur="300"/>
                                        <p:tgtEl>
                                          <p:spTgt spid="6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5" presetID="2" presetClass="entr" presetSubtype="4" dur="500" decel="50000" fill="hold" grpId="0" nodeType="withEffect">
                                  <p:stCondLst>
                                    <p:cond delay="500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7" dur="500" fill="hold"/>
                                        <p:tgtEl>
                                          <p:spTgt spid="5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8" dur="500" fill="hold"/>
                                        <p:tgtEl>
                                          <p:spTgt spid="5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9" presetID="2" presetClass="entr" presetSubtype="4" dur="500" decel="50000" fill="hold" grpId="0" nodeType="withEffect">
                                  <p:stCondLst>
                                    <p:cond delay="500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1" dur="500" fill="hold"/>
                                        <p:tgtEl>
                                          <p:spTgt spid="7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2" dur="500" fill="hold"/>
                                        <p:tgtEl>
                                          <p:spTgt spid="7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83" presetID="55" presetClass="entr" presetSubtype="0" dur="300" fill="hold" grpId="0" nodeType="withEffect">
                                  <p:stCondLst>
                                    <p:cond delay="620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85" dur="300" fill="hold"/>
                                        <p:tgtEl>
                                          <p:spTgt spid="6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6" dur="300" fill="hold"/>
                                        <p:tgtEl>
                                          <p:spTgt spid="6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87" dur="300"/>
                                        <p:tgtEl>
                                          <p:spTgt spid="6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8" presetID="2" presetClass="entr" presetSubtype="4" dur="500" decel="50000" fill="hold" grpId="0" nodeType="withEffect">
                                  <p:stCondLst>
                                    <p:cond delay="5800"/>
                                  </p:stCondLst>
                                  <p:childTnLst>
                                    <p:set>
                                      <p:cBhvr>
                                        <p:cTn id="8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90" dur="500" fill="hold"/>
                                        <p:tgtEl>
                                          <p:spTgt spid="5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91" dur="500" fill="hold"/>
                                        <p:tgtEl>
                                          <p:spTgt spid="5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4" grpId="0" animBg="1"/>
      <p:bldP spid="68" grpId="0" animBg="1"/>
      <p:bldP spid="70" grpId="0" animBg="1"/>
      <p:bldP spid="72" grpId="0" animBg="1"/>
      <p:bldP spid="74" grpId="0" animBg="1"/>
      <p:bldP spid="76" grpId="0" animBg="1"/>
      <p:bldP spid="49" grpId="0" animBg="1"/>
      <p:bldP spid="50" grpId="0" animBg="1"/>
      <p:bldP spid="51" grpId="0" animBg="1"/>
      <p:bldP spid="52" grpId="0" animBg="1"/>
      <p:bldP spid="53" grpId="0" animBg="1"/>
      <p:bldP spid="56" grpId="0" animBg="1"/>
      <p:bldP spid="57" grpId="0" animBg="1"/>
      <p:bldP spid="58" grpId="0" build="p">
        <p:tmplLst>
          <p:tmpl lvl="1">
            <p:tnLst>
              <p:par>
                <p:cTn presetID="55" presetClass="entr" presetSubtype="0" fill="hold" nodeType="withEffect">
                  <p:stCondLst>
                    <p:cond delay="4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300" fill="hold"/>
                        <p:tgtEl>
                          <p:spTgt spid="58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strVal val="#ppt_w*0.7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300" fill="hold"/>
                        <p:tgtEl>
                          <p:spTgt spid="58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strVal val="#ppt_h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300"/>
                        <p:tgtEl>
                          <p:spTgt spid="5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9" grpId="0" build="p">
        <p:tmplLst>
          <p:tmpl lvl="1">
            <p:tnLst>
              <p:par>
                <p:cTn presetID="55" presetClass="entr" presetSubtype="0" fill="hold" nodeType="withEffect">
                  <p:stCondLst>
                    <p:cond delay="14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300" fill="hold"/>
                        <p:tgtEl>
                          <p:spTgt spid="59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strVal val="#ppt_w*0.7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300" fill="hold"/>
                        <p:tgtEl>
                          <p:spTgt spid="59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strVal val="#ppt_h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300"/>
                        <p:tgtEl>
                          <p:spTgt spid="5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60" grpId="0" build="p">
        <p:tmplLst>
          <p:tmpl lvl="1">
            <p:tnLst>
              <p:par>
                <p:cTn presetID="55" presetClass="entr" presetSubtype="0" fill="hold" nodeType="withEffect">
                  <p:stCondLst>
                    <p:cond delay="24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6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300" fill="hold"/>
                        <p:tgtEl>
                          <p:spTgt spid="60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strVal val="#ppt_w*0.7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300" fill="hold"/>
                        <p:tgtEl>
                          <p:spTgt spid="60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strVal val="#ppt_h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300"/>
                        <p:tgtEl>
                          <p:spTgt spid="6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61" grpId="0" build="p">
        <p:tmplLst>
          <p:tmpl lvl="1">
            <p:tnLst>
              <p:par>
                <p:cTn presetID="55" presetClass="entr" presetSubtype="0" fill="hold" nodeType="withEffect">
                  <p:stCondLst>
                    <p:cond delay="34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6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300" fill="hold"/>
                        <p:tgtEl>
                          <p:spTgt spid="61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strVal val="#ppt_w*0.7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300" fill="hold"/>
                        <p:tgtEl>
                          <p:spTgt spid="61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strVal val="#ppt_h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300"/>
                        <p:tgtEl>
                          <p:spTgt spid="6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62" grpId="0" build="p">
        <p:tmplLst>
          <p:tmpl lvl="1">
            <p:tnLst>
              <p:par>
                <p:cTn presetID="55" presetClass="entr" presetSubtype="0" fill="hold" nodeType="withEffect">
                  <p:stCondLst>
                    <p:cond delay="44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6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300" fill="hold"/>
                        <p:tgtEl>
                          <p:spTgt spid="62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strVal val="#ppt_w*0.7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300" fill="hold"/>
                        <p:tgtEl>
                          <p:spTgt spid="62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strVal val="#ppt_h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300"/>
                        <p:tgtEl>
                          <p:spTgt spid="6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63" grpId="0" build="p">
        <p:tmplLst>
          <p:tmpl lvl="1">
            <p:tnLst>
              <p:par>
                <p:cTn presetID="55" presetClass="entr" presetSubtype="0" fill="hold" nodeType="withEffect">
                  <p:stCondLst>
                    <p:cond delay="54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6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300" fill="hold"/>
                        <p:tgtEl>
                          <p:spTgt spid="63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strVal val="#ppt_w*0.7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300" fill="hold"/>
                        <p:tgtEl>
                          <p:spTgt spid="63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strVal val="#ppt_h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300"/>
                        <p:tgtEl>
                          <p:spTgt spid="6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66" grpId="0" build="p">
        <p:tmplLst>
          <p:tmpl lvl="1">
            <p:tnLst>
              <p:par>
                <p:cTn presetID="55" presetClass="entr" presetSubtype="0" fill="hold" nodeType="withEffect">
                  <p:stCondLst>
                    <p:cond delay="62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6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300" fill="hold"/>
                        <p:tgtEl>
                          <p:spTgt spid="66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strVal val="#ppt_w*0.7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300" fill="hold"/>
                        <p:tgtEl>
                          <p:spTgt spid="66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strVal val="#ppt_h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300"/>
                        <p:tgtEl>
                          <p:spTgt spid="66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  <p:hf sldNum="0" ftr="0" dt="0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2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cs typeface="思源黑体 CN Regular" panose="020B0500000000000000" charset="-122"/>
              </a:defRPr>
            </a:lvl1pPr>
          </a:lstStyle>
          <a:p>
            <a:fld id="{15A51786-9DDF-404B-8F81-531DAE20F938}" type="datetimeFigureOut">
              <a:rPr lang="zh-CN" altLang="en-US" smtClean="0"/>
              <a:t>2024/11/23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  <a:cs typeface="思源黑体 CN Regular" panose="020B0500000000000000" charset="-122"/>
              </a:defRPr>
            </a:lvl1pPr>
          </a:lstStyle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cs typeface="思源黑体 CN Regular" panose="020B0500000000000000" charset="-122"/>
              </a:defRPr>
            </a:lvl1pPr>
          </a:lstStyle>
          <a:p>
            <a:fld id="{73901947-2015-41B3-BD25-B4F5F50681E3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  <p:sldLayoutId id="2147483662" r:id="rId14"/>
    <p:sldLayoutId id="2147483663" r:id="rId15"/>
    <p:sldLayoutId id="2147483664" r:id="rId16"/>
    <p:sldLayoutId id="2147483665" r:id="rId17"/>
    <p:sldLayoutId id="2147483666" r:id="rId18"/>
    <p:sldLayoutId id="2147483667" r:id="rId19"/>
    <p:sldLayoutId id="2147483668" r:id="rId20"/>
    <p:sldLayoutId id="2147483669" r:id="rId21"/>
    <p:sldLayoutId id="2147483670" r:id="rId22"/>
    <p:sldLayoutId id="2147483671" r:id="rId23"/>
    <p:sldLayoutId id="2147483672" r:id="rId24"/>
    <p:sldLayoutId id="2147483673" r:id="rId25"/>
    <p:sldLayoutId id="2147483676" r:id="rId26"/>
  </p:sldLayoutIdLst>
  <p:transition/>
  <p:hf sldNum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Gill Sans MT"/>
          <a:ea typeface="Gill Sans MT"/>
          <a:cs typeface="思源黑体 CN Regular" panose="020B0500000000000000" charset="-122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思源黑体 CN Regular" panose="020B0500000000000000" charset="-122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思源黑体 CN Regular" panose="020B0500000000000000" charset="-122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思源黑体 CN Regular" panose="020B0500000000000000" charset="-122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思源黑体 CN Regular" panose="020B0500000000000000" charset="-122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思源黑体 CN Regular" panose="020B0500000000000000" charset="-122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 bg1="lt1" tx1="dk1" bg2="lt2" tx2="dk2" accent1="accent1" accent2="accent2" accent3="accent3" accent4="accent4" accent5="accent5" accent6="accent6" hlink="hlink" folHlink="folHlink"/>
  <p:sldLayoutIdLst>
    <p:sldLayoutId id="2147483675" r:id="rId1"/>
  </p:sldLayoutIdLst>
  <p:transition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4" Type="http://schemas.openxmlformats.org/officeDocument/2006/relationships/hyperlink" Target="https://www.freeppt7.com/" TargetMode="Externa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e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9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jpe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0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8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4.xml"/><Relationship Id="rId7" Type="http://schemas.openxmlformats.org/officeDocument/2006/relationships/image" Target="../media/image24.jpeg"/><Relationship Id="rId2" Type="http://schemas.openxmlformats.org/officeDocument/2006/relationships/slideLayout" Target="../slideLayouts/slideLayout23.xml"/><Relationship Id="rId1" Type="http://schemas.openxmlformats.org/officeDocument/2006/relationships/tags" Target="../tags/tag2.xml"/><Relationship Id="rId6" Type="http://schemas.openxmlformats.org/officeDocument/2006/relationships/image" Target="../media/image23.jpeg"/><Relationship Id="rId5" Type="http://schemas.openxmlformats.org/officeDocument/2006/relationships/image" Target="../media/image22.jpeg"/><Relationship Id="rId4" Type="http://schemas.openxmlformats.org/officeDocument/2006/relationships/image" Target="../media/image21.jpe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1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27.jpe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3.jpeg"/><Relationship Id="rId3" Type="http://schemas.openxmlformats.org/officeDocument/2006/relationships/image" Target="../media/image28.jpeg"/><Relationship Id="rId7" Type="http://schemas.openxmlformats.org/officeDocument/2006/relationships/image" Target="../media/image32.jpe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2.xml"/><Relationship Id="rId6" Type="http://schemas.openxmlformats.org/officeDocument/2006/relationships/image" Target="../media/image31.jpeg"/><Relationship Id="rId5" Type="http://schemas.openxmlformats.org/officeDocument/2006/relationships/image" Target="../media/image30.jpeg"/><Relationship Id="rId4" Type="http://schemas.openxmlformats.org/officeDocument/2006/relationships/image" Target="../media/image29.jpe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3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1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9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11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11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11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11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13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38.png"/><Relationship Id="rId4" Type="http://schemas.openxmlformats.org/officeDocument/2006/relationships/image" Target="../media/image37.pn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4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jpeg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8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17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8.png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3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12.xml"/></Relationships>
</file>

<file path=ppt/slides/_rels/slide32.xml.rels><?xml version="1.0" encoding="UTF-8" standalone="yes"?>
<Relationships xmlns="http://schemas.openxmlformats.org/package/2006/relationships"><Relationship Id="rId8" Type="http://schemas.openxmlformats.org/officeDocument/2006/relationships/hyperlink" Target="https://twitter.com/freeppt7_com" TargetMode="External"/><Relationship Id="rId13" Type="http://schemas.openxmlformats.org/officeDocument/2006/relationships/hyperlink" Target="https://www.freeppt7.com/" TargetMode="External"/><Relationship Id="rId3" Type="http://schemas.openxmlformats.org/officeDocument/2006/relationships/image" Target="../media/image42.png"/><Relationship Id="rId7" Type="http://schemas.openxmlformats.org/officeDocument/2006/relationships/image" Target="../media/image44.png"/><Relationship Id="rId12" Type="http://schemas.openxmlformats.org/officeDocument/2006/relationships/hyperlink" Target="https://www.freeppt7.com/ggslide-school/" TargetMode="External"/><Relationship Id="rId2" Type="http://schemas.openxmlformats.org/officeDocument/2006/relationships/hyperlink" Target="https://www.facebook.com/freeppt7/" TargetMode="External"/><Relationship Id="rId1" Type="http://schemas.openxmlformats.org/officeDocument/2006/relationships/slideLayout" Target="../slideLayouts/slideLayout26.xml"/><Relationship Id="rId6" Type="http://schemas.openxmlformats.org/officeDocument/2006/relationships/hyperlink" Target="https://www.youtube.com/@Slidestemplatesfree" TargetMode="External"/><Relationship Id="rId11" Type="http://schemas.openxmlformats.org/officeDocument/2006/relationships/image" Target="../media/image46.png"/><Relationship Id="rId5" Type="http://schemas.openxmlformats.org/officeDocument/2006/relationships/image" Target="../media/image43.png"/><Relationship Id="rId10" Type="http://schemas.openxmlformats.org/officeDocument/2006/relationships/hyperlink" Target="https://www.linkedin.com/in/liu-kaiwei-b180991a9/" TargetMode="External"/><Relationship Id="rId4" Type="http://schemas.openxmlformats.org/officeDocument/2006/relationships/hyperlink" Target="https://www.instagram.com/slidesfree/" TargetMode="External"/><Relationship Id="rId9" Type="http://schemas.openxmlformats.org/officeDocument/2006/relationships/image" Target="../media/image45.png"/><Relationship Id="rId14" Type="http://schemas.openxmlformats.org/officeDocument/2006/relationships/hyperlink" Target="http://www.freeppt7.com/" TargetMode="Externa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6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13.jpeg"/><Relationship Id="rId4" Type="http://schemas.openxmlformats.org/officeDocument/2006/relationships/image" Target="../media/image12.jpe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5.xml"/><Relationship Id="rId4" Type="http://schemas.openxmlformats.org/officeDocument/2006/relationships/chart" Target="../charts/chart1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0.xml"/><Relationship Id="rId5" Type="http://schemas.openxmlformats.org/officeDocument/2006/relationships/chart" Target="../charts/chart2.xml"/><Relationship Id="rId4" Type="http://schemas.openxmlformats.org/officeDocument/2006/relationships/image" Target="../media/image17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C8C8C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图片 3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-1333500"/>
            <a:ext cx="12192000" cy="9022080"/>
          </a:xfrm>
          <a:prstGeom prst="rect">
            <a:avLst/>
          </a:prstGeom>
        </p:spPr>
      </p:pic>
      <p:sp>
        <p:nvSpPr>
          <p:cNvPr id="6" name="矩形 5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SpPr/>
          <p:nvPr/>
        </p:nvSpPr>
        <p:spPr>
          <a:xfrm>
            <a:off x="10083800" y="0"/>
            <a:ext cx="596900" cy="723900"/>
          </a:xfrm>
          <a:prstGeom prst="rect">
            <a:avLst/>
          </a:prstGeom>
          <a:solidFill>
            <a:srgbClr val="002BF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latin typeface="Arial" panose="020B0604020202020204" pitchFamily="34" charset="0"/>
              <a:ea typeface="微软雅黑" panose="020B0503020204020204" pitchFamily="34" charset="-122"/>
              <a:cs typeface="思源黑体 CN Regular" panose="020B0500000000000000" charset="-122"/>
              <a:sym typeface="Arial" panose="020B0604020202020204" pitchFamily="34" charset="0"/>
            </a:endParaRPr>
          </a:p>
        </p:txBody>
      </p:sp>
      <p:sp>
        <p:nvSpPr>
          <p:cNvPr id="7" name="文本框 6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SpPr txBox="1"/>
          <p:nvPr/>
        </p:nvSpPr>
        <p:spPr>
          <a:xfrm>
            <a:off x="3102762" y="1092038"/>
            <a:ext cx="7982993" cy="2554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8000" b="1" dirty="0">
                <a:solidFill>
                  <a:schemeClr val="bg1"/>
                </a:solidFill>
                <a:latin typeface="Aharoni" pitchFamily="2" charset="-79"/>
                <a:ea typeface="微软雅黑" panose="020B0503020204020204" pitchFamily="34" charset="-122"/>
                <a:cs typeface="Aharoni" pitchFamily="2" charset="-79"/>
                <a:sym typeface="Arial" panose="020B0604020202020204" pitchFamily="34" charset="0"/>
              </a:rPr>
              <a:t>Free </a:t>
            </a:r>
          </a:p>
          <a:p>
            <a:r>
              <a:rPr lang="en-US" altLang="zh-CN" sz="8000" b="1" dirty="0">
                <a:solidFill>
                  <a:schemeClr val="bg1"/>
                </a:solidFill>
                <a:latin typeface="Aharoni" pitchFamily="2" charset="-79"/>
                <a:ea typeface="微软雅黑" panose="020B0503020204020204" pitchFamily="34" charset="-122"/>
                <a:cs typeface="Aharoni" pitchFamily="2" charset="-79"/>
                <a:sym typeface="Arial" panose="020B0604020202020204" pitchFamily="34" charset="0"/>
              </a:rPr>
              <a:t>PPT Templates</a:t>
            </a:r>
          </a:p>
        </p:txBody>
      </p:sp>
      <p:sp>
        <p:nvSpPr>
          <p:cNvPr id="9" name="Text Placeholder 4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SpPr txBox="1"/>
          <p:nvPr/>
        </p:nvSpPr>
        <p:spPr>
          <a:xfrm>
            <a:off x="3160047" y="3592032"/>
            <a:ext cx="6618654" cy="549661"/>
          </a:xfrm>
          <a:prstGeom prst="rect">
            <a:avLst/>
          </a:prstGeom>
          <a:ln>
            <a:noFill/>
          </a:ln>
        </p:spPr>
        <p:txBody>
          <a:bodyPr/>
          <a:lstStyle>
            <a:lvl1pPr marL="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8800" b="0" kern="1200">
                <a:solidFill>
                  <a:schemeClr val="bg1"/>
                </a:solidFill>
                <a:latin typeface="Levenim MT" panose="02010502060101010101" pitchFamily="2" charset="-79"/>
                <a:ea typeface="Yu Gothic" panose="020B0400000000000000" pitchFamily="34" charset="-128"/>
                <a:cs typeface="Levenim MT" panose="02010502060101010101" pitchFamily="2" charset="-79"/>
              </a:defRPr>
            </a:lvl1pPr>
            <a:lvl2pPr marL="742950" indent="-28575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dist"/>
            <a:r>
              <a:rPr lang="en-US" sz="2400" b="1" spc="-300" dirty="0">
                <a:latin typeface="Arial" panose="020B0604020202020204" pitchFamily="34" charset="0"/>
                <a:ea typeface="微软雅黑" panose="020B0503020204020204" pitchFamily="34" charset="-122"/>
                <a:cs typeface="等线" panose="02010600030101010101" charset="-122"/>
                <a:sym typeface="Arial" panose="020B0604020202020204" pitchFamily="34" charset="0"/>
              </a:rPr>
              <a:t>Insert the Subtitle of Your Presentation</a:t>
            </a:r>
          </a:p>
        </p:txBody>
      </p:sp>
      <p:sp>
        <p:nvSpPr>
          <p:cNvPr id="10" name="矩形 9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SpPr/>
          <p:nvPr/>
        </p:nvSpPr>
        <p:spPr>
          <a:xfrm>
            <a:off x="3732567" y="5119555"/>
            <a:ext cx="5160314" cy="443753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600">
              <a:latin typeface="Arial" panose="020B0604020202020204" pitchFamily="34" charset="0"/>
              <a:ea typeface="微软雅黑" panose="020B0503020204020204" pitchFamily="34" charset="-122"/>
              <a:cs typeface="思源黑体 CN Regular" panose="020B0500000000000000" charset="-122"/>
              <a:sym typeface="Arial" panose="020B0604020202020204" pitchFamily="34" charset="0"/>
            </a:endParaRPr>
          </a:p>
        </p:txBody>
      </p:sp>
      <p:sp>
        <p:nvSpPr>
          <p:cNvPr id="11" name="矩形 10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SpPr/>
          <p:nvPr/>
        </p:nvSpPr>
        <p:spPr>
          <a:xfrm>
            <a:off x="3278037" y="5119555"/>
            <a:ext cx="931653" cy="443753"/>
          </a:xfrm>
          <a:prstGeom prst="rect">
            <a:avLst/>
          </a:prstGeom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600">
              <a:latin typeface="Arial" panose="020B0604020202020204" pitchFamily="34" charset="0"/>
              <a:ea typeface="微软雅黑" panose="020B0503020204020204" pitchFamily="34" charset="-122"/>
              <a:cs typeface="思源黑体 CN Regular" panose="020B0500000000000000" charset="-122"/>
              <a:sym typeface="Arial" panose="020B0604020202020204" pitchFamily="34" charset="0"/>
            </a:endParaRPr>
          </a:p>
        </p:txBody>
      </p:sp>
      <p:sp>
        <p:nvSpPr>
          <p:cNvPr id="12" name="文本框 11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SpPr txBox="1"/>
          <p:nvPr/>
        </p:nvSpPr>
        <p:spPr>
          <a:xfrm>
            <a:off x="4390330" y="5172154"/>
            <a:ext cx="450255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1600" dirty="0">
                <a:solidFill>
                  <a:srgbClr val="0070C0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www.freeppt7.com</a:t>
            </a:r>
            <a:endParaRPr lang="zh-CN" altLang="en-US" sz="1600" dirty="0">
              <a:solidFill>
                <a:srgbClr val="0070C0"/>
              </a:solidFill>
              <a:latin typeface="Arial" panose="020B0604020202020204" pitchFamily="34" charset="0"/>
              <a:ea typeface="微软雅黑" panose="020B0503020204020204" pitchFamily="34" charset="-122"/>
              <a:cs typeface="思源黑体 CN Regular" panose="020B0500000000000000" charset="-122"/>
              <a:sym typeface="Arial" panose="020B0604020202020204" pitchFamily="34" charset="0"/>
            </a:endParaRPr>
          </a:p>
        </p:txBody>
      </p:sp>
      <p:sp>
        <p:nvSpPr>
          <p:cNvPr id="13" name="文本框 12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SpPr txBox="1"/>
          <p:nvPr/>
        </p:nvSpPr>
        <p:spPr>
          <a:xfrm>
            <a:off x="3284709" y="5172154"/>
            <a:ext cx="1035861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1600">
                <a:solidFill>
                  <a:schemeClr val="bg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rPr>
              <a:t>SEARCH</a:t>
            </a:r>
            <a:endParaRPr lang="zh-CN" altLang="en-US" sz="1600">
              <a:solidFill>
                <a:schemeClr val="bg1"/>
              </a:solidFill>
              <a:latin typeface="Arial" panose="020B0604020202020204" pitchFamily="34" charset="0"/>
              <a:ea typeface="微软雅黑" panose="020B0503020204020204" pitchFamily="34" charset="-122"/>
              <a:cs typeface="思源黑体 CN Regular" panose="020B0500000000000000" charset="-122"/>
              <a:sym typeface="Arial" panose="020B0604020202020204" pitchFamily="34" charset="0"/>
            </a:endParaRPr>
          </a:p>
        </p:txBody>
      </p:sp>
      <p:sp>
        <p:nvSpPr>
          <p:cNvPr id="14" name="Shape 3891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SpPr/>
          <p:nvPr/>
        </p:nvSpPr>
        <p:spPr>
          <a:xfrm>
            <a:off x="10245293" y="162829"/>
            <a:ext cx="279033" cy="279033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8429" y="14128"/>
                </a:moveTo>
                <a:cubicBezTo>
                  <a:pt x="17041" y="13430"/>
                  <a:pt x="15777" y="12523"/>
                  <a:pt x="14684" y="11440"/>
                </a:cubicBezTo>
                <a:cubicBezTo>
                  <a:pt x="15214" y="10618"/>
                  <a:pt x="15664" y="9739"/>
                  <a:pt x="16034" y="8820"/>
                </a:cubicBezTo>
                <a:cubicBezTo>
                  <a:pt x="16089" y="8826"/>
                  <a:pt x="16143" y="8836"/>
                  <a:pt x="16200" y="8836"/>
                </a:cubicBezTo>
                <a:cubicBezTo>
                  <a:pt x="17013" y="8836"/>
                  <a:pt x="17673" y="8178"/>
                  <a:pt x="17673" y="7364"/>
                </a:cubicBezTo>
                <a:cubicBezTo>
                  <a:pt x="17673" y="6787"/>
                  <a:pt x="17339" y="6295"/>
                  <a:pt x="16856" y="6052"/>
                </a:cubicBezTo>
                <a:cubicBezTo>
                  <a:pt x="17033" y="5170"/>
                  <a:pt x="17144" y="4264"/>
                  <a:pt x="17167" y="3336"/>
                </a:cubicBezTo>
                <a:cubicBezTo>
                  <a:pt x="19277" y="5136"/>
                  <a:pt x="20618" y="7809"/>
                  <a:pt x="20618" y="10800"/>
                </a:cubicBezTo>
                <a:cubicBezTo>
                  <a:pt x="20618" y="11764"/>
                  <a:pt x="20469" y="12690"/>
                  <a:pt x="20209" y="13568"/>
                </a:cubicBezTo>
                <a:cubicBezTo>
                  <a:pt x="19628" y="13783"/>
                  <a:pt x="19034" y="13971"/>
                  <a:pt x="18429" y="14128"/>
                </a:cubicBezTo>
                <a:moveTo>
                  <a:pt x="10800" y="20618"/>
                </a:moveTo>
                <a:cubicBezTo>
                  <a:pt x="8406" y="20618"/>
                  <a:pt x="6213" y="19759"/>
                  <a:pt x="4509" y="18335"/>
                </a:cubicBezTo>
                <a:cubicBezTo>
                  <a:pt x="6552" y="17934"/>
                  <a:pt x="8450" y="17135"/>
                  <a:pt x="10128" y="16031"/>
                </a:cubicBezTo>
                <a:cubicBezTo>
                  <a:pt x="10330" y="16136"/>
                  <a:pt x="10556" y="16200"/>
                  <a:pt x="10800" y="16200"/>
                </a:cubicBezTo>
                <a:cubicBezTo>
                  <a:pt x="11273" y="16200"/>
                  <a:pt x="11689" y="15974"/>
                  <a:pt x="11959" y="15627"/>
                </a:cubicBezTo>
                <a:cubicBezTo>
                  <a:pt x="12547" y="15680"/>
                  <a:pt x="13142" y="15709"/>
                  <a:pt x="13745" y="15709"/>
                </a:cubicBezTo>
                <a:cubicBezTo>
                  <a:pt x="15323" y="15709"/>
                  <a:pt x="16852" y="15508"/>
                  <a:pt x="18322" y="15156"/>
                </a:cubicBezTo>
                <a:cubicBezTo>
                  <a:pt x="18660" y="15317"/>
                  <a:pt x="18998" y="15480"/>
                  <a:pt x="19350" y="15618"/>
                </a:cubicBezTo>
                <a:cubicBezTo>
                  <a:pt x="17665" y="18601"/>
                  <a:pt x="14470" y="20618"/>
                  <a:pt x="10800" y="20618"/>
                </a:cubicBezTo>
                <a:moveTo>
                  <a:pt x="3539" y="17393"/>
                </a:moveTo>
                <a:cubicBezTo>
                  <a:pt x="3476" y="16840"/>
                  <a:pt x="3436" y="16280"/>
                  <a:pt x="3436" y="15709"/>
                </a:cubicBezTo>
                <a:cubicBezTo>
                  <a:pt x="3436" y="14764"/>
                  <a:pt x="3536" y="13842"/>
                  <a:pt x="3707" y="12946"/>
                </a:cubicBezTo>
                <a:cubicBezTo>
                  <a:pt x="5455" y="13988"/>
                  <a:pt x="7377" y="14767"/>
                  <a:pt x="9421" y="15227"/>
                </a:cubicBezTo>
                <a:cubicBezTo>
                  <a:pt x="9431" y="15254"/>
                  <a:pt x="9436" y="15282"/>
                  <a:pt x="9447" y="15308"/>
                </a:cubicBezTo>
                <a:cubicBezTo>
                  <a:pt x="7724" y="16421"/>
                  <a:pt x="5761" y="17193"/>
                  <a:pt x="3643" y="17507"/>
                </a:cubicBezTo>
                <a:cubicBezTo>
                  <a:pt x="3608" y="17469"/>
                  <a:pt x="3573" y="17430"/>
                  <a:pt x="3539" y="17393"/>
                </a:cubicBezTo>
                <a:moveTo>
                  <a:pt x="3075" y="11369"/>
                </a:moveTo>
                <a:cubicBezTo>
                  <a:pt x="2361" y="10869"/>
                  <a:pt x="1683" y="10322"/>
                  <a:pt x="1046" y="9729"/>
                </a:cubicBezTo>
                <a:cubicBezTo>
                  <a:pt x="1528" y="5299"/>
                  <a:pt x="4955" y="1762"/>
                  <a:pt x="9331" y="1104"/>
                </a:cubicBezTo>
                <a:cubicBezTo>
                  <a:pt x="9335" y="1629"/>
                  <a:pt x="9363" y="2148"/>
                  <a:pt x="9417" y="2660"/>
                </a:cubicBezTo>
                <a:cubicBezTo>
                  <a:pt x="8572" y="3227"/>
                  <a:pt x="7787" y="3879"/>
                  <a:pt x="7069" y="4597"/>
                </a:cubicBezTo>
                <a:cubicBezTo>
                  <a:pt x="6863" y="4486"/>
                  <a:pt x="6632" y="4418"/>
                  <a:pt x="6382" y="4418"/>
                </a:cubicBezTo>
                <a:cubicBezTo>
                  <a:pt x="5569" y="4418"/>
                  <a:pt x="4909" y="5078"/>
                  <a:pt x="4909" y="5891"/>
                </a:cubicBezTo>
                <a:cubicBezTo>
                  <a:pt x="4909" y="6236"/>
                  <a:pt x="5033" y="6549"/>
                  <a:pt x="5231" y="6800"/>
                </a:cubicBezTo>
                <a:cubicBezTo>
                  <a:pt x="4279" y="8179"/>
                  <a:pt x="3550" y="9719"/>
                  <a:pt x="3075" y="11369"/>
                </a:cubicBezTo>
                <a:moveTo>
                  <a:pt x="2466" y="15973"/>
                </a:moveTo>
                <a:cubicBezTo>
                  <a:pt x="1563" y="14521"/>
                  <a:pt x="1025" y="12821"/>
                  <a:pt x="989" y="10995"/>
                </a:cubicBezTo>
                <a:cubicBezTo>
                  <a:pt x="1570" y="11492"/>
                  <a:pt x="2180" y="11955"/>
                  <a:pt x="2817" y="12383"/>
                </a:cubicBezTo>
                <a:cubicBezTo>
                  <a:pt x="2585" y="13456"/>
                  <a:pt x="2455" y="14567"/>
                  <a:pt x="2455" y="15709"/>
                </a:cubicBezTo>
                <a:cubicBezTo>
                  <a:pt x="2455" y="15798"/>
                  <a:pt x="2464" y="15885"/>
                  <a:pt x="2466" y="15973"/>
                </a:cubicBezTo>
                <a:moveTo>
                  <a:pt x="13428" y="11540"/>
                </a:moveTo>
                <a:cubicBezTo>
                  <a:pt x="12907" y="12264"/>
                  <a:pt x="12315" y="12931"/>
                  <a:pt x="11674" y="13548"/>
                </a:cubicBezTo>
                <a:cubicBezTo>
                  <a:pt x="11429" y="13366"/>
                  <a:pt x="11129" y="13255"/>
                  <a:pt x="10800" y="13255"/>
                </a:cubicBezTo>
                <a:cubicBezTo>
                  <a:pt x="10166" y="13255"/>
                  <a:pt x="9631" y="13657"/>
                  <a:pt x="9423" y="14218"/>
                </a:cubicBezTo>
                <a:cubicBezTo>
                  <a:pt x="7455" y="13751"/>
                  <a:pt x="5607" y="12974"/>
                  <a:pt x="3936" y="11937"/>
                </a:cubicBezTo>
                <a:cubicBezTo>
                  <a:pt x="4379" y="10266"/>
                  <a:pt x="5100" y="8709"/>
                  <a:pt x="6060" y="7326"/>
                </a:cubicBezTo>
                <a:cubicBezTo>
                  <a:pt x="6164" y="7349"/>
                  <a:pt x="6271" y="7364"/>
                  <a:pt x="6382" y="7364"/>
                </a:cubicBezTo>
                <a:cubicBezTo>
                  <a:pt x="7195" y="7364"/>
                  <a:pt x="7855" y="6705"/>
                  <a:pt x="7855" y="5891"/>
                </a:cubicBezTo>
                <a:cubicBezTo>
                  <a:pt x="7855" y="5688"/>
                  <a:pt x="7813" y="5494"/>
                  <a:pt x="7739" y="5318"/>
                </a:cubicBezTo>
                <a:cubicBezTo>
                  <a:pt x="8307" y="4747"/>
                  <a:pt x="8920" y="4221"/>
                  <a:pt x="9575" y="3749"/>
                </a:cubicBezTo>
                <a:cubicBezTo>
                  <a:pt x="10104" y="6723"/>
                  <a:pt x="11479" y="9397"/>
                  <a:pt x="13428" y="11540"/>
                </a:cubicBezTo>
                <a:moveTo>
                  <a:pt x="10800" y="982"/>
                </a:moveTo>
                <a:cubicBezTo>
                  <a:pt x="11347" y="982"/>
                  <a:pt x="11881" y="1038"/>
                  <a:pt x="12403" y="1125"/>
                </a:cubicBezTo>
                <a:cubicBezTo>
                  <a:pt x="11696" y="1401"/>
                  <a:pt x="11005" y="1708"/>
                  <a:pt x="10354" y="2082"/>
                </a:cubicBezTo>
                <a:cubicBezTo>
                  <a:pt x="10328" y="1726"/>
                  <a:pt x="10311" y="1368"/>
                  <a:pt x="10310" y="1007"/>
                </a:cubicBezTo>
                <a:cubicBezTo>
                  <a:pt x="10474" y="999"/>
                  <a:pt x="10635" y="982"/>
                  <a:pt x="10800" y="982"/>
                </a:cubicBezTo>
                <a:moveTo>
                  <a:pt x="14120" y="12262"/>
                </a:moveTo>
                <a:cubicBezTo>
                  <a:pt x="14982" y="13097"/>
                  <a:pt x="15950" y="13819"/>
                  <a:pt x="16986" y="14440"/>
                </a:cubicBezTo>
                <a:cubicBezTo>
                  <a:pt x="15933" y="14626"/>
                  <a:pt x="14852" y="14727"/>
                  <a:pt x="13745" y="14727"/>
                </a:cubicBezTo>
                <a:cubicBezTo>
                  <a:pt x="13246" y="14727"/>
                  <a:pt x="12754" y="14702"/>
                  <a:pt x="12265" y="14664"/>
                </a:cubicBezTo>
                <a:cubicBezTo>
                  <a:pt x="12259" y="14569"/>
                  <a:pt x="12250" y="14475"/>
                  <a:pt x="12229" y="14386"/>
                </a:cubicBezTo>
                <a:cubicBezTo>
                  <a:pt x="12921" y="13737"/>
                  <a:pt x="13555" y="13027"/>
                  <a:pt x="14120" y="12262"/>
                </a:cubicBezTo>
                <a:moveTo>
                  <a:pt x="16188" y="2597"/>
                </a:moveTo>
                <a:cubicBezTo>
                  <a:pt x="16191" y="2713"/>
                  <a:pt x="16200" y="2828"/>
                  <a:pt x="16200" y="2945"/>
                </a:cubicBezTo>
                <a:cubicBezTo>
                  <a:pt x="16200" y="3967"/>
                  <a:pt x="16092" y="4962"/>
                  <a:pt x="15894" y="5924"/>
                </a:cubicBezTo>
                <a:cubicBezTo>
                  <a:pt x="15227" y="6065"/>
                  <a:pt x="14727" y="6656"/>
                  <a:pt x="14727" y="7364"/>
                </a:cubicBezTo>
                <a:cubicBezTo>
                  <a:pt x="14727" y="7765"/>
                  <a:pt x="14888" y="8128"/>
                  <a:pt x="15149" y="8393"/>
                </a:cubicBezTo>
                <a:cubicBezTo>
                  <a:pt x="14827" y="9199"/>
                  <a:pt x="14443" y="9974"/>
                  <a:pt x="13991" y="10701"/>
                </a:cubicBezTo>
                <a:cubicBezTo>
                  <a:pt x="12159" y="8620"/>
                  <a:pt x="10894" y="6025"/>
                  <a:pt x="10469" y="3152"/>
                </a:cubicBezTo>
                <a:cubicBezTo>
                  <a:pt x="11590" y="2463"/>
                  <a:pt x="12813" y="1934"/>
                  <a:pt x="14106" y="1565"/>
                </a:cubicBezTo>
                <a:cubicBezTo>
                  <a:pt x="14844" y="1829"/>
                  <a:pt x="15544" y="2174"/>
                  <a:pt x="16188" y="2597"/>
                </a:cubicBezTo>
                <a:moveTo>
                  <a:pt x="10800" y="0"/>
                </a:moveTo>
                <a:cubicBezTo>
                  <a:pt x="4835" y="0"/>
                  <a:pt x="0" y="4835"/>
                  <a:pt x="0" y="10800"/>
                </a:cubicBezTo>
                <a:cubicBezTo>
                  <a:pt x="0" y="16765"/>
                  <a:pt x="4835" y="21600"/>
                  <a:pt x="10800" y="21600"/>
                </a:cubicBezTo>
                <a:cubicBezTo>
                  <a:pt x="16765" y="21600"/>
                  <a:pt x="21600" y="16765"/>
                  <a:pt x="21600" y="10800"/>
                </a:cubicBezTo>
                <a:cubicBezTo>
                  <a:pt x="21600" y="4835"/>
                  <a:pt x="16765" y="0"/>
                  <a:pt x="10800" y="0"/>
                </a:cubicBezTo>
              </a:path>
            </a:pathLst>
          </a:custGeom>
          <a:solidFill>
            <a:schemeClr val="bg1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endParaRPr>
              <a:solidFill>
                <a:prstClr val="black"/>
              </a:solidFill>
              <a:latin typeface="Arial" panose="020B0604020202020204" pitchFamily="34" charset="0"/>
              <a:ea typeface="微软雅黑" panose="020B0503020204020204" pitchFamily="34" charset="-122"/>
              <a:cs typeface="思源黑体 CN Regular" panose="020B0500000000000000" charset="-122"/>
              <a:sym typeface="Arial" panose="020B0604020202020204" pitchFamily="34" charset="0"/>
            </a:endParaRPr>
          </a:p>
        </p:txBody>
      </p:sp>
      <p:sp>
        <p:nvSpPr>
          <p:cNvPr id="2" name="文本框 1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SpPr txBox="1"/>
          <p:nvPr/>
        </p:nvSpPr>
        <p:spPr>
          <a:xfrm>
            <a:off x="10100734" y="448734"/>
            <a:ext cx="572593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1050">
                <a:solidFill>
                  <a:schemeClr val="bg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rPr>
              <a:t>LOGO</a:t>
            </a:r>
            <a:endParaRPr lang="zh-CN" altLang="en-US" sz="1050">
              <a:solidFill>
                <a:schemeClr val="bg1"/>
              </a:solidFill>
              <a:latin typeface="Arial" panose="020B0604020202020204" pitchFamily="34" charset="0"/>
              <a:ea typeface="微软雅黑" panose="020B0503020204020204" pitchFamily="34" charset="-122"/>
              <a:cs typeface="思源黑体 CN Regular" panose="020B0500000000000000" charset="-122"/>
              <a:sym typeface="Arial" panose="020B0604020202020204" pitchFamily="34" charset="0"/>
            </a:endParaRPr>
          </a:p>
        </p:txBody>
      </p:sp>
      <p:sp>
        <p:nvSpPr>
          <p:cNvPr id="3" name="e7d195523061f1c0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 hidden="1"/>
          <p:cNvSpPr txBox="1"/>
          <p:nvPr/>
        </p:nvSpPr>
        <p:spPr>
          <a:xfrm>
            <a:off x="-355600" y="1803400"/>
            <a:ext cx="284693" cy="1016000"/>
          </a:xfrm>
          <a:prstGeom prst="rect">
            <a:avLst/>
          </a:prstGeom>
          <a:noFill/>
        </p:spPr>
        <p:txBody>
          <a:bodyPr vert="wordArtVert" rtlCol="0">
            <a:spAutoFit/>
          </a:bodyPr>
          <a:lstStyle/>
          <a:p>
            <a:r>
              <a:rPr lang="en-US" altLang="zh-CN" sz="100"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rPr>
              <a:t>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</a:t>
            </a:r>
            <a:endParaRPr lang="zh-CN" altLang="en-US" sz="100">
              <a:latin typeface="Arial" panose="020B0604020202020204" pitchFamily="34" charset="0"/>
              <a:ea typeface="微软雅黑" panose="020B0503020204020204" pitchFamily="34" charset="-122"/>
              <a:cs typeface="思源黑体 CN Regular" panose="020B0500000000000000" charset="-122"/>
              <a:sym typeface="Arial" panose="020B0604020202020204" pitchFamily="34" charset="0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000">
        <p14:shred/>
      </p:transition>
    </mc:Choice>
    <mc:Fallback xmlns:p159="http://schemas.microsoft.com/office/powerpoint/2015/09/main" xmlns:p15="http://schemas.microsoft.com/office/powerpoint/2012/main" xmlns:a14="http://schemas.microsoft.com/office/drawing/2010/main" xmlns:wp="http://schemas.openxmlformats.org/drawingml/2006/wordprocessingDrawing" xmlns:w="http://schemas.openxmlformats.org/wordprocessingml/2006/main" xmlns:m="http://schemas.openxmlformats.org/officeDocument/2006/math"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5" dur="5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vertical)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 nodeType="clickPar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6" presetClass="entr" presetSubtype="21" dur="50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2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6" presetClass="entr" presetSubtype="21" dur="5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5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6" presetClass="entr" presetSubtype="21" dur="5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8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 nodeType="clickPar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0" presetClass="entr" presetSubtype="0" dur="50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dur="5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 nodeType="clickPar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0" presetClass="entr" presetSubtype="0" dur="50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dur="5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10" presetClass="entr" presetSubtype="0" dur="5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10" presetClass="entr" presetSubtype="0" dur="5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7" grpId="0"/>
      <p:bldP spid="9" grpId="0"/>
      <p:bldP spid="10" grpId="0" animBg="1"/>
      <p:bldP spid="11" grpId="0" animBg="1"/>
      <p:bldP spid="12" grpId="0"/>
      <p:bldP spid="13" grpId="0"/>
      <p:bldP spid="14" grpId="0" animBg="1"/>
      <p:bldP spid="2" grpId="0"/>
    </p:bld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矩形 8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SpPr/>
          <p:nvPr/>
        </p:nvSpPr>
        <p:spPr>
          <a:xfrm>
            <a:off x="11071352" y="0"/>
            <a:ext cx="596900" cy="723900"/>
          </a:xfrm>
          <a:prstGeom prst="rect">
            <a:avLst/>
          </a:prstGeom>
          <a:solidFill>
            <a:srgbClr val="002BF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latin typeface="Arial" panose="020B0604020202020204" pitchFamily="34" charset="0"/>
              <a:ea typeface="微软雅黑" panose="020B0503020204020204" pitchFamily="34" charset="-122"/>
              <a:cs typeface="思源黑体 CN Regular" panose="020B0500000000000000" charset="-122"/>
              <a:sym typeface="Arial" panose="020B0604020202020204" pitchFamily="34" charset="0"/>
            </a:endParaRPr>
          </a:p>
        </p:txBody>
      </p:sp>
      <p:sp>
        <p:nvSpPr>
          <p:cNvPr id="10" name="Shape 3891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SpPr/>
          <p:nvPr/>
        </p:nvSpPr>
        <p:spPr>
          <a:xfrm>
            <a:off x="11232845" y="162829"/>
            <a:ext cx="279033" cy="279033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8429" y="14128"/>
                </a:moveTo>
                <a:cubicBezTo>
                  <a:pt x="17041" y="13430"/>
                  <a:pt x="15777" y="12523"/>
                  <a:pt x="14684" y="11440"/>
                </a:cubicBezTo>
                <a:cubicBezTo>
                  <a:pt x="15214" y="10618"/>
                  <a:pt x="15664" y="9739"/>
                  <a:pt x="16034" y="8820"/>
                </a:cubicBezTo>
                <a:cubicBezTo>
                  <a:pt x="16089" y="8826"/>
                  <a:pt x="16143" y="8836"/>
                  <a:pt x="16200" y="8836"/>
                </a:cubicBezTo>
                <a:cubicBezTo>
                  <a:pt x="17013" y="8836"/>
                  <a:pt x="17673" y="8178"/>
                  <a:pt x="17673" y="7364"/>
                </a:cubicBezTo>
                <a:cubicBezTo>
                  <a:pt x="17673" y="6787"/>
                  <a:pt x="17339" y="6295"/>
                  <a:pt x="16856" y="6052"/>
                </a:cubicBezTo>
                <a:cubicBezTo>
                  <a:pt x="17033" y="5170"/>
                  <a:pt x="17144" y="4264"/>
                  <a:pt x="17167" y="3336"/>
                </a:cubicBezTo>
                <a:cubicBezTo>
                  <a:pt x="19277" y="5136"/>
                  <a:pt x="20618" y="7809"/>
                  <a:pt x="20618" y="10800"/>
                </a:cubicBezTo>
                <a:cubicBezTo>
                  <a:pt x="20618" y="11764"/>
                  <a:pt x="20469" y="12690"/>
                  <a:pt x="20209" y="13568"/>
                </a:cubicBezTo>
                <a:cubicBezTo>
                  <a:pt x="19628" y="13783"/>
                  <a:pt x="19034" y="13971"/>
                  <a:pt x="18429" y="14128"/>
                </a:cubicBezTo>
                <a:moveTo>
                  <a:pt x="10800" y="20618"/>
                </a:moveTo>
                <a:cubicBezTo>
                  <a:pt x="8406" y="20618"/>
                  <a:pt x="6213" y="19759"/>
                  <a:pt x="4509" y="18335"/>
                </a:cubicBezTo>
                <a:cubicBezTo>
                  <a:pt x="6552" y="17934"/>
                  <a:pt x="8450" y="17135"/>
                  <a:pt x="10128" y="16031"/>
                </a:cubicBezTo>
                <a:cubicBezTo>
                  <a:pt x="10330" y="16136"/>
                  <a:pt x="10556" y="16200"/>
                  <a:pt x="10800" y="16200"/>
                </a:cubicBezTo>
                <a:cubicBezTo>
                  <a:pt x="11273" y="16200"/>
                  <a:pt x="11689" y="15974"/>
                  <a:pt x="11959" y="15627"/>
                </a:cubicBezTo>
                <a:cubicBezTo>
                  <a:pt x="12547" y="15680"/>
                  <a:pt x="13142" y="15709"/>
                  <a:pt x="13745" y="15709"/>
                </a:cubicBezTo>
                <a:cubicBezTo>
                  <a:pt x="15323" y="15709"/>
                  <a:pt x="16852" y="15508"/>
                  <a:pt x="18322" y="15156"/>
                </a:cubicBezTo>
                <a:cubicBezTo>
                  <a:pt x="18660" y="15317"/>
                  <a:pt x="18998" y="15480"/>
                  <a:pt x="19350" y="15618"/>
                </a:cubicBezTo>
                <a:cubicBezTo>
                  <a:pt x="17665" y="18601"/>
                  <a:pt x="14470" y="20618"/>
                  <a:pt x="10800" y="20618"/>
                </a:cubicBezTo>
                <a:moveTo>
                  <a:pt x="3539" y="17393"/>
                </a:moveTo>
                <a:cubicBezTo>
                  <a:pt x="3476" y="16840"/>
                  <a:pt x="3436" y="16280"/>
                  <a:pt x="3436" y="15709"/>
                </a:cubicBezTo>
                <a:cubicBezTo>
                  <a:pt x="3436" y="14764"/>
                  <a:pt x="3536" y="13842"/>
                  <a:pt x="3707" y="12946"/>
                </a:cubicBezTo>
                <a:cubicBezTo>
                  <a:pt x="5455" y="13988"/>
                  <a:pt x="7377" y="14767"/>
                  <a:pt x="9421" y="15227"/>
                </a:cubicBezTo>
                <a:cubicBezTo>
                  <a:pt x="9431" y="15254"/>
                  <a:pt x="9436" y="15282"/>
                  <a:pt x="9447" y="15308"/>
                </a:cubicBezTo>
                <a:cubicBezTo>
                  <a:pt x="7724" y="16421"/>
                  <a:pt x="5761" y="17193"/>
                  <a:pt x="3643" y="17507"/>
                </a:cubicBezTo>
                <a:cubicBezTo>
                  <a:pt x="3608" y="17469"/>
                  <a:pt x="3573" y="17430"/>
                  <a:pt x="3539" y="17393"/>
                </a:cubicBezTo>
                <a:moveTo>
                  <a:pt x="3075" y="11369"/>
                </a:moveTo>
                <a:cubicBezTo>
                  <a:pt x="2361" y="10869"/>
                  <a:pt x="1683" y="10322"/>
                  <a:pt x="1046" y="9729"/>
                </a:cubicBezTo>
                <a:cubicBezTo>
                  <a:pt x="1528" y="5299"/>
                  <a:pt x="4955" y="1762"/>
                  <a:pt x="9331" y="1104"/>
                </a:cubicBezTo>
                <a:cubicBezTo>
                  <a:pt x="9335" y="1629"/>
                  <a:pt x="9363" y="2148"/>
                  <a:pt x="9417" y="2660"/>
                </a:cubicBezTo>
                <a:cubicBezTo>
                  <a:pt x="8572" y="3227"/>
                  <a:pt x="7787" y="3879"/>
                  <a:pt x="7069" y="4597"/>
                </a:cubicBezTo>
                <a:cubicBezTo>
                  <a:pt x="6863" y="4486"/>
                  <a:pt x="6632" y="4418"/>
                  <a:pt x="6382" y="4418"/>
                </a:cubicBezTo>
                <a:cubicBezTo>
                  <a:pt x="5569" y="4418"/>
                  <a:pt x="4909" y="5078"/>
                  <a:pt x="4909" y="5891"/>
                </a:cubicBezTo>
                <a:cubicBezTo>
                  <a:pt x="4909" y="6236"/>
                  <a:pt x="5033" y="6549"/>
                  <a:pt x="5231" y="6800"/>
                </a:cubicBezTo>
                <a:cubicBezTo>
                  <a:pt x="4279" y="8179"/>
                  <a:pt x="3550" y="9719"/>
                  <a:pt x="3075" y="11369"/>
                </a:cubicBezTo>
                <a:moveTo>
                  <a:pt x="2466" y="15973"/>
                </a:moveTo>
                <a:cubicBezTo>
                  <a:pt x="1563" y="14521"/>
                  <a:pt x="1025" y="12821"/>
                  <a:pt x="989" y="10995"/>
                </a:cubicBezTo>
                <a:cubicBezTo>
                  <a:pt x="1570" y="11492"/>
                  <a:pt x="2180" y="11955"/>
                  <a:pt x="2817" y="12383"/>
                </a:cubicBezTo>
                <a:cubicBezTo>
                  <a:pt x="2585" y="13456"/>
                  <a:pt x="2455" y="14567"/>
                  <a:pt x="2455" y="15709"/>
                </a:cubicBezTo>
                <a:cubicBezTo>
                  <a:pt x="2455" y="15798"/>
                  <a:pt x="2464" y="15885"/>
                  <a:pt x="2466" y="15973"/>
                </a:cubicBezTo>
                <a:moveTo>
                  <a:pt x="13428" y="11540"/>
                </a:moveTo>
                <a:cubicBezTo>
                  <a:pt x="12907" y="12264"/>
                  <a:pt x="12315" y="12931"/>
                  <a:pt x="11674" y="13548"/>
                </a:cubicBezTo>
                <a:cubicBezTo>
                  <a:pt x="11429" y="13366"/>
                  <a:pt x="11129" y="13255"/>
                  <a:pt x="10800" y="13255"/>
                </a:cubicBezTo>
                <a:cubicBezTo>
                  <a:pt x="10166" y="13255"/>
                  <a:pt x="9631" y="13657"/>
                  <a:pt x="9423" y="14218"/>
                </a:cubicBezTo>
                <a:cubicBezTo>
                  <a:pt x="7455" y="13751"/>
                  <a:pt x="5607" y="12974"/>
                  <a:pt x="3936" y="11937"/>
                </a:cubicBezTo>
                <a:cubicBezTo>
                  <a:pt x="4379" y="10266"/>
                  <a:pt x="5100" y="8709"/>
                  <a:pt x="6060" y="7326"/>
                </a:cubicBezTo>
                <a:cubicBezTo>
                  <a:pt x="6164" y="7349"/>
                  <a:pt x="6271" y="7364"/>
                  <a:pt x="6382" y="7364"/>
                </a:cubicBezTo>
                <a:cubicBezTo>
                  <a:pt x="7195" y="7364"/>
                  <a:pt x="7855" y="6705"/>
                  <a:pt x="7855" y="5891"/>
                </a:cubicBezTo>
                <a:cubicBezTo>
                  <a:pt x="7855" y="5688"/>
                  <a:pt x="7813" y="5494"/>
                  <a:pt x="7739" y="5318"/>
                </a:cubicBezTo>
                <a:cubicBezTo>
                  <a:pt x="8307" y="4747"/>
                  <a:pt x="8920" y="4221"/>
                  <a:pt x="9575" y="3749"/>
                </a:cubicBezTo>
                <a:cubicBezTo>
                  <a:pt x="10104" y="6723"/>
                  <a:pt x="11479" y="9397"/>
                  <a:pt x="13428" y="11540"/>
                </a:cubicBezTo>
                <a:moveTo>
                  <a:pt x="10800" y="982"/>
                </a:moveTo>
                <a:cubicBezTo>
                  <a:pt x="11347" y="982"/>
                  <a:pt x="11881" y="1038"/>
                  <a:pt x="12403" y="1125"/>
                </a:cubicBezTo>
                <a:cubicBezTo>
                  <a:pt x="11696" y="1401"/>
                  <a:pt x="11005" y="1708"/>
                  <a:pt x="10354" y="2082"/>
                </a:cubicBezTo>
                <a:cubicBezTo>
                  <a:pt x="10328" y="1726"/>
                  <a:pt x="10311" y="1368"/>
                  <a:pt x="10310" y="1007"/>
                </a:cubicBezTo>
                <a:cubicBezTo>
                  <a:pt x="10474" y="999"/>
                  <a:pt x="10635" y="982"/>
                  <a:pt x="10800" y="982"/>
                </a:cubicBezTo>
                <a:moveTo>
                  <a:pt x="14120" y="12262"/>
                </a:moveTo>
                <a:cubicBezTo>
                  <a:pt x="14982" y="13097"/>
                  <a:pt x="15950" y="13819"/>
                  <a:pt x="16986" y="14440"/>
                </a:cubicBezTo>
                <a:cubicBezTo>
                  <a:pt x="15933" y="14626"/>
                  <a:pt x="14852" y="14727"/>
                  <a:pt x="13745" y="14727"/>
                </a:cubicBezTo>
                <a:cubicBezTo>
                  <a:pt x="13246" y="14727"/>
                  <a:pt x="12754" y="14702"/>
                  <a:pt x="12265" y="14664"/>
                </a:cubicBezTo>
                <a:cubicBezTo>
                  <a:pt x="12259" y="14569"/>
                  <a:pt x="12250" y="14475"/>
                  <a:pt x="12229" y="14386"/>
                </a:cubicBezTo>
                <a:cubicBezTo>
                  <a:pt x="12921" y="13737"/>
                  <a:pt x="13555" y="13027"/>
                  <a:pt x="14120" y="12262"/>
                </a:cubicBezTo>
                <a:moveTo>
                  <a:pt x="16188" y="2597"/>
                </a:moveTo>
                <a:cubicBezTo>
                  <a:pt x="16191" y="2713"/>
                  <a:pt x="16200" y="2828"/>
                  <a:pt x="16200" y="2945"/>
                </a:cubicBezTo>
                <a:cubicBezTo>
                  <a:pt x="16200" y="3967"/>
                  <a:pt x="16092" y="4962"/>
                  <a:pt x="15894" y="5924"/>
                </a:cubicBezTo>
                <a:cubicBezTo>
                  <a:pt x="15227" y="6065"/>
                  <a:pt x="14727" y="6656"/>
                  <a:pt x="14727" y="7364"/>
                </a:cubicBezTo>
                <a:cubicBezTo>
                  <a:pt x="14727" y="7765"/>
                  <a:pt x="14888" y="8128"/>
                  <a:pt x="15149" y="8393"/>
                </a:cubicBezTo>
                <a:cubicBezTo>
                  <a:pt x="14827" y="9199"/>
                  <a:pt x="14443" y="9974"/>
                  <a:pt x="13991" y="10701"/>
                </a:cubicBezTo>
                <a:cubicBezTo>
                  <a:pt x="12159" y="8620"/>
                  <a:pt x="10894" y="6025"/>
                  <a:pt x="10469" y="3152"/>
                </a:cubicBezTo>
                <a:cubicBezTo>
                  <a:pt x="11590" y="2463"/>
                  <a:pt x="12813" y="1934"/>
                  <a:pt x="14106" y="1565"/>
                </a:cubicBezTo>
                <a:cubicBezTo>
                  <a:pt x="14844" y="1829"/>
                  <a:pt x="15544" y="2174"/>
                  <a:pt x="16188" y="2597"/>
                </a:cubicBezTo>
                <a:moveTo>
                  <a:pt x="10800" y="0"/>
                </a:moveTo>
                <a:cubicBezTo>
                  <a:pt x="4835" y="0"/>
                  <a:pt x="0" y="4835"/>
                  <a:pt x="0" y="10800"/>
                </a:cubicBezTo>
                <a:cubicBezTo>
                  <a:pt x="0" y="16765"/>
                  <a:pt x="4835" y="21600"/>
                  <a:pt x="10800" y="21600"/>
                </a:cubicBezTo>
                <a:cubicBezTo>
                  <a:pt x="16765" y="21600"/>
                  <a:pt x="21600" y="16765"/>
                  <a:pt x="21600" y="10800"/>
                </a:cubicBezTo>
                <a:cubicBezTo>
                  <a:pt x="21600" y="4835"/>
                  <a:pt x="16765" y="0"/>
                  <a:pt x="10800" y="0"/>
                </a:cubicBezTo>
              </a:path>
            </a:pathLst>
          </a:custGeom>
          <a:solidFill>
            <a:schemeClr val="bg1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endParaRPr>
              <a:solidFill>
                <a:prstClr val="black"/>
              </a:solidFill>
              <a:latin typeface="Arial" panose="020B0604020202020204" pitchFamily="34" charset="0"/>
              <a:ea typeface="微软雅黑" panose="020B0503020204020204" pitchFamily="34" charset="-122"/>
              <a:cs typeface="思源黑体 CN Regular" panose="020B0500000000000000" charset="-122"/>
              <a:sym typeface="Arial" panose="020B0604020202020204" pitchFamily="34" charset="0"/>
            </a:endParaRPr>
          </a:p>
        </p:txBody>
      </p:sp>
      <p:sp>
        <p:nvSpPr>
          <p:cNvPr id="11" name="文本框 10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SpPr txBox="1"/>
          <p:nvPr/>
        </p:nvSpPr>
        <p:spPr>
          <a:xfrm>
            <a:off x="11088286" y="448734"/>
            <a:ext cx="572593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1050">
                <a:solidFill>
                  <a:schemeClr val="bg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rPr>
              <a:t>LOGO</a:t>
            </a:r>
            <a:endParaRPr lang="zh-CN" altLang="en-US" sz="1050">
              <a:solidFill>
                <a:schemeClr val="bg1"/>
              </a:solidFill>
              <a:latin typeface="Arial" panose="020B0604020202020204" pitchFamily="34" charset="0"/>
              <a:ea typeface="微软雅黑" panose="020B0503020204020204" pitchFamily="34" charset="-122"/>
              <a:cs typeface="思源黑体 CN Regular" panose="020B0500000000000000" charset="-122"/>
              <a:sym typeface="Arial" panose="020B0604020202020204" pitchFamily="34" charset="0"/>
            </a:endParaRPr>
          </a:p>
        </p:txBody>
      </p:sp>
      <p:pic>
        <p:nvPicPr>
          <p:cNvPr id="14" name="图片 13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-407456"/>
            <a:ext cx="11228832" cy="7971008"/>
          </a:xfrm>
          <a:prstGeom prst="rect">
            <a:avLst/>
          </a:prstGeom>
        </p:spPr>
      </p:pic>
      <p:sp>
        <p:nvSpPr>
          <p:cNvPr id="3" name="文本框 2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SpPr txBox="1"/>
          <p:nvPr/>
        </p:nvSpPr>
        <p:spPr>
          <a:xfrm>
            <a:off x="2643380" y="2921168"/>
            <a:ext cx="5147308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4800"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rPr>
              <a:t>PART TWO</a:t>
            </a:r>
          </a:p>
        </p:txBody>
      </p:sp>
      <p:sp>
        <p:nvSpPr>
          <p:cNvPr id="7" name="文本框 6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SpPr txBox="1"/>
          <p:nvPr/>
        </p:nvSpPr>
        <p:spPr>
          <a:xfrm>
            <a:off x="2706624" y="3635079"/>
            <a:ext cx="3182112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dist"/>
            <a:r>
              <a:rPr lang="en-US" altLang="zh-CN" sz="1050"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rPr>
              <a:t>THE MODERN PRESENTATION</a:t>
            </a:r>
            <a:endParaRPr lang="zh-CN" altLang="en-US" sz="1050">
              <a:latin typeface="Arial" panose="020B0604020202020204" pitchFamily="34" charset="0"/>
              <a:ea typeface="微软雅黑" panose="020B0503020204020204" pitchFamily="34" charset="-122"/>
              <a:cs typeface="思源黑体 CN Regular" panose="020B0500000000000000" charset="-122"/>
              <a:sym typeface="Arial" panose="020B0604020202020204" pitchFamily="34" charset="0"/>
            </a:endParaRPr>
          </a:p>
        </p:txBody>
      </p:sp>
      <p:sp>
        <p:nvSpPr>
          <p:cNvPr id="8" name="文本框 7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SpPr txBox="1"/>
          <p:nvPr/>
        </p:nvSpPr>
        <p:spPr>
          <a:xfrm>
            <a:off x="3840480" y="2763351"/>
            <a:ext cx="987552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dist"/>
            <a:r>
              <a:rPr lang="en-US" altLang="zh-CN" sz="1100">
                <a:solidFill>
                  <a:schemeClr val="tx2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rPr>
              <a:t>WORKS</a:t>
            </a:r>
            <a:endParaRPr lang="zh-CN" altLang="en-US" sz="1100">
              <a:solidFill>
                <a:schemeClr val="tx2"/>
              </a:solidFill>
              <a:latin typeface="Arial" panose="020B0604020202020204" pitchFamily="34" charset="0"/>
              <a:ea typeface="微软雅黑" panose="020B0503020204020204" pitchFamily="34" charset="-122"/>
              <a:cs typeface="思源黑体 CN Regular" panose="020B0500000000000000" charset="-122"/>
              <a:sym typeface="Arial" panose="020B0604020202020204" pitchFamily="34" charset="0"/>
            </a:endParaRPr>
          </a:p>
        </p:txBody>
      </p:sp>
      <p:sp>
        <p:nvSpPr>
          <p:cNvPr id="12" name="矩形 11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SpPr/>
          <p:nvPr/>
        </p:nvSpPr>
        <p:spPr>
          <a:xfrm>
            <a:off x="3855352" y="4266015"/>
            <a:ext cx="954392" cy="265176"/>
          </a:xfrm>
          <a:prstGeom prst="rect">
            <a:avLst/>
          </a:prstGeom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600">
              <a:latin typeface="Arial" panose="020B0604020202020204" pitchFamily="34" charset="0"/>
              <a:ea typeface="微软雅黑" panose="020B0503020204020204" pitchFamily="34" charset="-122"/>
              <a:cs typeface="思源黑体 CN Regular" panose="020B0500000000000000" charset="-122"/>
              <a:sym typeface="Arial" panose="020B0604020202020204" pitchFamily="34" charset="0"/>
            </a:endParaRPr>
          </a:p>
        </p:txBody>
      </p:sp>
      <p:sp>
        <p:nvSpPr>
          <p:cNvPr id="13" name="文本框 12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SpPr txBox="1"/>
          <p:nvPr/>
        </p:nvSpPr>
        <p:spPr>
          <a:xfrm>
            <a:off x="3992880" y="4270487"/>
            <a:ext cx="87172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200">
                <a:solidFill>
                  <a:schemeClr val="bg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rPr>
              <a:t>START</a:t>
            </a:r>
            <a:r>
              <a:rPr lang="zh-CN" altLang="en-US" sz="1200">
                <a:solidFill>
                  <a:schemeClr val="bg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rPr>
              <a:t>→</a:t>
            </a:r>
          </a:p>
        </p:txBody>
      </p:sp>
      <p:sp>
        <p:nvSpPr>
          <p:cNvPr id="4" name="e7d195523061f1c0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 hidden="1"/>
          <p:cNvSpPr txBox="1"/>
          <p:nvPr/>
        </p:nvSpPr>
        <p:spPr>
          <a:xfrm>
            <a:off x="-355600" y="1803400"/>
            <a:ext cx="284693" cy="1016000"/>
          </a:xfrm>
          <a:prstGeom prst="rect">
            <a:avLst/>
          </a:prstGeom>
          <a:noFill/>
        </p:spPr>
        <p:txBody>
          <a:bodyPr vert="wordArtVert" rtlCol="0">
            <a:spAutoFit/>
          </a:bodyPr>
          <a:lstStyle/>
          <a:p>
            <a:r>
              <a:rPr lang="en-US" altLang="zh-CN" sz="100"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rPr>
              <a:t>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</a:t>
            </a:r>
            <a:endParaRPr lang="zh-CN" altLang="en-US" sz="100">
              <a:latin typeface="Arial" panose="020B0604020202020204" pitchFamily="34" charset="0"/>
              <a:ea typeface="微软雅黑" panose="020B0503020204020204" pitchFamily="34" charset="-122"/>
              <a:cs typeface="思源黑体 CN Regular" panose="020B0500000000000000" charset="-122"/>
              <a:sym typeface="Arial" panose="020B0604020202020204" pitchFamily="34" charset="0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random/>
      </p:transition>
    </mc:Choice>
    <mc:Fallback xmlns:p159="http://schemas.microsoft.com/office/powerpoint/2015/09/main" xmlns:p15="http://schemas.microsoft.com/office/powerpoint/2012/main" xmlns:a14="http://schemas.microsoft.com/office/drawing/2010/main" xmlns:wp="http://schemas.openxmlformats.org/drawingml/2006/wordprocessingDrawing" xmlns:w="http://schemas.openxmlformats.org/wordprocessingml/2006/main" xmlns:m="http://schemas.openxmlformats.org/officeDocument/2006/math" xmlns="">
      <p:transition spd="slow">
        <p:random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8" presetClass="entr" presetSubtype="12" dur="5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Left)">
                                      <p:cBhvr>
                                        <p:cTn id="7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 nodeType="clickPar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" presetClass="entr" presetSubtype="9" dur="50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4" presetID="2" presetClass="entr" presetSubtype="9" dur="5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8" presetID="2" presetClass="entr" presetSubtype="9" dur="5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1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2" presetID="2" presetClass="entr" presetSubtype="9" dur="5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6" presetID="2" presetClass="entr" presetSubtype="9" dur="5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9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  <p:bldP spid="7" grpId="0"/>
      <p:bldP spid="8" grpId="0"/>
      <p:bldP spid="12" grpId="0" animBg="1"/>
      <p:bldP spid="13" grpId="0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图片占位符 4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PicPr>
            <a:picLocks noGrp="1" noChangeAspect="1"/>
          </p:cNvPicPr>
          <p:nvPr>
            <p:ph type="pic" sz="quarter" idx="10"/>
          </p:nvPr>
        </p:nvPicPr>
        <p:blipFill>
          <a:blip r:embed="rId3"/>
          <a:stretch>
            <a:fillRect/>
          </a:stretch>
        </p:blipFill>
        <p:spPr>
          <a:ln>
            <a:noFill/>
          </a:ln>
        </p:spPr>
      </p:pic>
      <p:sp>
        <p:nvSpPr>
          <p:cNvPr id="3" name="Title 2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SpPr>
            <a:spLocks noGrp="1"/>
          </p:cNvSpPr>
          <p:nvPr>
            <p:ph type="title" idx="4294967295"/>
          </p:nvPr>
        </p:nvSpPr>
        <p:spPr>
          <a:xfrm>
            <a:off x="5753625" y="883811"/>
            <a:ext cx="6438375" cy="701731"/>
          </a:xfrm>
          <a:noFill/>
        </p:spPr>
        <p:txBody>
          <a:bodyPr vert="horz" wrap="square" lIns="0" tIns="91440" rIns="0" bIns="0" rtlCol="0" anchor="ctr" anchorCtr="0">
            <a:spAutoFit/>
          </a:bodyPr>
          <a:lstStyle/>
          <a:p>
            <a:pPr>
              <a:spcBef>
                <a:spcPts val="1000"/>
              </a:spcBef>
              <a:buFont typeface="思源黑体 CN Regular" panose="020B0500000000000000" charset="-122"/>
            </a:pPr>
            <a:r>
              <a:rPr lang="en-US" sz="4400" b="1" spc="-10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  <a:sym typeface="Arial" panose="020B0604020202020204" pitchFamily="34" charset="0"/>
              </a:rPr>
              <a:t>TIME LINE</a:t>
            </a:r>
            <a:endParaRPr lang="id-ID" sz="4400" b="1" spc="-100">
              <a:solidFill>
                <a:schemeClr val="tx1"/>
              </a:solidFill>
              <a:latin typeface="Arial" panose="020B0604020202020204" pitchFamily="34" charset="0"/>
              <a:ea typeface="微软雅黑" panose="020B0503020204020204" pitchFamily="34" charset="-122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5" name="Oval 14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SpPr/>
          <p:nvPr/>
        </p:nvSpPr>
        <p:spPr>
          <a:xfrm>
            <a:off x="1737259" y="2394153"/>
            <a:ext cx="1926822" cy="1926820"/>
          </a:xfrm>
          <a:prstGeom prst="ellipse">
            <a:avLst/>
          </a:prstGeom>
          <a:solidFill>
            <a:srgbClr val="FFFFFF">
              <a:alpha val="65000"/>
            </a:srgbClr>
          </a:solidFill>
          <a:ln>
            <a:noFill/>
          </a:ln>
          <a:effectLst>
            <a:outerShdw blurRad="381000" dist="2540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id-ID" sz="360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rPr>
              <a:t>20</a:t>
            </a:r>
            <a:r>
              <a:rPr lang="en-US" sz="360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rPr>
              <a:t>XX</a:t>
            </a:r>
            <a:endParaRPr lang="en-US" sz="140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ea typeface="微软雅黑" panose="020B0503020204020204" pitchFamily="34" charset="-122"/>
              <a:cs typeface="思源黑体 CN Regular" panose="020B0500000000000000" charset="-122"/>
              <a:sym typeface="Arial" panose="020B0604020202020204" pitchFamily="34" charset="0"/>
            </a:endParaRPr>
          </a:p>
        </p:txBody>
      </p:sp>
      <p:sp>
        <p:nvSpPr>
          <p:cNvPr id="9" name="Title 4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SpPr txBox="1"/>
          <p:nvPr/>
        </p:nvSpPr>
        <p:spPr>
          <a:xfrm>
            <a:off x="5374191" y="1537517"/>
            <a:ext cx="5420502" cy="918370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id-ID">
              <a:latin typeface="Arial" panose="020B0604020202020204" pitchFamily="34" charset="0"/>
              <a:ea typeface="微软雅黑" panose="020B0503020204020204" pitchFamily="34" charset="-122"/>
              <a:cs typeface="思源黑体 CN Regular" panose="020B0500000000000000" charset="-122"/>
              <a:sym typeface="Arial" panose="020B0604020202020204" pitchFamily="34" charset="0"/>
            </a:endParaRPr>
          </a:p>
        </p:txBody>
      </p:sp>
      <p:grpSp>
        <p:nvGrpSpPr>
          <p:cNvPr id="11" name="Group 46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GrpSpPr/>
          <p:nvPr/>
        </p:nvGrpSpPr>
        <p:grpSpPr>
          <a:xfrm>
            <a:off x="6864508" y="2535772"/>
            <a:ext cx="279640" cy="5278887"/>
            <a:chOff x="6237205" y="1496773"/>
            <a:chExt cx="279640" cy="5278887"/>
          </a:xfrm>
        </p:grpSpPr>
        <p:grpSp>
          <p:nvGrpSpPr>
            <p:cNvPr id="12" name="Group 29"/>
            <p:cNvGrpSpPr/>
            <p:nvPr/>
          </p:nvGrpSpPr>
          <p:grpSpPr>
            <a:xfrm>
              <a:off x="6237205" y="1496773"/>
              <a:ext cx="279640" cy="279640"/>
              <a:chOff x="2189683" y="2436478"/>
              <a:chExt cx="1659486" cy="1659486"/>
            </a:xfrm>
          </p:grpSpPr>
          <p:sp>
            <p:nvSpPr>
              <p:cNvPr id="26" name="Oval 27"/>
              <p:cNvSpPr/>
              <p:nvPr/>
            </p:nvSpPr>
            <p:spPr>
              <a:xfrm>
                <a:off x="2189683" y="2436478"/>
                <a:ext cx="1659486" cy="1659486"/>
              </a:xfrm>
              <a:prstGeom prst="ellipse">
                <a:avLst/>
              </a:prstGeom>
              <a:solidFill>
                <a:schemeClr val="bg2">
                  <a:lumMod val="50000"/>
                  <a:alpha val="7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noAutofit/>
              </a:bodyPr>
              <a:lstStyle/>
              <a:p>
                <a:pPr algn="ctr"/>
                <a:endParaRPr lang="id-ID">
                  <a:solidFill>
                    <a:schemeClr val="tx1"/>
                  </a:solidFill>
                  <a:latin typeface="Arial" panose="020B0604020202020204" pitchFamily="34" charset="0"/>
                  <a:ea typeface="微软雅黑" panose="020B0503020204020204" pitchFamily="34" charset="-122"/>
                  <a:cs typeface="思源黑体 CN Regular" panose="020B0500000000000000" charset="-122"/>
                  <a:sym typeface="Arial" panose="020B0604020202020204" pitchFamily="34" charset="0"/>
                </a:endParaRPr>
              </a:p>
            </p:txBody>
          </p:sp>
          <p:sp>
            <p:nvSpPr>
              <p:cNvPr id="27" name="Oval 28"/>
              <p:cNvSpPr/>
              <p:nvPr/>
            </p:nvSpPr>
            <p:spPr>
              <a:xfrm>
                <a:off x="2480419" y="2727214"/>
                <a:ext cx="1078013" cy="1078013"/>
              </a:xfrm>
              <a:prstGeom prst="ellipse">
                <a:avLst/>
              </a:prstGeom>
              <a:solidFill>
                <a:schemeClr val="bg2">
                  <a:lumMod val="5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noAutofit/>
              </a:bodyPr>
              <a:lstStyle/>
              <a:p>
                <a:pPr algn="ctr"/>
                <a:endParaRPr lang="id-ID">
                  <a:solidFill>
                    <a:schemeClr val="tx1"/>
                  </a:solidFill>
                  <a:latin typeface="Arial" panose="020B0604020202020204" pitchFamily="34" charset="0"/>
                  <a:ea typeface="微软雅黑" panose="020B0503020204020204" pitchFamily="34" charset="-122"/>
                  <a:cs typeface="思源黑体 CN Regular" panose="020B0500000000000000" charset="-122"/>
                  <a:sym typeface="Arial" panose="020B0604020202020204" pitchFamily="34" charset="0"/>
                </a:endParaRPr>
              </a:p>
            </p:txBody>
          </p:sp>
        </p:grpSp>
        <p:grpSp>
          <p:nvGrpSpPr>
            <p:cNvPr id="13" name="Group 32"/>
            <p:cNvGrpSpPr/>
            <p:nvPr/>
          </p:nvGrpSpPr>
          <p:grpSpPr>
            <a:xfrm>
              <a:off x="6237205" y="3071308"/>
              <a:ext cx="279640" cy="279640"/>
              <a:chOff x="2189683" y="2436478"/>
              <a:chExt cx="1659486" cy="1659486"/>
            </a:xfrm>
          </p:grpSpPr>
          <p:sp>
            <p:nvSpPr>
              <p:cNvPr id="24" name="Oval 33"/>
              <p:cNvSpPr/>
              <p:nvPr/>
            </p:nvSpPr>
            <p:spPr>
              <a:xfrm>
                <a:off x="2189683" y="2436478"/>
                <a:ext cx="1659486" cy="1659486"/>
              </a:xfrm>
              <a:prstGeom prst="ellipse">
                <a:avLst/>
              </a:prstGeom>
              <a:solidFill>
                <a:schemeClr val="bg2">
                  <a:lumMod val="50000"/>
                  <a:alpha val="7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noAutofit/>
              </a:bodyPr>
              <a:lstStyle/>
              <a:p>
                <a:pPr algn="ctr"/>
                <a:endParaRPr lang="id-ID">
                  <a:solidFill>
                    <a:schemeClr val="tx1"/>
                  </a:solidFill>
                  <a:latin typeface="Arial" panose="020B0604020202020204" pitchFamily="34" charset="0"/>
                  <a:ea typeface="微软雅黑" panose="020B0503020204020204" pitchFamily="34" charset="-122"/>
                  <a:cs typeface="思源黑体 CN Regular" panose="020B0500000000000000" charset="-122"/>
                  <a:sym typeface="Arial" panose="020B0604020202020204" pitchFamily="34" charset="0"/>
                </a:endParaRPr>
              </a:p>
            </p:txBody>
          </p:sp>
          <p:sp>
            <p:nvSpPr>
              <p:cNvPr id="25" name="Oval 34"/>
              <p:cNvSpPr/>
              <p:nvPr/>
            </p:nvSpPr>
            <p:spPr>
              <a:xfrm>
                <a:off x="2480419" y="2727214"/>
                <a:ext cx="1078013" cy="1078013"/>
              </a:xfrm>
              <a:prstGeom prst="ellipse">
                <a:avLst/>
              </a:prstGeom>
              <a:solidFill>
                <a:schemeClr val="bg2">
                  <a:lumMod val="5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noAutofit/>
              </a:bodyPr>
              <a:lstStyle/>
              <a:p>
                <a:pPr algn="ctr"/>
                <a:endParaRPr lang="id-ID">
                  <a:solidFill>
                    <a:schemeClr val="tx1"/>
                  </a:solidFill>
                  <a:latin typeface="Arial" panose="020B0604020202020204" pitchFamily="34" charset="0"/>
                  <a:ea typeface="微软雅黑" panose="020B0503020204020204" pitchFamily="34" charset="-122"/>
                  <a:cs typeface="思源黑体 CN Regular" panose="020B0500000000000000" charset="-122"/>
                  <a:sym typeface="Arial" panose="020B0604020202020204" pitchFamily="34" charset="0"/>
                </a:endParaRPr>
              </a:p>
            </p:txBody>
          </p:sp>
        </p:grpSp>
        <p:grpSp>
          <p:nvGrpSpPr>
            <p:cNvPr id="14" name="Group 35"/>
            <p:cNvGrpSpPr/>
            <p:nvPr/>
          </p:nvGrpSpPr>
          <p:grpSpPr>
            <a:xfrm>
              <a:off x="6237205" y="4645843"/>
              <a:ext cx="279640" cy="279640"/>
              <a:chOff x="2189683" y="2436478"/>
              <a:chExt cx="1659486" cy="1659486"/>
            </a:xfrm>
          </p:grpSpPr>
          <p:sp>
            <p:nvSpPr>
              <p:cNvPr id="22" name="Oval 36"/>
              <p:cNvSpPr/>
              <p:nvPr/>
            </p:nvSpPr>
            <p:spPr>
              <a:xfrm>
                <a:off x="2189683" y="2436478"/>
                <a:ext cx="1659486" cy="1659486"/>
              </a:xfrm>
              <a:prstGeom prst="ellipse">
                <a:avLst/>
              </a:prstGeom>
              <a:solidFill>
                <a:schemeClr val="bg2">
                  <a:lumMod val="50000"/>
                  <a:alpha val="7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noAutofit/>
              </a:bodyPr>
              <a:lstStyle/>
              <a:p>
                <a:pPr algn="ctr"/>
                <a:endParaRPr lang="id-ID">
                  <a:solidFill>
                    <a:schemeClr val="tx1"/>
                  </a:solidFill>
                  <a:latin typeface="Arial" panose="020B0604020202020204" pitchFamily="34" charset="0"/>
                  <a:ea typeface="微软雅黑" panose="020B0503020204020204" pitchFamily="34" charset="-122"/>
                  <a:cs typeface="思源黑体 CN Regular" panose="020B0500000000000000" charset="-122"/>
                  <a:sym typeface="Arial" panose="020B0604020202020204" pitchFamily="34" charset="0"/>
                </a:endParaRPr>
              </a:p>
            </p:txBody>
          </p:sp>
          <p:sp>
            <p:nvSpPr>
              <p:cNvPr id="23" name="Oval 37"/>
              <p:cNvSpPr/>
              <p:nvPr/>
            </p:nvSpPr>
            <p:spPr>
              <a:xfrm>
                <a:off x="2480419" y="2727214"/>
                <a:ext cx="1078013" cy="1078013"/>
              </a:xfrm>
              <a:prstGeom prst="ellipse">
                <a:avLst/>
              </a:prstGeom>
              <a:solidFill>
                <a:schemeClr val="bg2">
                  <a:lumMod val="5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noAutofit/>
              </a:bodyPr>
              <a:lstStyle/>
              <a:p>
                <a:pPr algn="ctr"/>
                <a:endParaRPr lang="id-ID">
                  <a:solidFill>
                    <a:schemeClr val="tx1"/>
                  </a:solidFill>
                  <a:latin typeface="Arial" panose="020B0604020202020204" pitchFamily="34" charset="0"/>
                  <a:ea typeface="微软雅黑" panose="020B0503020204020204" pitchFamily="34" charset="-122"/>
                  <a:cs typeface="思源黑体 CN Regular" panose="020B0500000000000000" charset="-122"/>
                  <a:sym typeface="Arial" panose="020B0604020202020204" pitchFamily="34" charset="0"/>
                </a:endParaRPr>
              </a:p>
            </p:txBody>
          </p:sp>
        </p:grpSp>
        <p:cxnSp>
          <p:nvCxnSpPr>
            <p:cNvPr id="16" name="Straight Connector 39"/>
            <p:cNvCxnSpPr>
              <a:stCxn id="24" idx="0"/>
              <a:endCxn id="26" idx="4"/>
            </p:cNvCxnSpPr>
            <p:nvPr/>
          </p:nvCxnSpPr>
          <p:spPr>
            <a:xfrm flipH="1" flipV="1">
              <a:off x="6377025" y="1776413"/>
              <a:ext cx="0" cy="1294895"/>
            </a:xfrm>
            <a:prstGeom prst="line">
              <a:avLst/>
            </a:prstGeom>
            <a:ln w="19050"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42"/>
            <p:cNvCxnSpPr>
              <a:stCxn id="24" idx="4"/>
              <a:endCxn id="22" idx="0"/>
            </p:cNvCxnSpPr>
            <p:nvPr/>
          </p:nvCxnSpPr>
          <p:spPr>
            <a:xfrm flipH="1">
              <a:off x="6377025" y="3350948"/>
              <a:ext cx="0" cy="1294895"/>
            </a:xfrm>
            <a:prstGeom prst="line">
              <a:avLst/>
            </a:prstGeom>
            <a:ln w="19050"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44"/>
            <p:cNvCxnSpPr>
              <a:stCxn id="26" idx="4"/>
            </p:cNvCxnSpPr>
            <p:nvPr/>
          </p:nvCxnSpPr>
          <p:spPr>
            <a:xfrm flipH="1">
              <a:off x="6377025" y="1776413"/>
              <a:ext cx="0" cy="326707"/>
            </a:xfrm>
            <a:prstGeom prst="line">
              <a:avLst/>
            </a:prstGeom>
            <a:ln w="19050">
              <a:solidFill>
                <a:schemeClr val="bg2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45"/>
            <p:cNvCxnSpPr/>
            <p:nvPr/>
          </p:nvCxnSpPr>
          <p:spPr>
            <a:xfrm flipH="1">
              <a:off x="6377025" y="3350948"/>
              <a:ext cx="0" cy="326707"/>
            </a:xfrm>
            <a:prstGeom prst="line">
              <a:avLst/>
            </a:prstGeom>
            <a:ln w="19050">
              <a:solidFill>
                <a:schemeClr val="bg2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89"/>
            <p:cNvCxnSpPr/>
            <p:nvPr/>
          </p:nvCxnSpPr>
          <p:spPr>
            <a:xfrm flipH="1">
              <a:off x="6377025" y="4896578"/>
              <a:ext cx="0" cy="1879082"/>
            </a:xfrm>
            <a:prstGeom prst="line">
              <a:avLst/>
            </a:prstGeom>
            <a:ln w="19050"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90"/>
            <p:cNvCxnSpPr/>
            <p:nvPr/>
          </p:nvCxnSpPr>
          <p:spPr>
            <a:xfrm flipH="1">
              <a:off x="6377025" y="4896578"/>
              <a:ext cx="0" cy="326707"/>
            </a:xfrm>
            <a:prstGeom prst="line">
              <a:avLst/>
            </a:prstGeom>
            <a:ln w="19050">
              <a:solidFill>
                <a:schemeClr val="bg2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8" name="Group 1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GrpSpPr/>
          <p:nvPr/>
        </p:nvGrpSpPr>
        <p:grpSpPr>
          <a:xfrm>
            <a:off x="5689747" y="2258964"/>
            <a:ext cx="5271728" cy="983247"/>
            <a:chOff x="5982824" y="1327235"/>
            <a:chExt cx="5271728" cy="983247"/>
          </a:xfrm>
        </p:grpSpPr>
        <p:sp>
          <p:nvSpPr>
            <p:cNvPr id="29" name="TextBox 47"/>
            <p:cNvSpPr txBox="1"/>
            <p:nvPr/>
          </p:nvSpPr>
          <p:spPr>
            <a:xfrm>
              <a:off x="7740602" y="1327235"/>
              <a:ext cx="1428596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id-ID">
                  <a:solidFill>
                    <a:schemeClr val="bg2">
                      <a:lumMod val="25000"/>
                    </a:schemeClr>
                  </a:solidFill>
                  <a:latin typeface="Arial" panose="020B0604020202020204" pitchFamily="34" charset="0"/>
                  <a:ea typeface="微软雅黑" panose="020B0503020204020204" pitchFamily="34" charset="-122"/>
                  <a:cs typeface="思源黑体 CN Regular" panose="020B0500000000000000" charset="-122"/>
                  <a:sym typeface="Arial" panose="020B0604020202020204" pitchFamily="34" charset="0"/>
                </a:rPr>
                <a:t>Agenda one</a:t>
              </a:r>
            </a:p>
          </p:txBody>
        </p:sp>
        <p:sp>
          <p:nvSpPr>
            <p:cNvPr id="30" name="TextBox 48"/>
            <p:cNvSpPr txBox="1"/>
            <p:nvPr/>
          </p:nvSpPr>
          <p:spPr>
            <a:xfrm>
              <a:off x="7740602" y="1687170"/>
              <a:ext cx="3513950" cy="62331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ct val="130000"/>
                </a:lnSpc>
              </a:pPr>
              <a:r>
                <a:rPr lang="en-US" altLang="zh-CN" sz="1400" dirty="0">
                  <a:solidFill>
                    <a:schemeClr val="accent6">
                      <a:lumMod val="50000"/>
                    </a:schemeClr>
                  </a:solidFill>
                  <a:latin typeface="Arial" panose="020B0604020202020204" pitchFamily="34" charset="0"/>
                  <a:ea typeface="微软雅黑" panose="020B0503020204020204" pitchFamily="34" charset="-122"/>
                  <a:cs typeface="思源黑体 CN Regular" panose="020B0500000000000000" charset="-122"/>
                  <a:sym typeface="Arial" panose="020B0604020202020204" pitchFamily="34" charset="0"/>
                </a:rPr>
                <a:t>Click here to add content, content to match the title. </a:t>
              </a:r>
            </a:p>
          </p:txBody>
        </p:sp>
        <p:sp>
          <p:nvSpPr>
            <p:cNvPr id="31" name="TextBox 85"/>
            <p:cNvSpPr txBox="1"/>
            <p:nvPr/>
          </p:nvSpPr>
          <p:spPr>
            <a:xfrm>
              <a:off x="5982824" y="1425560"/>
              <a:ext cx="1208664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2400">
                  <a:solidFill>
                    <a:schemeClr val="tx1">
                      <a:lumMod val="50000"/>
                      <a:lumOff val="50000"/>
                    </a:schemeClr>
                  </a:solidFill>
                  <a:latin typeface="Arial" panose="020B0604020202020204" pitchFamily="34" charset="0"/>
                  <a:ea typeface="微软雅黑" panose="020B0503020204020204" pitchFamily="34" charset="-122"/>
                  <a:cs typeface="思源黑体 CN Regular" panose="020B0500000000000000" charset="-122"/>
                  <a:sym typeface="Arial" panose="020B0604020202020204" pitchFamily="34" charset="0"/>
                </a:rPr>
                <a:t>20XX.1</a:t>
              </a:r>
              <a:endParaRPr lang="id-ID" sz="240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endParaRPr>
            </a:p>
          </p:txBody>
        </p:sp>
      </p:grpSp>
      <p:grpSp>
        <p:nvGrpSpPr>
          <p:cNvPr id="32" name="Group 2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GrpSpPr/>
          <p:nvPr/>
        </p:nvGrpSpPr>
        <p:grpSpPr>
          <a:xfrm>
            <a:off x="5689747" y="3861232"/>
            <a:ext cx="5271727" cy="983247"/>
            <a:chOff x="5982824" y="2929503"/>
            <a:chExt cx="5271727" cy="983247"/>
          </a:xfrm>
        </p:grpSpPr>
        <p:sp>
          <p:nvSpPr>
            <p:cNvPr id="33" name="TextBox 87"/>
            <p:cNvSpPr txBox="1"/>
            <p:nvPr/>
          </p:nvSpPr>
          <p:spPr>
            <a:xfrm>
              <a:off x="5982824" y="2929503"/>
              <a:ext cx="1208664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2400">
                  <a:solidFill>
                    <a:schemeClr val="tx1">
                      <a:lumMod val="50000"/>
                      <a:lumOff val="50000"/>
                    </a:schemeClr>
                  </a:solidFill>
                  <a:latin typeface="Arial" panose="020B0604020202020204" pitchFamily="34" charset="0"/>
                  <a:ea typeface="微软雅黑" panose="020B0503020204020204" pitchFamily="34" charset="-122"/>
                  <a:cs typeface="思源黑体 CN Regular" panose="020B0500000000000000" charset="-122"/>
                  <a:sym typeface="Arial" panose="020B0604020202020204" pitchFamily="34" charset="0"/>
                </a:rPr>
                <a:t>20XX.4</a:t>
              </a:r>
              <a:endParaRPr lang="id-ID" sz="240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endParaRPr>
            </a:p>
          </p:txBody>
        </p:sp>
        <p:grpSp>
          <p:nvGrpSpPr>
            <p:cNvPr id="34" name="Group 52"/>
            <p:cNvGrpSpPr/>
            <p:nvPr/>
          </p:nvGrpSpPr>
          <p:grpSpPr>
            <a:xfrm>
              <a:off x="7740601" y="2929503"/>
              <a:ext cx="3513950" cy="983247"/>
              <a:chOff x="6820221" y="1327235"/>
              <a:chExt cx="4089302" cy="983247"/>
            </a:xfrm>
          </p:grpSpPr>
          <p:sp>
            <p:nvSpPr>
              <p:cNvPr id="35" name="TextBox 53"/>
              <p:cNvSpPr txBox="1"/>
              <p:nvPr/>
            </p:nvSpPr>
            <p:spPr>
              <a:xfrm>
                <a:off x="6820221" y="1327235"/>
                <a:ext cx="1632658" cy="36933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id-ID">
                    <a:solidFill>
                      <a:schemeClr val="bg2">
                        <a:lumMod val="25000"/>
                      </a:schemeClr>
                    </a:solidFill>
                    <a:latin typeface="Arial" panose="020B0604020202020204" pitchFamily="34" charset="0"/>
                    <a:ea typeface="微软雅黑" panose="020B0503020204020204" pitchFamily="34" charset="-122"/>
                    <a:cs typeface="思源黑体 CN Regular" panose="020B0500000000000000" charset="-122"/>
                    <a:sym typeface="Arial" panose="020B0604020202020204" pitchFamily="34" charset="0"/>
                  </a:rPr>
                  <a:t>Agenda two</a:t>
                </a:r>
              </a:p>
            </p:txBody>
          </p:sp>
          <p:sp>
            <p:nvSpPr>
              <p:cNvPr id="36" name="TextBox 54"/>
              <p:cNvSpPr txBox="1"/>
              <p:nvPr/>
            </p:nvSpPr>
            <p:spPr>
              <a:xfrm>
                <a:off x="6820221" y="1687170"/>
                <a:ext cx="4089302" cy="62331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>
                  <a:lnSpc>
                    <a:spcPct val="130000"/>
                  </a:lnSpc>
                </a:pPr>
                <a:r>
                  <a:rPr lang="en-US" altLang="zh-CN" sz="1400" dirty="0">
                    <a:solidFill>
                      <a:schemeClr val="accent6">
                        <a:lumMod val="50000"/>
                      </a:schemeClr>
                    </a:solidFill>
                    <a:latin typeface="Arial" panose="020B0604020202020204" pitchFamily="34" charset="0"/>
                    <a:ea typeface="微软雅黑" panose="020B0503020204020204" pitchFamily="34" charset="-122"/>
                    <a:cs typeface="思源黑体 CN Regular" panose="020B0500000000000000" charset="-122"/>
                    <a:sym typeface="Arial" panose="020B0604020202020204" pitchFamily="34" charset="0"/>
                  </a:rPr>
                  <a:t>Click here to add content, content to match the title. </a:t>
                </a:r>
              </a:p>
            </p:txBody>
          </p:sp>
        </p:grpSp>
      </p:grpSp>
      <p:grpSp>
        <p:nvGrpSpPr>
          <p:cNvPr id="37" name="Group 3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GrpSpPr/>
          <p:nvPr/>
        </p:nvGrpSpPr>
        <p:grpSpPr>
          <a:xfrm>
            <a:off x="5689747" y="5473912"/>
            <a:ext cx="5271727" cy="983247"/>
            <a:chOff x="5982824" y="4542183"/>
            <a:chExt cx="5271727" cy="983247"/>
          </a:xfrm>
        </p:grpSpPr>
        <p:sp>
          <p:nvSpPr>
            <p:cNvPr id="38" name="TextBox 88"/>
            <p:cNvSpPr txBox="1"/>
            <p:nvPr/>
          </p:nvSpPr>
          <p:spPr>
            <a:xfrm>
              <a:off x="5982824" y="4542183"/>
              <a:ext cx="1208664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2400">
                  <a:solidFill>
                    <a:schemeClr val="tx1">
                      <a:lumMod val="50000"/>
                      <a:lumOff val="50000"/>
                    </a:schemeClr>
                  </a:solidFill>
                  <a:latin typeface="Arial" panose="020B0604020202020204" pitchFamily="34" charset="0"/>
                  <a:ea typeface="微软雅黑" panose="020B0503020204020204" pitchFamily="34" charset="-122"/>
                  <a:cs typeface="思源黑体 CN Regular" panose="020B0500000000000000" charset="-122"/>
                  <a:sym typeface="Arial" panose="020B0604020202020204" pitchFamily="34" charset="0"/>
                </a:rPr>
                <a:t>20XX.6</a:t>
              </a:r>
              <a:endParaRPr lang="id-ID" sz="240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endParaRPr>
            </a:p>
          </p:txBody>
        </p:sp>
        <p:grpSp>
          <p:nvGrpSpPr>
            <p:cNvPr id="39" name="Group 55"/>
            <p:cNvGrpSpPr/>
            <p:nvPr/>
          </p:nvGrpSpPr>
          <p:grpSpPr>
            <a:xfrm>
              <a:off x="7740601" y="4542183"/>
              <a:ext cx="3513950" cy="983247"/>
              <a:chOff x="6820221" y="1327235"/>
              <a:chExt cx="4089302" cy="983247"/>
            </a:xfrm>
          </p:grpSpPr>
          <p:sp>
            <p:nvSpPr>
              <p:cNvPr id="40" name="TextBox 56"/>
              <p:cNvSpPr txBox="1"/>
              <p:nvPr/>
            </p:nvSpPr>
            <p:spPr>
              <a:xfrm>
                <a:off x="6820221" y="1327235"/>
                <a:ext cx="1826666" cy="36933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id-ID">
                    <a:solidFill>
                      <a:schemeClr val="bg2">
                        <a:lumMod val="25000"/>
                      </a:schemeClr>
                    </a:solidFill>
                    <a:latin typeface="Arial" panose="020B0604020202020204" pitchFamily="34" charset="0"/>
                    <a:ea typeface="微软雅黑" panose="020B0503020204020204" pitchFamily="34" charset="-122"/>
                    <a:cs typeface="思源黑体 CN Regular" panose="020B0500000000000000" charset="-122"/>
                    <a:sym typeface="Arial" panose="020B0604020202020204" pitchFamily="34" charset="0"/>
                  </a:rPr>
                  <a:t>Agenda three</a:t>
                </a:r>
              </a:p>
            </p:txBody>
          </p:sp>
          <p:sp>
            <p:nvSpPr>
              <p:cNvPr id="41" name="TextBox 57"/>
              <p:cNvSpPr txBox="1"/>
              <p:nvPr/>
            </p:nvSpPr>
            <p:spPr>
              <a:xfrm>
                <a:off x="6820221" y="1687170"/>
                <a:ext cx="4089302" cy="62331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>
                  <a:lnSpc>
                    <a:spcPct val="130000"/>
                  </a:lnSpc>
                </a:pPr>
                <a:r>
                  <a:rPr lang="en-US" altLang="zh-CN" sz="1400" dirty="0">
                    <a:solidFill>
                      <a:schemeClr val="accent6">
                        <a:lumMod val="50000"/>
                      </a:schemeClr>
                    </a:solidFill>
                    <a:latin typeface="Arial" panose="020B0604020202020204" pitchFamily="34" charset="0"/>
                    <a:ea typeface="微软雅黑" panose="020B0503020204020204" pitchFamily="34" charset="-122"/>
                    <a:cs typeface="思源黑体 CN Regular" panose="020B0500000000000000" charset="-122"/>
                    <a:sym typeface="Arial" panose="020B0604020202020204" pitchFamily="34" charset="0"/>
                  </a:rPr>
                  <a:t>Click here to add content, content to match the title. </a:t>
                </a:r>
              </a:p>
            </p:txBody>
          </p:sp>
        </p:grpSp>
      </p:grpSp>
      <p:sp>
        <p:nvSpPr>
          <p:cNvPr id="48" name="Text Placeholder 4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SpPr txBox="1"/>
          <p:nvPr/>
        </p:nvSpPr>
        <p:spPr>
          <a:xfrm>
            <a:off x="5769282" y="1690081"/>
            <a:ext cx="2765265" cy="266735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/>
          <a:lstStyle>
            <a:lvl1pPr marL="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8800" b="0" kern="1200">
                <a:solidFill>
                  <a:schemeClr val="bg1"/>
                </a:solidFill>
                <a:latin typeface="Levenim MT" panose="02010502060101010101" pitchFamily="2" charset="-79"/>
                <a:ea typeface="Yu Gothic" panose="020B0400000000000000" pitchFamily="34" charset="-128"/>
                <a:cs typeface="Levenim MT" panose="02010502060101010101" pitchFamily="2" charset="-79"/>
              </a:defRPr>
            </a:lvl1pPr>
            <a:lvl2pPr marL="742950" indent="-28575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dist"/>
            <a:r>
              <a:rPr lang="en-US" sz="1100" spc="-300">
                <a:latin typeface="Arial" panose="020B0604020202020204" pitchFamily="34" charset="0"/>
                <a:ea typeface="微软雅黑" panose="020B0503020204020204" pitchFamily="34" charset="-122"/>
                <a:cs typeface="等线" panose="02010600030101010101" charset="-122"/>
                <a:sym typeface="Arial" panose="020B0604020202020204" pitchFamily="34" charset="0"/>
              </a:rPr>
              <a:t>T     H     E               M     O     D     E     R     N               P     R    E     S     E    N     T     A     T     I     O     N</a:t>
            </a:r>
          </a:p>
        </p:txBody>
      </p:sp>
      <p:sp>
        <p:nvSpPr>
          <p:cNvPr id="49" name="矩形 48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SpPr/>
          <p:nvPr/>
        </p:nvSpPr>
        <p:spPr>
          <a:xfrm>
            <a:off x="11071352" y="0"/>
            <a:ext cx="596900" cy="723900"/>
          </a:xfrm>
          <a:prstGeom prst="rect">
            <a:avLst/>
          </a:prstGeom>
          <a:solidFill>
            <a:srgbClr val="002BF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latin typeface="Arial" panose="020B0604020202020204" pitchFamily="34" charset="0"/>
              <a:ea typeface="微软雅黑" panose="020B0503020204020204" pitchFamily="34" charset="-122"/>
              <a:cs typeface="思源黑体 CN Regular" panose="020B0500000000000000" charset="-122"/>
              <a:sym typeface="Arial" panose="020B0604020202020204" pitchFamily="34" charset="0"/>
            </a:endParaRPr>
          </a:p>
        </p:txBody>
      </p:sp>
      <p:sp>
        <p:nvSpPr>
          <p:cNvPr id="50" name="Shape 3891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SpPr/>
          <p:nvPr/>
        </p:nvSpPr>
        <p:spPr>
          <a:xfrm>
            <a:off x="11232845" y="162829"/>
            <a:ext cx="279033" cy="279033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8429" y="14128"/>
                </a:moveTo>
                <a:cubicBezTo>
                  <a:pt x="17041" y="13430"/>
                  <a:pt x="15777" y="12523"/>
                  <a:pt x="14684" y="11440"/>
                </a:cubicBezTo>
                <a:cubicBezTo>
                  <a:pt x="15214" y="10618"/>
                  <a:pt x="15664" y="9739"/>
                  <a:pt x="16034" y="8820"/>
                </a:cubicBezTo>
                <a:cubicBezTo>
                  <a:pt x="16089" y="8826"/>
                  <a:pt x="16143" y="8836"/>
                  <a:pt x="16200" y="8836"/>
                </a:cubicBezTo>
                <a:cubicBezTo>
                  <a:pt x="17013" y="8836"/>
                  <a:pt x="17673" y="8178"/>
                  <a:pt x="17673" y="7364"/>
                </a:cubicBezTo>
                <a:cubicBezTo>
                  <a:pt x="17673" y="6787"/>
                  <a:pt x="17339" y="6295"/>
                  <a:pt x="16856" y="6052"/>
                </a:cubicBezTo>
                <a:cubicBezTo>
                  <a:pt x="17033" y="5170"/>
                  <a:pt x="17144" y="4264"/>
                  <a:pt x="17167" y="3336"/>
                </a:cubicBezTo>
                <a:cubicBezTo>
                  <a:pt x="19277" y="5136"/>
                  <a:pt x="20618" y="7809"/>
                  <a:pt x="20618" y="10800"/>
                </a:cubicBezTo>
                <a:cubicBezTo>
                  <a:pt x="20618" y="11764"/>
                  <a:pt x="20469" y="12690"/>
                  <a:pt x="20209" y="13568"/>
                </a:cubicBezTo>
                <a:cubicBezTo>
                  <a:pt x="19628" y="13783"/>
                  <a:pt x="19034" y="13971"/>
                  <a:pt x="18429" y="14128"/>
                </a:cubicBezTo>
                <a:moveTo>
                  <a:pt x="10800" y="20618"/>
                </a:moveTo>
                <a:cubicBezTo>
                  <a:pt x="8406" y="20618"/>
                  <a:pt x="6213" y="19759"/>
                  <a:pt x="4509" y="18335"/>
                </a:cubicBezTo>
                <a:cubicBezTo>
                  <a:pt x="6552" y="17934"/>
                  <a:pt x="8450" y="17135"/>
                  <a:pt x="10128" y="16031"/>
                </a:cubicBezTo>
                <a:cubicBezTo>
                  <a:pt x="10330" y="16136"/>
                  <a:pt x="10556" y="16200"/>
                  <a:pt x="10800" y="16200"/>
                </a:cubicBezTo>
                <a:cubicBezTo>
                  <a:pt x="11273" y="16200"/>
                  <a:pt x="11689" y="15974"/>
                  <a:pt x="11959" y="15627"/>
                </a:cubicBezTo>
                <a:cubicBezTo>
                  <a:pt x="12547" y="15680"/>
                  <a:pt x="13142" y="15709"/>
                  <a:pt x="13745" y="15709"/>
                </a:cubicBezTo>
                <a:cubicBezTo>
                  <a:pt x="15323" y="15709"/>
                  <a:pt x="16852" y="15508"/>
                  <a:pt x="18322" y="15156"/>
                </a:cubicBezTo>
                <a:cubicBezTo>
                  <a:pt x="18660" y="15317"/>
                  <a:pt x="18998" y="15480"/>
                  <a:pt x="19350" y="15618"/>
                </a:cubicBezTo>
                <a:cubicBezTo>
                  <a:pt x="17665" y="18601"/>
                  <a:pt x="14470" y="20618"/>
                  <a:pt x="10800" y="20618"/>
                </a:cubicBezTo>
                <a:moveTo>
                  <a:pt x="3539" y="17393"/>
                </a:moveTo>
                <a:cubicBezTo>
                  <a:pt x="3476" y="16840"/>
                  <a:pt x="3436" y="16280"/>
                  <a:pt x="3436" y="15709"/>
                </a:cubicBezTo>
                <a:cubicBezTo>
                  <a:pt x="3436" y="14764"/>
                  <a:pt x="3536" y="13842"/>
                  <a:pt x="3707" y="12946"/>
                </a:cubicBezTo>
                <a:cubicBezTo>
                  <a:pt x="5455" y="13988"/>
                  <a:pt x="7377" y="14767"/>
                  <a:pt x="9421" y="15227"/>
                </a:cubicBezTo>
                <a:cubicBezTo>
                  <a:pt x="9431" y="15254"/>
                  <a:pt x="9436" y="15282"/>
                  <a:pt x="9447" y="15308"/>
                </a:cubicBezTo>
                <a:cubicBezTo>
                  <a:pt x="7724" y="16421"/>
                  <a:pt x="5761" y="17193"/>
                  <a:pt x="3643" y="17507"/>
                </a:cubicBezTo>
                <a:cubicBezTo>
                  <a:pt x="3608" y="17469"/>
                  <a:pt x="3573" y="17430"/>
                  <a:pt x="3539" y="17393"/>
                </a:cubicBezTo>
                <a:moveTo>
                  <a:pt x="3075" y="11369"/>
                </a:moveTo>
                <a:cubicBezTo>
                  <a:pt x="2361" y="10869"/>
                  <a:pt x="1683" y="10322"/>
                  <a:pt x="1046" y="9729"/>
                </a:cubicBezTo>
                <a:cubicBezTo>
                  <a:pt x="1528" y="5299"/>
                  <a:pt x="4955" y="1762"/>
                  <a:pt x="9331" y="1104"/>
                </a:cubicBezTo>
                <a:cubicBezTo>
                  <a:pt x="9335" y="1629"/>
                  <a:pt x="9363" y="2148"/>
                  <a:pt x="9417" y="2660"/>
                </a:cubicBezTo>
                <a:cubicBezTo>
                  <a:pt x="8572" y="3227"/>
                  <a:pt x="7787" y="3879"/>
                  <a:pt x="7069" y="4597"/>
                </a:cubicBezTo>
                <a:cubicBezTo>
                  <a:pt x="6863" y="4486"/>
                  <a:pt x="6632" y="4418"/>
                  <a:pt x="6382" y="4418"/>
                </a:cubicBezTo>
                <a:cubicBezTo>
                  <a:pt x="5569" y="4418"/>
                  <a:pt x="4909" y="5078"/>
                  <a:pt x="4909" y="5891"/>
                </a:cubicBezTo>
                <a:cubicBezTo>
                  <a:pt x="4909" y="6236"/>
                  <a:pt x="5033" y="6549"/>
                  <a:pt x="5231" y="6800"/>
                </a:cubicBezTo>
                <a:cubicBezTo>
                  <a:pt x="4279" y="8179"/>
                  <a:pt x="3550" y="9719"/>
                  <a:pt x="3075" y="11369"/>
                </a:cubicBezTo>
                <a:moveTo>
                  <a:pt x="2466" y="15973"/>
                </a:moveTo>
                <a:cubicBezTo>
                  <a:pt x="1563" y="14521"/>
                  <a:pt x="1025" y="12821"/>
                  <a:pt x="989" y="10995"/>
                </a:cubicBezTo>
                <a:cubicBezTo>
                  <a:pt x="1570" y="11492"/>
                  <a:pt x="2180" y="11955"/>
                  <a:pt x="2817" y="12383"/>
                </a:cubicBezTo>
                <a:cubicBezTo>
                  <a:pt x="2585" y="13456"/>
                  <a:pt x="2455" y="14567"/>
                  <a:pt x="2455" y="15709"/>
                </a:cubicBezTo>
                <a:cubicBezTo>
                  <a:pt x="2455" y="15798"/>
                  <a:pt x="2464" y="15885"/>
                  <a:pt x="2466" y="15973"/>
                </a:cubicBezTo>
                <a:moveTo>
                  <a:pt x="13428" y="11540"/>
                </a:moveTo>
                <a:cubicBezTo>
                  <a:pt x="12907" y="12264"/>
                  <a:pt x="12315" y="12931"/>
                  <a:pt x="11674" y="13548"/>
                </a:cubicBezTo>
                <a:cubicBezTo>
                  <a:pt x="11429" y="13366"/>
                  <a:pt x="11129" y="13255"/>
                  <a:pt x="10800" y="13255"/>
                </a:cubicBezTo>
                <a:cubicBezTo>
                  <a:pt x="10166" y="13255"/>
                  <a:pt x="9631" y="13657"/>
                  <a:pt x="9423" y="14218"/>
                </a:cubicBezTo>
                <a:cubicBezTo>
                  <a:pt x="7455" y="13751"/>
                  <a:pt x="5607" y="12974"/>
                  <a:pt x="3936" y="11937"/>
                </a:cubicBezTo>
                <a:cubicBezTo>
                  <a:pt x="4379" y="10266"/>
                  <a:pt x="5100" y="8709"/>
                  <a:pt x="6060" y="7326"/>
                </a:cubicBezTo>
                <a:cubicBezTo>
                  <a:pt x="6164" y="7349"/>
                  <a:pt x="6271" y="7364"/>
                  <a:pt x="6382" y="7364"/>
                </a:cubicBezTo>
                <a:cubicBezTo>
                  <a:pt x="7195" y="7364"/>
                  <a:pt x="7855" y="6705"/>
                  <a:pt x="7855" y="5891"/>
                </a:cubicBezTo>
                <a:cubicBezTo>
                  <a:pt x="7855" y="5688"/>
                  <a:pt x="7813" y="5494"/>
                  <a:pt x="7739" y="5318"/>
                </a:cubicBezTo>
                <a:cubicBezTo>
                  <a:pt x="8307" y="4747"/>
                  <a:pt x="8920" y="4221"/>
                  <a:pt x="9575" y="3749"/>
                </a:cubicBezTo>
                <a:cubicBezTo>
                  <a:pt x="10104" y="6723"/>
                  <a:pt x="11479" y="9397"/>
                  <a:pt x="13428" y="11540"/>
                </a:cubicBezTo>
                <a:moveTo>
                  <a:pt x="10800" y="982"/>
                </a:moveTo>
                <a:cubicBezTo>
                  <a:pt x="11347" y="982"/>
                  <a:pt x="11881" y="1038"/>
                  <a:pt x="12403" y="1125"/>
                </a:cubicBezTo>
                <a:cubicBezTo>
                  <a:pt x="11696" y="1401"/>
                  <a:pt x="11005" y="1708"/>
                  <a:pt x="10354" y="2082"/>
                </a:cubicBezTo>
                <a:cubicBezTo>
                  <a:pt x="10328" y="1726"/>
                  <a:pt x="10311" y="1368"/>
                  <a:pt x="10310" y="1007"/>
                </a:cubicBezTo>
                <a:cubicBezTo>
                  <a:pt x="10474" y="999"/>
                  <a:pt x="10635" y="982"/>
                  <a:pt x="10800" y="982"/>
                </a:cubicBezTo>
                <a:moveTo>
                  <a:pt x="14120" y="12262"/>
                </a:moveTo>
                <a:cubicBezTo>
                  <a:pt x="14982" y="13097"/>
                  <a:pt x="15950" y="13819"/>
                  <a:pt x="16986" y="14440"/>
                </a:cubicBezTo>
                <a:cubicBezTo>
                  <a:pt x="15933" y="14626"/>
                  <a:pt x="14852" y="14727"/>
                  <a:pt x="13745" y="14727"/>
                </a:cubicBezTo>
                <a:cubicBezTo>
                  <a:pt x="13246" y="14727"/>
                  <a:pt x="12754" y="14702"/>
                  <a:pt x="12265" y="14664"/>
                </a:cubicBezTo>
                <a:cubicBezTo>
                  <a:pt x="12259" y="14569"/>
                  <a:pt x="12250" y="14475"/>
                  <a:pt x="12229" y="14386"/>
                </a:cubicBezTo>
                <a:cubicBezTo>
                  <a:pt x="12921" y="13737"/>
                  <a:pt x="13555" y="13027"/>
                  <a:pt x="14120" y="12262"/>
                </a:cubicBezTo>
                <a:moveTo>
                  <a:pt x="16188" y="2597"/>
                </a:moveTo>
                <a:cubicBezTo>
                  <a:pt x="16191" y="2713"/>
                  <a:pt x="16200" y="2828"/>
                  <a:pt x="16200" y="2945"/>
                </a:cubicBezTo>
                <a:cubicBezTo>
                  <a:pt x="16200" y="3967"/>
                  <a:pt x="16092" y="4962"/>
                  <a:pt x="15894" y="5924"/>
                </a:cubicBezTo>
                <a:cubicBezTo>
                  <a:pt x="15227" y="6065"/>
                  <a:pt x="14727" y="6656"/>
                  <a:pt x="14727" y="7364"/>
                </a:cubicBezTo>
                <a:cubicBezTo>
                  <a:pt x="14727" y="7765"/>
                  <a:pt x="14888" y="8128"/>
                  <a:pt x="15149" y="8393"/>
                </a:cubicBezTo>
                <a:cubicBezTo>
                  <a:pt x="14827" y="9199"/>
                  <a:pt x="14443" y="9974"/>
                  <a:pt x="13991" y="10701"/>
                </a:cubicBezTo>
                <a:cubicBezTo>
                  <a:pt x="12159" y="8620"/>
                  <a:pt x="10894" y="6025"/>
                  <a:pt x="10469" y="3152"/>
                </a:cubicBezTo>
                <a:cubicBezTo>
                  <a:pt x="11590" y="2463"/>
                  <a:pt x="12813" y="1934"/>
                  <a:pt x="14106" y="1565"/>
                </a:cubicBezTo>
                <a:cubicBezTo>
                  <a:pt x="14844" y="1829"/>
                  <a:pt x="15544" y="2174"/>
                  <a:pt x="16188" y="2597"/>
                </a:cubicBezTo>
                <a:moveTo>
                  <a:pt x="10800" y="0"/>
                </a:moveTo>
                <a:cubicBezTo>
                  <a:pt x="4835" y="0"/>
                  <a:pt x="0" y="4835"/>
                  <a:pt x="0" y="10800"/>
                </a:cubicBezTo>
                <a:cubicBezTo>
                  <a:pt x="0" y="16765"/>
                  <a:pt x="4835" y="21600"/>
                  <a:pt x="10800" y="21600"/>
                </a:cubicBezTo>
                <a:cubicBezTo>
                  <a:pt x="16765" y="21600"/>
                  <a:pt x="21600" y="16765"/>
                  <a:pt x="21600" y="10800"/>
                </a:cubicBezTo>
                <a:cubicBezTo>
                  <a:pt x="21600" y="4835"/>
                  <a:pt x="16765" y="0"/>
                  <a:pt x="10800" y="0"/>
                </a:cubicBezTo>
              </a:path>
            </a:pathLst>
          </a:custGeom>
          <a:solidFill>
            <a:schemeClr val="bg1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endParaRPr>
              <a:solidFill>
                <a:prstClr val="black"/>
              </a:solidFill>
              <a:latin typeface="Arial" panose="020B0604020202020204" pitchFamily="34" charset="0"/>
              <a:ea typeface="微软雅黑" panose="020B0503020204020204" pitchFamily="34" charset="-122"/>
              <a:cs typeface="思源黑体 CN Regular" panose="020B0500000000000000" charset="-122"/>
              <a:sym typeface="Arial" panose="020B0604020202020204" pitchFamily="34" charset="0"/>
            </a:endParaRPr>
          </a:p>
        </p:txBody>
      </p:sp>
      <p:sp>
        <p:nvSpPr>
          <p:cNvPr id="51" name="文本框 50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SpPr txBox="1"/>
          <p:nvPr/>
        </p:nvSpPr>
        <p:spPr>
          <a:xfrm>
            <a:off x="11088286" y="448734"/>
            <a:ext cx="572593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1050">
                <a:solidFill>
                  <a:schemeClr val="bg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rPr>
              <a:t>LOGO</a:t>
            </a:r>
            <a:endParaRPr lang="zh-CN" altLang="en-US" sz="1050">
              <a:solidFill>
                <a:schemeClr val="bg1"/>
              </a:solidFill>
              <a:latin typeface="Arial" panose="020B0604020202020204" pitchFamily="34" charset="0"/>
              <a:ea typeface="微软雅黑" panose="020B0503020204020204" pitchFamily="34" charset="-122"/>
              <a:cs typeface="思源黑体 CN Regular" panose="020B0500000000000000" charset="-122"/>
              <a:sym typeface="Arial" panose="020B0604020202020204" pitchFamily="34" charset="0"/>
            </a:endParaRPr>
          </a:p>
        </p:txBody>
      </p:sp>
      <p:sp>
        <p:nvSpPr>
          <p:cNvPr id="6" name="e7d195523061f1c0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 hidden="1"/>
          <p:cNvSpPr txBox="1"/>
          <p:nvPr/>
        </p:nvSpPr>
        <p:spPr>
          <a:xfrm>
            <a:off x="-355600" y="1803400"/>
            <a:ext cx="284693" cy="1016000"/>
          </a:xfrm>
          <a:prstGeom prst="rect">
            <a:avLst/>
          </a:prstGeom>
          <a:noFill/>
        </p:spPr>
        <p:txBody>
          <a:bodyPr vert="wordArtVert" rtlCol="0">
            <a:spAutoFit/>
          </a:bodyPr>
          <a:lstStyle/>
          <a:p>
            <a:r>
              <a:rPr lang="en-US" altLang="zh-CN" sz="100"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rPr>
              <a:t>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</a:t>
            </a:r>
            <a:endParaRPr lang="zh-CN" altLang="en-US" sz="100">
              <a:latin typeface="Arial" panose="020B0604020202020204" pitchFamily="34" charset="0"/>
              <a:ea typeface="微软雅黑" panose="020B0503020204020204" pitchFamily="34" charset="-122"/>
              <a:cs typeface="思源黑体 CN Regular" panose="020B0500000000000000" charset="-122"/>
              <a:sym typeface="Arial" panose="020B0604020202020204" pitchFamily="34" charset="0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random/>
      </p:transition>
    </mc:Choice>
    <mc:Fallback xmlns:p159="http://schemas.microsoft.com/office/powerpoint/2015/09/main" xmlns:p15="http://schemas.microsoft.com/office/powerpoint/2012/main" xmlns:a14="http://schemas.microsoft.com/office/drawing/2010/main" xmlns:wp="http://schemas.openxmlformats.org/drawingml/2006/wordprocessingDrawing" xmlns:w="http://schemas.openxmlformats.org/wordprocessingml/2006/main" xmlns:m="http://schemas.openxmlformats.org/officeDocument/2006/math" xmlns="">
      <p:transition spd="slow">
        <p:random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ntr" presetSubtype="16" dur="2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7" dur="2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6" presetClass="entr" presetSubtype="16" dur="2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0" dur="20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 nodeType="clickPar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dur="50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dur="5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 nodeType="clickPar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2" presetClass="entr" presetSubtype="4" dur="5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2" presetClass="entr" presetSubtype="4" dur="5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9" presetID="2" presetClass="entr" presetSubtype="4" dur="5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3" presetID="2" presetClass="entr" presetSubtype="4" dur="5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5" dur="5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6" dur="5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  <p:bldP spid="15" grpId="0" animBg="1"/>
      <p:bldP spid="48" grpId="0" animBg="1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8" name="Group 1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GrpSpPr/>
          <p:nvPr/>
        </p:nvGrpSpPr>
        <p:grpSpPr>
          <a:xfrm>
            <a:off x="2618487" y="0"/>
            <a:ext cx="252768" cy="4156065"/>
            <a:chOff x="2618487" y="-2379787"/>
            <a:chExt cx="252768" cy="4156065"/>
          </a:xfrm>
        </p:grpSpPr>
        <p:cxnSp>
          <p:nvCxnSpPr>
            <p:cNvPr id="29" name="Straight Connector 31"/>
            <p:cNvCxnSpPr/>
            <p:nvPr/>
          </p:nvCxnSpPr>
          <p:spPr>
            <a:xfrm>
              <a:off x="2731477" y="-2379787"/>
              <a:ext cx="13394" cy="4016425"/>
            </a:xfrm>
            <a:prstGeom prst="line">
              <a:avLst/>
            </a:prstGeom>
            <a:ln>
              <a:solidFill>
                <a:schemeClr val="tx1">
                  <a:alpha val="2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0" name="Oval 33"/>
            <p:cNvSpPr/>
            <p:nvPr/>
          </p:nvSpPr>
          <p:spPr>
            <a:xfrm>
              <a:off x="2618487" y="1523510"/>
              <a:ext cx="252768" cy="252768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381000" dist="254000" dir="5400000" algn="t" rotWithShape="0">
                <a:prstClr val="black">
                  <a:alpha val="15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US" sz="140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endParaRPr>
            </a:p>
          </p:txBody>
        </p:sp>
      </p:grpSp>
      <p:grpSp>
        <p:nvGrpSpPr>
          <p:cNvPr id="4" name="Group 3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GrpSpPr/>
          <p:nvPr/>
        </p:nvGrpSpPr>
        <p:grpSpPr>
          <a:xfrm>
            <a:off x="7157585" y="-275039"/>
            <a:ext cx="279640" cy="5028152"/>
            <a:chOff x="7157585" y="-275039"/>
            <a:chExt cx="279640" cy="5028152"/>
          </a:xfrm>
        </p:grpSpPr>
        <p:grpSp>
          <p:nvGrpSpPr>
            <p:cNvPr id="5" name="Group 29"/>
            <p:cNvGrpSpPr/>
            <p:nvPr/>
          </p:nvGrpSpPr>
          <p:grpSpPr>
            <a:xfrm>
              <a:off x="7157585" y="1604043"/>
              <a:ext cx="279640" cy="279640"/>
              <a:chOff x="2189683" y="2436478"/>
              <a:chExt cx="1659486" cy="1659486"/>
            </a:xfrm>
          </p:grpSpPr>
          <p:sp>
            <p:nvSpPr>
              <p:cNvPr id="14" name="Oval 27"/>
              <p:cNvSpPr/>
              <p:nvPr/>
            </p:nvSpPr>
            <p:spPr>
              <a:xfrm>
                <a:off x="2189683" y="2436478"/>
                <a:ext cx="1659486" cy="1659486"/>
              </a:xfrm>
              <a:prstGeom prst="ellipse">
                <a:avLst/>
              </a:prstGeom>
              <a:solidFill>
                <a:schemeClr val="bg2">
                  <a:lumMod val="50000"/>
                  <a:alpha val="7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noAutofit/>
              </a:bodyPr>
              <a:lstStyle/>
              <a:p>
                <a:pPr algn="ctr"/>
                <a:endParaRPr lang="id-ID">
                  <a:solidFill>
                    <a:schemeClr val="tx1"/>
                  </a:solidFill>
                  <a:latin typeface="Arial" panose="020B0604020202020204" pitchFamily="34" charset="0"/>
                  <a:ea typeface="微软雅黑" panose="020B0503020204020204" pitchFamily="34" charset="-122"/>
                  <a:cs typeface="思源黑体 CN Regular" panose="020B0500000000000000" charset="-122"/>
                  <a:sym typeface="Arial" panose="020B0604020202020204" pitchFamily="34" charset="0"/>
                </a:endParaRPr>
              </a:p>
            </p:txBody>
          </p:sp>
          <p:sp>
            <p:nvSpPr>
              <p:cNvPr id="15" name="Oval 28"/>
              <p:cNvSpPr/>
              <p:nvPr/>
            </p:nvSpPr>
            <p:spPr>
              <a:xfrm>
                <a:off x="2480419" y="2727214"/>
                <a:ext cx="1078013" cy="1078013"/>
              </a:xfrm>
              <a:prstGeom prst="ellipse">
                <a:avLst/>
              </a:prstGeom>
              <a:solidFill>
                <a:schemeClr val="bg2">
                  <a:lumMod val="5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noAutofit/>
              </a:bodyPr>
              <a:lstStyle/>
              <a:p>
                <a:pPr algn="ctr"/>
                <a:endParaRPr lang="id-ID">
                  <a:solidFill>
                    <a:schemeClr val="tx1"/>
                  </a:solidFill>
                  <a:latin typeface="Arial" panose="020B0604020202020204" pitchFamily="34" charset="0"/>
                  <a:ea typeface="微软雅黑" panose="020B0503020204020204" pitchFamily="34" charset="-122"/>
                  <a:cs typeface="思源黑体 CN Regular" panose="020B0500000000000000" charset="-122"/>
                  <a:sym typeface="Arial" panose="020B0604020202020204" pitchFamily="34" charset="0"/>
                </a:endParaRPr>
              </a:p>
            </p:txBody>
          </p:sp>
        </p:grpSp>
        <p:grpSp>
          <p:nvGrpSpPr>
            <p:cNvPr id="6" name="Group 32"/>
            <p:cNvGrpSpPr/>
            <p:nvPr/>
          </p:nvGrpSpPr>
          <p:grpSpPr>
            <a:xfrm>
              <a:off x="7157585" y="3178578"/>
              <a:ext cx="279640" cy="279640"/>
              <a:chOff x="2189683" y="2436478"/>
              <a:chExt cx="1659486" cy="1659486"/>
            </a:xfrm>
          </p:grpSpPr>
          <p:sp>
            <p:nvSpPr>
              <p:cNvPr id="12" name="Oval 33"/>
              <p:cNvSpPr/>
              <p:nvPr/>
            </p:nvSpPr>
            <p:spPr>
              <a:xfrm>
                <a:off x="2189683" y="2436478"/>
                <a:ext cx="1659486" cy="1659486"/>
              </a:xfrm>
              <a:prstGeom prst="ellipse">
                <a:avLst/>
              </a:prstGeom>
              <a:solidFill>
                <a:schemeClr val="bg2">
                  <a:lumMod val="50000"/>
                  <a:alpha val="7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noAutofit/>
              </a:bodyPr>
              <a:lstStyle/>
              <a:p>
                <a:pPr algn="ctr"/>
                <a:endParaRPr lang="id-ID">
                  <a:solidFill>
                    <a:schemeClr val="tx1"/>
                  </a:solidFill>
                  <a:latin typeface="Arial" panose="020B0604020202020204" pitchFamily="34" charset="0"/>
                  <a:ea typeface="微软雅黑" panose="020B0503020204020204" pitchFamily="34" charset="-122"/>
                  <a:cs typeface="思源黑体 CN Regular" panose="020B0500000000000000" charset="-122"/>
                  <a:sym typeface="Arial" panose="020B0604020202020204" pitchFamily="34" charset="0"/>
                </a:endParaRPr>
              </a:p>
            </p:txBody>
          </p:sp>
          <p:sp>
            <p:nvSpPr>
              <p:cNvPr id="13" name="Oval 34"/>
              <p:cNvSpPr/>
              <p:nvPr/>
            </p:nvSpPr>
            <p:spPr>
              <a:xfrm>
                <a:off x="2480419" y="2727214"/>
                <a:ext cx="1078013" cy="1078013"/>
              </a:xfrm>
              <a:prstGeom prst="ellipse">
                <a:avLst/>
              </a:prstGeom>
              <a:solidFill>
                <a:schemeClr val="bg2">
                  <a:lumMod val="5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noAutofit/>
              </a:bodyPr>
              <a:lstStyle/>
              <a:p>
                <a:pPr algn="ctr"/>
                <a:endParaRPr lang="id-ID">
                  <a:solidFill>
                    <a:schemeClr val="tx1"/>
                  </a:solidFill>
                  <a:latin typeface="Arial" panose="020B0604020202020204" pitchFamily="34" charset="0"/>
                  <a:ea typeface="微软雅黑" panose="020B0503020204020204" pitchFamily="34" charset="-122"/>
                  <a:cs typeface="思源黑体 CN Regular" panose="020B0500000000000000" charset="-122"/>
                  <a:sym typeface="Arial" panose="020B0604020202020204" pitchFamily="34" charset="0"/>
                </a:endParaRPr>
              </a:p>
            </p:txBody>
          </p:sp>
        </p:grpSp>
        <p:cxnSp>
          <p:nvCxnSpPr>
            <p:cNvPr id="7" name="Straight Connector 39"/>
            <p:cNvCxnSpPr>
              <a:stCxn id="12" idx="0"/>
              <a:endCxn id="14" idx="4"/>
            </p:cNvCxnSpPr>
            <p:nvPr/>
          </p:nvCxnSpPr>
          <p:spPr>
            <a:xfrm flipH="1" flipV="1">
              <a:off x="7297405" y="1883683"/>
              <a:ext cx="0" cy="1294895"/>
            </a:xfrm>
            <a:prstGeom prst="line">
              <a:avLst/>
            </a:prstGeom>
            <a:ln w="19050"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Straight Connector 42"/>
            <p:cNvCxnSpPr>
              <a:stCxn id="12" idx="4"/>
            </p:cNvCxnSpPr>
            <p:nvPr/>
          </p:nvCxnSpPr>
          <p:spPr>
            <a:xfrm flipH="1">
              <a:off x="7297405" y="3458218"/>
              <a:ext cx="0" cy="1294895"/>
            </a:xfrm>
            <a:prstGeom prst="line">
              <a:avLst/>
            </a:prstGeom>
            <a:ln w="19050"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44"/>
            <p:cNvCxnSpPr>
              <a:stCxn id="14" idx="4"/>
            </p:cNvCxnSpPr>
            <p:nvPr/>
          </p:nvCxnSpPr>
          <p:spPr>
            <a:xfrm flipH="1">
              <a:off x="7297405" y="1883683"/>
              <a:ext cx="0" cy="326707"/>
            </a:xfrm>
            <a:prstGeom prst="line">
              <a:avLst/>
            </a:prstGeom>
            <a:ln w="19050">
              <a:solidFill>
                <a:schemeClr val="bg2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45"/>
            <p:cNvCxnSpPr/>
            <p:nvPr/>
          </p:nvCxnSpPr>
          <p:spPr>
            <a:xfrm flipH="1">
              <a:off x="7297405" y="3458218"/>
              <a:ext cx="0" cy="326707"/>
            </a:xfrm>
            <a:prstGeom prst="line">
              <a:avLst/>
            </a:prstGeom>
            <a:ln w="19050">
              <a:solidFill>
                <a:schemeClr val="bg2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89"/>
            <p:cNvCxnSpPr/>
            <p:nvPr/>
          </p:nvCxnSpPr>
          <p:spPr>
            <a:xfrm flipH="1">
              <a:off x="7297405" y="-275039"/>
              <a:ext cx="0" cy="1879082"/>
            </a:xfrm>
            <a:prstGeom prst="line">
              <a:avLst/>
            </a:prstGeom>
            <a:ln w="19050"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6" name="Group 4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GrpSpPr/>
          <p:nvPr/>
        </p:nvGrpSpPr>
        <p:grpSpPr>
          <a:xfrm>
            <a:off x="5982824" y="1327235"/>
            <a:ext cx="5271728" cy="983247"/>
            <a:chOff x="5982824" y="1327235"/>
            <a:chExt cx="5271728" cy="983247"/>
          </a:xfrm>
        </p:grpSpPr>
        <p:sp>
          <p:nvSpPr>
            <p:cNvPr id="17" name="TextBox 47"/>
            <p:cNvSpPr txBox="1"/>
            <p:nvPr/>
          </p:nvSpPr>
          <p:spPr>
            <a:xfrm>
              <a:off x="7740602" y="1327235"/>
              <a:ext cx="1441420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id-ID">
                  <a:solidFill>
                    <a:schemeClr val="bg2">
                      <a:lumMod val="25000"/>
                    </a:schemeClr>
                  </a:solidFill>
                  <a:latin typeface="Arial" panose="020B0604020202020204" pitchFamily="34" charset="0"/>
                  <a:ea typeface="微软雅黑" panose="020B0503020204020204" pitchFamily="34" charset="-122"/>
                  <a:cs typeface="思源黑体 CN Regular" panose="020B0500000000000000" charset="-122"/>
                  <a:sym typeface="Arial" panose="020B0604020202020204" pitchFamily="34" charset="0"/>
                </a:rPr>
                <a:t>Agenda </a:t>
              </a:r>
              <a:r>
                <a:rPr lang="en-US" altLang="zh-CN">
                  <a:solidFill>
                    <a:schemeClr val="bg2">
                      <a:lumMod val="25000"/>
                    </a:schemeClr>
                  </a:solidFill>
                  <a:latin typeface="Arial" panose="020B0604020202020204" pitchFamily="34" charset="0"/>
                  <a:ea typeface="微软雅黑" panose="020B0503020204020204" pitchFamily="34" charset="-122"/>
                  <a:cs typeface="思源黑体 CN Regular" panose="020B0500000000000000" charset="-122"/>
                  <a:sym typeface="Arial" panose="020B0604020202020204" pitchFamily="34" charset="0"/>
                </a:rPr>
                <a:t>four</a:t>
              </a:r>
              <a:endParaRPr lang="id-ID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endParaRPr>
            </a:p>
          </p:txBody>
        </p:sp>
        <p:sp>
          <p:nvSpPr>
            <p:cNvPr id="18" name="TextBox 48"/>
            <p:cNvSpPr txBox="1"/>
            <p:nvPr/>
          </p:nvSpPr>
          <p:spPr>
            <a:xfrm>
              <a:off x="7740602" y="1687170"/>
              <a:ext cx="3513950" cy="62331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ct val="130000"/>
                </a:lnSpc>
              </a:pPr>
              <a:r>
                <a:rPr lang="en-US" altLang="zh-CN" sz="1400" dirty="0">
                  <a:solidFill>
                    <a:schemeClr val="accent6">
                      <a:lumMod val="50000"/>
                    </a:schemeClr>
                  </a:solidFill>
                  <a:latin typeface="Arial" panose="020B0604020202020204" pitchFamily="34" charset="0"/>
                  <a:ea typeface="微软雅黑" panose="020B0503020204020204" pitchFamily="34" charset="-122"/>
                  <a:cs typeface="思源黑体 CN Regular" panose="020B0500000000000000" charset="-122"/>
                  <a:sym typeface="Arial" panose="020B0604020202020204" pitchFamily="34" charset="0"/>
                </a:rPr>
                <a:t>Click here to add content, content to match the title. </a:t>
              </a:r>
            </a:p>
          </p:txBody>
        </p:sp>
        <p:sp>
          <p:nvSpPr>
            <p:cNvPr id="19" name="TextBox 85"/>
            <p:cNvSpPr txBox="1"/>
            <p:nvPr/>
          </p:nvSpPr>
          <p:spPr>
            <a:xfrm>
              <a:off x="5982824" y="1425560"/>
              <a:ext cx="1389804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2400">
                  <a:solidFill>
                    <a:schemeClr val="tx1">
                      <a:lumMod val="50000"/>
                      <a:lumOff val="50000"/>
                    </a:schemeClr>
                  </a:solidFill>
                  <a:latin typeface="Arial" panose="020B0604020202020204" pitchFamily="34" charset="0"/>
                  <a:ea typeface="微软雅黑" panose="020B0503020204020204" pitchFamily="34" charset="-122"/>
                  <a:cs typeface="思源黑体 CN Regular" panose="020B0500000000000000" charset="-122"/>
                  <a:sym typeface="Arial" panose="020B0604020202020204" pitchFamily="34" charset="0"/>
                </a:rPr>
                <a:t>20XX.10</a:t>
              </a:r>
              <a:endParaRPr lang="id-ID" sz="240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endParaRPr>
            </a:p>
          </p:txBody>
        </p:sp>
      </p:grpSp>
      <p:grpSp>
        <p:nvGrpSpPr>
          <p:cNvPr id="20" name="Group 5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GrpSpPr/>
          <p:nvPr/>
        </p:nvGrpSpPr>
        <p:grpSpPr>
          <a:xfrm>
            <a:off x="5982824" y="2929503"/>
            <a:ext cx="5271727" cy="983247"/>
            <a:chOff x="5982824" y="2929503"/>
            <a:chExt cx="5271727" cy="983247"/>
          </a:xfrm>
        </p:grpSpPr>
        <p:sp>
          <p:nvSpPr>
            <p:cNvPr id="21" name="TextBox 87"/>
            <p:cNvSpPr txBox="1"/>
            <p:nvPr/>
          </p:nvSpPr>
          <p:spPr>
            <a:xfrm>
              <a:off x="5982824" y="2929503"/>
              <a:ext cx="1389804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2400">
                  <a:solidFill>
                    <a:schemeClr val="tx1">
                      <a:lumMod val="50000"/>
                      <a:lumOff val="50000"/>
                    </a:schemeClr>
                  </a:solidFill>
                  <a:latin typeface="Arial" panose="020B0604020202020204" pitchFamily="34" charset="0"/>
                  <a:ea typeface="微软雅黑" panose="020B0503020204020204" pitchFamily="34" charset="-122"/>
                  <a:cs typeface="思源黑体 CN Regular" panose="020B0500000000000000" charset="-122"/>
                  <a:sym typeface="Arial" panose="020B0604020202020204" pitchFamily="34" charset="0"/>
                </a:rPr>
                <a:t>20XX.12</a:t>
              </a:r>
              <a:endParaRPr lang="id-ID" sz="240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endParaRPr>
            </a:p>
          </p:txBody>
        </p:sp>
        <p:sp>
          <p:nvSpPr>
            <p:cNvPr id="22" name="TextBox 53"/>
            <p:cNvSpPr txBox="1"/>
            <p:nvPr/>
          </p:nvSpPr>
          <p:spPr>
            <a:xfrm>
              <a:off x="7740601" y="2929503"/>
              <a:ext cx="1402948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id-ID">
                  <a:solidFill>
                    <a:schemeClr val="bg2">
                      <a:lumMod val="25000"/>
                    </a:schemeClr>
                  </a:solidFill>
                  <a:latin typeface="Arial" panose="020B0604020202020204" pitchFamily="34" charset="0"/>
                  <a:ea typeface="微软雅黑" panose="020B0503020204020204" pitchFamily="34" charset="-122"/>
                  <a:cs typeface="思源黑体 CN Regular" panose="020B0500000000000000" charset="-122"/>
                  <a:sym typeface="Arial" panose="020B0604020202020204" pitchFamily="34" charset="0"/>
                </a:rPr>
                <a:t>Agenda </a:t>
              </a:r>
              <a:r>
                <a:rPr lang="en-US" altLang="zh-CN">
                  <a:solidFill>
                    <a:schemeClr val="bg2">
                      <a:lumMod val="25000"/>
                    </a:schemeClr>
                  </a:solidFill>
                  <a:latin typeface="Arial" panose="020B0604020202020204" pitchFamily="34" charset="0"/>
                  <a:ea typeface="微软雅黑" panose="020B0503020204020204" pitchFamily="34" charset="-122"/>
                  <a:cs typeface="思源黑体 CN Regular" panose="020B0500000000000000" charset="-122"/>
                  <a:sym typeface="Arial" panose="020B0604020202020204" pitchFamily="34" charset="0"/>
                </a:rPr>
                <a:t>five</a:t>
              </a:r>
              <a:endParaRPr lang="id-ID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endParaRPr>
            </a:p>
          </p:txBody>
        </p:sp>
        <p:sp>
          <p:nvSpPr>
            <p:cNvPr id="23" name="TextBox 54"/>
            <p:cNvSpPr txBox="1"/>
            <p:nvPr/>
          </p:nvSpPr>
          <p:spPr>
            <a:xfrm>
              <a:off x="7740601" y="3289438"/>
              <a:ext cx="3513950" cy="62331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ct val="130000"/>
                </a:lnSpc>
              </a:pPr>
              <a:r>
                <a:rPr lang="en-US" altLang="zh-CN" sz="1400" dirty="0">
                  <a:solidFill>
                    <a:schemeClr val="accent6">
                      <a:lumMod val="50000"/>
                    </a:schemeClr>
                  </a:solidFill>
                  <a:latin typeface="Arial" panose="020B0604020202020204" pitchFamily="34" charset="0"/>
                  <a:ea typeface="微软雅黑" panose="020B0503020204020204" pitchFamily="34" charset="-122"/>
                  <a:cs typeface="思源黑体 CN Regular" panose="020B0500000000000000" charset="-122"/>
                  <a:sym typeface="Arial" panose="020B0604020202020204" pitchFamily="34" charset="0"/>
                </a:rPr>
                <a:t>Click here to add content, content to match the title. </a:t>
              </a:r>
            </a:p>
          </p:txBody>
        </p:sp>
      </p:grpSp>
      <p:sp>
        <p:nvSpPr>
          <p:cNvPr id="24" name="TextBox 40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SpPr txBox="1"/>
          <p:nvPr/>
        </p:nvSpPr>
        <p:spPr>
          <a:xfrm>
            <a:off x="8528988" y="5303765"/>
            <a:ext cx="3004251" cy="49058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30000"/>
              </a:lnSpc>
            </a:pPr>
            <a:r>
              <a:rPr lang="en-US" altLang="zh-CN" sz="1050" i="1" dirty="0">
                <a:solidFill>
                  <a:schemeClr val="accent6">
                    <a:lumMod val="50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rPr>
              <a:t>Click here to add content, content to match the title. </a:t>
            </a:r>
          </a:p>
        </p:txBody>
      </p:sp>
      <p:sp>
        <p:nvSpPr>
          <p:cNvPr id="25" name="Oval 1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SpPr/>
          <p:nvPr/>
        </p:nvSpPr>
        <p:spPr>
          <a:xfrm>
            <a:off x="6603566" y="4359356"/>
            <a:ext cx="1313799" cy="1313799"/>
          </a:xfrm>
          <a:prstGeom prst="ellipse">
            <a:avLst/>
          </a:prstGeom>
          <a:solidFill>
            <a:srgbClr val="FFFFFF"/>
          </a:solidFill>
          <a:ln>
            <a:noFill/>
          </a:ln>
          <a:effectLst>
            <a:outerShdw blurRad="12700" dist="38100" dir="5400000" algn="t" rotWithShape="0">
              <a:prstClr val="black">
                <a:alpha val="12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/>
            <a:r>
              <a:rPr lang="id-ID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rPr>
              <a:t>End</a:t>
            </a:r>
          </a:p>
        </p:txBody>
      </p:sp>
      <p:sp>
        <p:nvSpPr>
          <p:cNvPr id="26" name="Rectangle 2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SpPr/>
          <p:nvPr/>
        </p:nvSpPr>
        <p:spPr>
          <a:xfrm>
            <a:off x="8421862" y="5333922"/>
            <a:ext cx="45719" cy="516766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/>
            <a:endParaRPr lang="id-ID">
              <a:solidFill>
                <a:schemeClr val="tx1"/>
              </a:solidFill>
              <a:latin typeface="Arial" panose="020B0604020202020204" pitchFamily="34" charset="0"/>
              <a:ea typeface="微软雅黑" panose="020B0503020204020204" pitchFamily="34" charset="-122"/>
              <a:cs typeface="思源黑体 CN Regular" panose="020B0500000000000000" charset="-122"/>
              <a:sym typeface="Arial" panose="020B0604020202020204" pitchFamily="34" charset="0"/>
            </a:endParaRPr>
          </a:p>
        </p:txBody>
      </p:sp>
      <p:pic>
        <p:nvPicPr>
          <p:cNvPr id="27" name="图片占位符 26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PicPr>
            <a:picLocks noGrp="1" noChangeAspect="1"/>
          </p:cNvPicPr>
          <p:nvPr>
            <p:ph type="pic" sz="quarter" idx="10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/>
      </p:pic>
      <p:sp>
        <p:nvSpPr>
          <p:cNvPr id="33" name="Oval 14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SpPr/>
          <p:nvPr/>
        </p:nvSpPr>
        <p:spPr>
          <a:xfrm>
            <a:off x="1773835" y="3582873"/>
            <a:ext cx="1926822" cy="1926820"/>
          </a:xfrm>
          <a:prstGeom prst="ellipse">
            <a:avLst/>
          </a:prstGeom>
          <a:solidFill>
            <a:srgbClr val="FFFFFF">
              <a:alpha val="65000"/>
            </a:srgbClr>
          </a:solidFill>
          <a:ln>
            <a:noFill/>
          </a:ln>
          <a:effectLst>
            <a:outerShdw blurRad="381000" dist="2540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id-ID" sz="360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rPr>
              <a:t>20</a:t>
            </a:r>
            <a:r>
              <a:rPr lang="en-US" sz="360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rPr>
              <a:t>XX</a:t>
            </a:r>
            <a:endParaRPr lang="en-US" sz="140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ea typeface="微软雅黑" panose="020B0503020204020204" pitchFamily="34" charset="-122"/>
              <a:cs typeface="思源黑体 CN Regular" panose="020B0500000000000000" charset="-122"/>
              <a:sym typeface="Arial" panose="020B0604020202020204" pitchFamily="34" charset="0"/>
            </a:endParaRPr>
          </a:p>
        </p:txBody>
      </p:sp>
      <p:sp>
        <p:nvSpPr>
          <p:cNvPr id="32" name="e7d195523061f1c0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 hidden="1"/>
          <p:cNvSpPr txBox="1"/>
          <p:nvPr/>
        </p:nvSpPr>
        <p:spPr>
          <a:xfrm>
            <a:off x="-355600" y="1803400"/>
            <a:ext cx="284693" cy="1016000"/>
          </a:xfrm>
          <a:prstGeom prst="rect">
            <a:avLst/>
          </a:prstGeom>
          <a:noFill/>
        </p:spPr>
        <p:txBody>
          <a:bodyPr vert="wordArtVert" rtlCol="0">
            <a:spAutoFit/>
          </a:bodyPr>
          <a:lstStyle/>
          <a:p>
            <a:r>
              <a:rPr lang="en-US" altLang="zh-CN" sz="100"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rPr>
              <a:t>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</a:t>
            </a:r>
            <a:endParaRPr lang="zh-CN" altLang="en-US" sz="100">
              <a:latin typeface="Arial" panose="020B0604020202020204" pitchFamily="34" charset="0"/>
              <a:ea typeface="微软雅黑" panose="020B0503020204020204" pitchFamily="34" charset="-122"/>
              <a:cs typeface="思源黑体 CN Regular" panose="020B0500000000000000" charset="-122"/>
              <a:sym typeface="Arial" panose="020B0604020202020204" pitchFamily="34" charset="0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random/>
      </p:transition>
    </mc:Choice>
    <mc:Fallback xmlns:p159="http://schemas.microsoft.com/office/powerpoint/2015/09/main" xmlns:p15="http://schemas.microsoft.com/office/powerpoint/2012/main" xmlns:a14="http://schemas.microsoft.com/office/drawing/2010/main" xmlns:wp="http://schemas.openxmlformats.org/drawingml/2006/wordprocessingDrawing" xmlns:w="http://schemas.openxmlformats.org/wordprocessingml/2006/main" xmlns:m="http://schemas.openxmlformats.org/officeDocument/2006/math" xmlns="">
      <p:transition spd="slow">
        <p:random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dur="5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dur="5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4" dur="5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 nodeType="clickPar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2" presetClass="entr" presetSubtype="1" dur="5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1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2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3" presetID="2" presetClass="entr" presetSubtype="1" dur="5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7" presetID="2" presetClass="entr" presetSubtype="1" dur="5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9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0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1" presetID="2" presetClass="entr" presetSubtype="1" dur="5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3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4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5" presetID="2" presetClass="entr" presetSubtype="1" dur="5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7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8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9" presetID="2" presetClass="entr" presetSubtype="1" dur="5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1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2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4" grpId="0"/>
      <p:bldP spid="25" grpId="0" animBg="1"/>
      <p:bldP spid="26" grpId="0" animBg="1"/>
      <p:bldP spid="33" grpId="0" animBg="1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矩形 4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SpPr/>
          <p:nvPr/>
        </p:nvSpPr>
        <p:spPr>
          <a:xfrm>
            <a:off x="0" y="1422400"/>
            <a:ext cx="12192000" cy="3872089"/>
          </a:xfrm>
          <a:prstGeom prst="rect">
            <a:avLst/>
          </a:prstGeom>
          <a:solidFill>
            <a:schemeClr val="bg1">
              <a:lumMod val="95000"/>
              <a:alpha val="38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latin typeface="Arial" panose="020B0604020202020204" pitchFamily="34" charset="0"/>
              <a:ea typeface="微软雅黑" panose="020B0503020204020204" pitchFamily="34" charset="-122"/>
              <a:cs typeface="思源黑体 CN Regular" panose="020B0500000000000000" charset="-122"/>
              <a:sym typeface="Arial" panose="020B0604020202020204" pitchFamily="34" charset="0"/>
            </a:endParaRPr>
          </a:p>
        </p:txBody>
      </p:sp>
      <p:sp>
        <p:nvSpPr>
          <p:cNvPr id="4" name="Text Placeholder 3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SpPr>
            <a:spLocks noGrp="1"/>
          </p:cNvSpPr>
          <p:nvPr>
            <p:ph type="body" sz="quarter" idx="4294967295"/>
          </p:nvPr>
        </p:nvSpPr>
        <p:spPr>
          <a:xfrm>
            <a:off x="849312" y="677835"/>
            <a:ext cx="10493375" cy="696232"/>
          </a:xfrm>
          <a:noFill/>
        </p:spPr>
        <p:txBody>
          <a:bodyPr vert="horz" wrap="square" lIns="0" tIns="91440" rIns="0" bIns="0" rtlCol="0" anchor="ctr" anchorCtr="0">
            <a:spAutoFit/>
          </a:bodyPr>
          <a:lstStyle/>
          <a:p>
            <a:pPr algn="ctr">
              <a:buNone/>
            </a:pPr>
            <a:r>
              <a:rPr lang="en-US" sz="4400" b="1" spc="-100"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  <a:sym typeface="Arial" panose="020B0604020202020204" pitchFamily="34" charset="0"/>
              </a:rPr>
              <a:t>TIMELINE.</a:t>
            </a:r>
            <a:endParaRPr lang="id-ID" sz="4400" b="1" spc="-100">
              <a:latin typeface="Arial" panose="020B0604020202020204" pitchFamily="34" charset="0"/>
              <a:ea typeface="微软雅黑" panose="020B0503020204020204" pitchFamily="34" charset="-122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2" name="Group 1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GrpSpPr/>
          <p:nvPr/>
        </p:nvGrpSpPr>
        <p:grpSpPr>
          <a:xfrm>
            <a:off x="1132758" y="1958043"/>
            <a:ext cx="9913556" cy="2908356"/>
            <a:chOff x="1132758" y="1958043"/>
            <a:chExt cx="9913556" cy="2908356"/>
          </a:xfrm>
        </p:grpSpPr>
        <p:cxnSp>
          <p:nvCxnSpPr>
            <p:cNvPr id="6" name="Straight Connector 5"/>
            <p:cNvCxnSpPr/>
            <p:nvPr/>
          </p:nvCxnSpPr>
          <p:spPr>
            <a:xfrm>
              <a:off x="1247277" y="3917759"/>
              <a:ext cx="9631656" cy="0"/>
            </a:xfrm>
            <a:prstGeom prst="line">
              <a:avLst/>
            </a:prstGeom>
            <a:ln w="12700"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" name="Straight Connector 6"/>
            <p:cNvCxnSpPr/>
            <p:nvPr/>
          </p:nvCxnSpPr>
          <p:spPr>
            <a:xfrm>
              <a:off x="1247277" y="3428798"/>
              <a:ext cx="9631656" cy="0"/>
            </a:xfrm>
            <a:prstGeom prst="line">
              <a:avLst/>
            </a:prstGeom>
            <a:ln w="12700"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Straight Connector 7"/>
            <p:cNvCxnSpPr/>
            <p:nvPr/>
          </p:nvCxnSpPr>
          <p:spPr>
            <a:xfrm>
              <a:off x="1247277" y="2939836"/>
              <a:ext cx="9631656" cy="0"/>
            </a:xfrm>
            <a:prstGeom prst="line">
              <a:avLst/>
            </a:prstGeom>
            <a:ln w="12700"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8"/>
            <p:cNvCxnSpPr/>
            <p:nvPr/>
          </p:nvCxnSpPr>
          <p:spPr>
            <a:xfrm>
              <a:off x="1247277" y="2450875"/>
              <a:ext cx="9631656" cy="0"/>
            </a:xfrm>
            <a:prstGeom prst="line">
              <a:avLst/>
            </a:prstGeom>
            <a:ln w="12700"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9"/>
            <p:cNvCxnSpPr/>
            <p:nvPr/>
          </p:nvCxnSpPr>
          <p:spPr>
            <a:xfrm>
              <a:off x="1247277" y="1958043"/>
              <a:ext cx="9631656" cy="0"/>
            </a:xfrm>
            <a:prstGeom prst="line">
              <a:avLst/>
            </a:prstGeom>
            <a:ln w="12700"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1" name="Group 10"/>
            <p:cNvGrpSpPr/>
            <p:nvPr/>
          </p:nvGrpSpPr>
          <p:grpSpPr>
            <a:xfrm>
              <a:off x="1287315" y="4372633"/>
              <a:ext cx="9591619" cy="122418"/>
              <a:chOff x="1074377" y="4961951"/>
              <a:chExt cx="10030251" cy="128016"/>
            </a:xfrm>
            <a:solidFill>
              <a:schemeClr val="bg1">
                <a:lumMod val="75000"/>
              </a:schemeClr>
            </a:solidFill>
          </p:grpSpPr>
          <p:cxnSp>
            <p:nvCxnSpPr>
              <p:cNvPr id="12" name="Straight Connector 11"/>
              <p:cNvCxnSpPr/>
              <p:nvPr/>
            </p:nvCxnSpPr>
            <p:spPr>
              <a:xfrm>
                <a:off x="1185141" y="5025959"/>
                <a:ext cx="9876357" cy="0"/>
              </a:xfrm>
              <a:prstGeom prst="line">
                <a:avLst/>
              </a:prstGeom>
              <a:grpFill/>
              <a:ln w="12700">
                <a:solidFill>
                  <a:schemeClr val="bg1">
                    <a:lumMod val="8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3" name="Oval 12"/>
              <p:cNvSpPr>
                <a:spLocks noChangeAspect="1"/>
              </p:cNvSpPr>
              <p:nvPr/>
            </p:nvSpPr>
            <p:spPr>
              <a:xfrm>
                <a:off x="1074377" y="4961951"/>
                <a:ext cx="128016" cy="128016"/>
              </a:xfrm>
              <a:prstGeom prst="ellipse">
                <a:avLst/>
              </a:prstGeom>
              <a:grpFill/>
              <a:ln w="381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Arial" panose="020B0604020202020204" pitchFamily="34" charset="0"/>
                  <a:ea typeface="微软雅黑" panose="020B0503020204020204" pitchFamily="34" charset="-122"/>
                  <a:cs typeface="思源黑体 CN Regular" panose="020B0500000000000000" charset="-122"/>
                  <a:sym typeface="Arial" panose="020B0604020202020204" pitchFamily="34" charset="0"/>
                </a:endParaRPr>
              </a:p>
            </p:txBody>
          </p:sp>
          <p:sp>
            <p:nvSpPr>
              <p:cNvPr id="14" name="Oval 13"/>
              <p:cNvSpPr>
                <a:spLocks noChangeAspect="1"/>
              </p:cNvSpPr>
              <p:nvPr/>
            </p:nvSpPr>
            <p:spPr>
              <a:xfrm>
                <a:off x="2317390" y="4961951"/>
                <a:ext cx="128016" cy="128016"/>
              </a:xfrm>
              <a:prstGeom prst="ellipse">
                <a:avLst/>
              </a:prstGeom>
              <a:grpFill/>
              <a:ln w="381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Arial" panose="020B0604020202020204" pitchFamily="34" charset="0"/>
                  <a:ea typeface="微软雅黑" panose="020B0503020204020204" pitchFamily="34" charset="-122"/>
                  <a:cs typeface="思源黑体 CN Regular" panose="020B0500000000000000" charset="-122"/>
                  <a:sym typeface="Arial" panose="020B0604020202020204" pitchFamily="34" charset="0"/>
                </a:endParaRPr>
              </a:p>
            </p:txBody>
          </p:sp>
          <p:sp>
            <p:nvSpPr>
              <p:cNvPr id="15" name="Oval 14"/>
              <p:cNvSpPr>
                <a:spLocks noChangeAspect="1"/>
              </p:cNvSpPr>
              <p:nvPr/>
            </p:nvSpPr>
            <p:spPr>
              <a:xfrm>
                <a:off x="3560403" y="4961951"/>
                <a:ext cx="128016" cy="128016"/>
              </a:xfrm>
              <a:prstGeom prst="ellipse">
                <a:avLst/>
              </a:prstGeom>
              <a:grpFill/>
              <a:ln w="381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Arial" panose="020B0604020202020204" pitchFamily="34" charset="0"/>
                  <a:ea typeface="微软雅黑" panose="020B0503020204020204" pitchFamily="34" charset="-122"/>
                  <a:cs typeface="思源黑体 CN Regular" panose="020B0500000000000000" charset="-122"/>
                  <a:sym typeface="Arial" panose="020B0604020202020204" pitchFamily="34" charset="0"/>
                </a:endParaRPr>
              </a:p>
            </p:txBody>
          </p:sp>
          <p:sp>
            <p:nvSpPr>
              <p:cNvPr id="16" name="Oval 15"/>
              <p:cNvSpPr>
                <a:spLocks noChangeAspect="1"/>
              </p:cNvSpPr>
              <p:nvPr/>
            </p:nvSpPr>
            <p:spPr>
              <a:xfrm>
                <a:off x="4803416" y="4961951"/>
                <a:ext cx="128016" cy="128016"/>
              </a:xfrm>
              <a:prstGeom prst="ellipse">
                <a:avLst/>
              </a:prstGeom>
              <a:grpFill/>
              <a:ln w="381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Arial" panose="020B0604020202020204" pitchFamily="34" charset="0"/>
                  <a:ea typeface="微软雅黑" panose="020B0503020204020204" pitchFamily="34" charset="-122"/>
                  <a:cs typeface="思源黑体 CN Regular" panose="020B0500000000000000" charset="-122"/>
                  <a:sym typeface="Arial" panose="020B0604020202020204" pitchFamily="34" charset="0"/>
                </a:endParaRPr>
              </a:p>
            </p:txBody>
          </p:sp>
          <p:sp>
            <p:nvSpPr>
              <p:cNvPr id="17" name="Oval 16"/>
              <p:cNvSpPr>
                <a:spLocks noChangeAspect="1"/>
              </p:cNvSpPr>
              <p:nvPr/>
            </p:nvSpPr>
            <p:spPr>
              <a:xfrm>
                <a:off x="6046429" y="4961951"/>
                <a:ext cx="128016" cy="128016"/>
              </a:xfrm>
              <a:prstGeom prst="ellipse">
                <a:avLst/>
              </a:prstGeom>
              <a:grpFill/>
              <a:ln w="381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Arial" panose="020B0604020202020204" pitchFamily="34" charset="0"/>
                  <a:ea typeface="微软雅黑" panose="020B0503020204020204" pitchFamily="34" charset="-122"/>
                  <a:cs typeface="思源黑体 CN Regular" panose="020B0500000000000000" charset="-122"/>
                  <a:sym typeface="Arial" panose="020B0604020202020204" pitchFamily="34" charset="0"/>
                </a:endParaRPr>
              </a:p>
            </p:txBody>
          </p:sp>
          <p:sp>
            <p:nvSpPr>
              <p:cNvPr id="18" name="Oval 17"/>
              <p:cNvSpPr>
                <a:spLocks noChangeAspect="1"/>
              </p:cNvSpPr>
              <p:nvPr/>
            </p:nvSpPr>
            <p:spPr>
              <a:xfrm>
                <a:off x="7289442" y="4961951"/>
                <a:ext cx="128016" cy="128016"/>
              </a:xfrm>
              <a:prstGeom prst="ellipse">
                <a:avLst/>
              </a:prstGeom>
              <a:grpFill/>
              <a:ln w="381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Arial" panose="020B0604020202020204" pitchFamily="34" charset="0"/>
                  <a:ea typeface="微软雅黑" panose="020B0503020204020204" pitchFamily="34" charset="-122"/>
                  <a:cs typeface="思源黑体 CN Regular" panose="020B0500000000000000" charset="-122"/>
                  <a:sym typeface="Arial" panose="020B0604020202020204" pitchFamily="34" charset="0"/>
                </a:endParaRPr>
              </a:p>
            </p:txBody>
          </p:sp>
          <p:sp>
            <p:nvSpPr>
              <p:cNvPr id="19" name="Oval 18"/>
              <p:cNvSpPr>
                <a:spLocks noChangeAspect="1"/>
              </p:cNvSpPr>
              <p:nvPr/>
            </p:nvSpPr>
            <p:spPr>
              <a:xfrm>
                <a:off x="8532455" y="4961951"/>
                <a:ext cx="128016" cy="128016"/>
              </a:xfrm>
              <a:prstGeom prst="ellipse">
                <a:avLst/>
              </a:prstGeom>
              <a:grpFill/>
              <a:ln w="381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Arial" panose="020B0604020202020204" pitchFamily="34" charset="0"/>
                  <a:ea typeface="微软雅黑" panose="020B0503020204020204" pitchFamily="34" charset="-122"/>
                  <a:cs typeface="思源黑体 CN Regular" panose="020B0500000000000000" charset="-122"/>
                  <a:sym typeface="Arial" panose="020B0604020202020204" pitchFamily="34" charset="0"/>
                </a:endParaRPr>
              </a:p>
            </p:txBody>
          </p:sp>
          <p:sp>
            <p:nvSpPr>
              <p:cNvPr id="20" name="Oval 19"/>
              <p:cNvSpPr>
                <a:spLocks noChangeAspect="1"/>
              </p:cNvSpPr>
              <p:nvPr/>
            </p:nvSpPr>
            <p:spPr>
              <a:xfrm>
                <a:off x="9733599" y="4961951"/>
                <a:ext cx="128016" cy="128016"/>
              </a:xfrm>
              <a:prstGeom prst="ellipse">
                <a:avLst/>
              </a:prstGeom>
              <a:grpFill/>
              <a:ln w="381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Arial" panose="020B0604020202020204" pitchFamily="34" charset="0"/>
                  <a:ea typeface="微软雅黑" panose="020B0503020204020204" pitchFamily="34" charset="-122"/>
                  <a:cs typeface="思源黑体 CN Regular" panose="020B0500000000000000" charset="-122"/>
                  <a:sym typeface="Arial" panose="020B0604020202020204" pitchFamily="34" charset="0"/>
                </a:endParaRPr>
              </a:p>
            </p:txBody>
          </p:sp>
          <p:sp>
            <p:nvSpPr>
              <p:cNvPr id="21" name="Oval 20"/>
              <p:cNvSpPr>
                <a:spLocks noChangeAspect="1"/>
              </p:cNvSpPr>
              <p:nvPr/>
            </p:nvSpPr>
            <p:spPr>
              <a:xfrm>
                <a:off x="10976612" y="4961951"/>
                <a:ext cx="128016" cy="128016"/>
              </a:xfrm>
              <a:prstGeom prst="ellipse">
                <a:avLst/>
              </a:prstGeom>
              <a:grpFill/>
              <a:ln w="381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Arial" panose="020B0604020202020204" pitchFamily="34" charset="0"/>
                  <a:ea typeface="微软雅黑" panose="020B0503020204020204" pitchFamily="34" charset="-122"/>
                  <a:cs typeface="思源黑体 CN Regular" panose="020B0500000000000000" charset="-122"/>
                  <a:sym typeface="Arial" panose="020B0604020202020204" pitchFamily="34" charset="0"/>
                </a:endParaRPr>
              </a:p>
            </p:txBody>
          </p:sp>
        </p:grpSp>
        <p:grpSp>
          <p:nvGrpSpPr>
            <p:cNvPr id="22" name="Group 21"/>
            <p:cNvGrpSpPr/>
            <p:nvPr/>
          </p:nvGrpSpPr>
          <p:grpSpPr>
            <a:xfrm>
              <a:off x="1132758" y="4589400"/>
              <a:ext cx="9913556" cy="276999"/>
              <a:chOff x="912753" y="4702847"/>
              <a:chExt cx="10366911" cy="289667"/>
            </a:xfrm>
          </p:grpSpPr>
          <p:sp>
            <p:nvSpPr>
              <p:cNvPr id="23" name="Rectangle 22"/>
              <p:cNvSpPr/>
              <p:nvPr/>
            </p:nvSpPr>
            <p:spPr>
              <a:xfrm>
                <a:off x="912753" y="4702847"/>
                <a:ext cx="451263" cy="289667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algn="ctr"/>
                <a:r>
                  <a:rPr lang="en-US" sz="1200">
                    <a:solidFill>
                      <a:schemeClr val="bg1">
                        <a:lumMod val="65000"/>
                      </a:schemeClr>
                    </a:solidFill>
                    <a:latin typeface="Arial" panose="020B0604020202020204" pitchFamily="34" charset="0"/>
                    <a:ea typeface="微软雅黑" panose="020B0503020204020204" pitchFamily="34" charset="-122"/>
                    <a:cs typeface="思源黑体 CN Regular" panose="020B0500000000000000" charset="-122"/>
                    <a:sym typeface="Arial" panose="020B0604020202020204" pitchFamily="34" charset="0"/>
                  </a:rPr>
                  <a:t>Jan</a:t>
                </a:r>
              </a:p>
            </p:txBody>
          </p:sp>
          <p:sp>
            <p:nvSpPr>
              <p:cNvPr id="24" name="Rectangle 23"/>
              <p:cNvSpPr/>
              <p:nvPr/>
            </p:nvSpPr>
            <p:spPr>
              <a:xfrm>
                <a:off x="2159957" y="4702847"/>
                <a:ext cx="442881" cy="289667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algn="ctr"/>
                <a:r>
                  <a:rPr lang="en-US" sz="1200">
                    <a:solidFill>
                      <a:schemeClr val="bg1">
                        <a:lumMod val="65000"/>
                      </a:schemeClr>
                    </a:solidFill>
                    <a:latin typeface="Arial" panose="020B0604020202020204" pitchFamily="34" charset="0"/>
                    <a:ea typeface="微软雅黑" panose="020B0503020204020204" pitchFamily="34" charset="-122"/>
                    <a:cs typeface="思源黑体 CN Regular" panose="020B0500000000000000" charset="-122"/>
                    <a:sym typeface="Arial" panose="020B0604020202020204" pitchFamily="34" charset="0"/>
                  </a:rPr>
                  <a:t>Apr</a:t>
                </a:r>
              </a:p>
            </p:txBody>
          </p:sp>
          <p:sp>
            <p:nvSpPr>
              <p:cNvPr id="25" name="Rectangle 24"/>
              <p:cNvSpPr/>
              <p:nvPr/>
            </p:nvSpPr>
            <p:spPr>
              <a:xfrm>
                <a:off x="3378396" y="4702847"/>
                <a:ext cx="496523" cy="289667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algn="ctr"/>
                <a:r>
                  <a:rPr lang="en-US" sz="1200">
                    <a:solidFill>
                      <a:schemeClr val="bg1">
                        <a:lumMod val="65000"/>
                      </a:schemeClr>
                    </a:solidFill>
                    <a:latin typeface="Arial" panose="020B0604020202020204" pitchFamily="34" charset="0"/>
                    <a:ea typeface="微软雅黑" panose="020B0503020204020204" pitchFamily="34" charset="-122"/>
                    <a:cs typeface="思源黑体 CN Regular" panose="020B0500000000000000" charset="-122"/>
                    <a:sym typeface="Arial" panose="020B0604020202020204" pitchFamily="34" charset="0"/>
                  </a:rPr>
                  <a:t>May</a:t>
                </a:r>
              </a:p>
            </p:txBody>
          </p:sp>
          <p:sp>
            <p:nvSpPr>
              <p:cNvPr id="26" name="Rectangle 25"/>
              <p:cNvSpPr/>
              <p:nvPr/>
            </p:nvSpPr>
            <p:spPr>
              <a:xfrm>
                <a:off x="4642363" y="4702847"/>
                <a:ext cx="454616" cy="289667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algn="ctr"/>
                <a:r>
                  <a:rPr lang="en-US" sz="1200">
                    <a:solidFill>
                      <a:schemeClr val="bg1">
                        <a:lumMod val="65000"/>
                      </a:schemeClr>
                    </a:solidFill>
                    <a:latin typeface="Arial" panose="020B0604020202020204" pitchFamily="34" charset="0"/>
                    <a:ea typeface="微软雅黑" panose="020B0503020204020204" pitchFamily="34" charset="-122"/>
                    <a:cs typeface="思源黑体 CN Regular" panose="020B0500000000000000" charset="-122"/>
                    <a:sym typeface="Arial" panose="020B0604020202020204" pitchFamily="34" charset="0"/>
                  </a:rPr>
                  <a:t>Jun</a:t>
                </a:r>
              </a:p>
            </p:txBody>
          </p:sp>
          <p:sp>
            <p:nvSpPr>
              <p:cNvPr id="27" name="Rectangle 26"/>
              <p:cNvSpPr/>
              <p:nvPr/>
            </p:nvSpPr>
            <p:spPr>
              <a:xfrm>
                <a:off x="10801581" y="4702847"/>
                <a:ext cx="478083" cy="289667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algn="ctr"/>
                <a:r>
                  <a:rPr lang="en-US" sz="1200">
                    <a:solidFill>
                      <a:schemeClr val="bg1">
                        <a:lumMod val="65000"/>
                      </a:schemeClr>
                    </a:solidFill>
                    <a:latin typeface="Arial" panose="020B0604020202020204" pitchFamily="34" charset="0"/>
                    <a:ea typeface="微软雅黑" panose="020B0503020204020204" pitchFamily="34" charset="-122"/>
                    <a:cs typeface="思源黑体 CN Regular" panose="020B0500000000000000" charset="-122"/>
                    <a:sym typeface="Arial" panose="020B0604020202020204" pitchFamily="34" charset="0"/>
                  </a:rPr>
                  <a:t>Nov</a:t>
                </a:r>
              </a:p>
            </p:txBody>
          </p:sp>
          <p:sp>
            <p:nvSpPr>
              <p:cNvPr id="28" name="Rectangle 27"/>
              <p:cNvSpPr/>
              <p:nvPr/>
            </p:nvSpPr>
            <p:spPr>
              <a:xfrm>
                <a:off x="9575327" y="4702847"/>
                <a:ext cx="444557" cy="289667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algn="ctr"/>
                <a:r>
                  <a:rPr lang="en-US" sz="1200">
                    <a:solidFill>
                      <a:schemeClr val="bg1">
                        <a:lumMod val="65000"/>
                      </a:schemeClr>
                    </a:solidFill>
                    <a:latin typeface="Arial" panose="020B0604020202020204" pitchFamily="34" charset="0"/>
                    <a:ea typeface="微软雅黑" panose="020B0503020204020204" pitchFamily="34" charset="-122"/>
                    <a:cs typeface="思源黑体 CN Regular" panose="020B0500000000000000" charset="-122"/>
                    <a:sym typeface="Arial" panose="020B0604020202020204" pitchFamily="34" charset="0"/>
                  </a:rPr>
                  <a:t>Oct</a:t>
                </a:r>
              </a:p>
            </p:txBody>
          </p:sp>
          <p:sp>
            <p:nvSpPr>
              <p:cNvPr id="29" name="Rectangle 28"/>
              <p:cNvSpPr/>
              <p:nvPr/>
            </p:nvSpPr>
            <p:spPr>
              <a:xfrm>
                <a:off x="8353165" y="4702847"/>
                <a:ext cx="478084" cy="289667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algn="ctr"/>
                <a:r>
                  <a:rPr lang="en-US" sz="1200">
                    <a:solidFill>
                      <a:schemeClr val="bg1">
                        <a:lumMod val="65000"/>
                      </a:schemeClr>
                    </a:solidFill>
                    <a:latin typeface="Arial" panose="020B0604020202020204" pitchFamily="34" charset="0"/>
                    <a:ea typeface="微软雅黑" panose="020B0503020204020204" pitchFamily="34" charset="-122"/>
                    <a:cs typeface="思源黑体 CN Regular" panose="020B0500000000000000" charset="-122"/>
                    <a:sym typeface="Arial" panose="020B0604020202020204" pitchFamily="34" charset="0"/>
                  </a:rPr>
                  <a:t>Sep</a:t>
                </a:r>
              </a:p>
            </p:txBody>
          </p:sp>
          <p:sp>
            <p:nvSpPr>
              <p:cNvPr id="30" name="Rectangle 29"/>
              <p:cNvSpPr/>
              <p:nvPr/>
            </p:nvSpPr>
            <p:spPr>
              <a:xfrm>
                <a:off x="7114408" y="4702847"/>
                <a:ext cx="478083" cy="289667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algn="ctr"/>
                <a:r>
                  <a:rPr lang="en-US" sz="1200">
                    <a:solidFill>
                      <a:schemeClr val="bg1">
                        <a:lumMod val="65000"/>
                      </a:schemeClr>
                    </a:solidFill>
                    <a:latin typeface="Arial" panose="020B0604020202020204" pitchFamily="34" charset="0"/>
                    <a:ea typeface="微软雅黑" panose="020B0503020204020204" pitchFamily="34" charset="-122"/>
                    <a:cs typeface="思源黑体 CN Regular" panose="020B0500000000000000" charset="-122"/>
                    <a:sym typeface="Arial" panose="020B0604020202020204" pitchFamily="34" charset="0"/>
                  </a:rPr>
                  <a:t>Aug</a:t>
                </a:r>
              </a:p>
            </p:txBody>
          </p:sp>
          <p:sp>
            <p:nvSpPr>
              <p:cNvPr id="31" name="Rectangle 30"/>
              <p:cNvSpPr/>
              <p:nvPr/>
            </p:nvSpPr>
            <p:spPr>
              <a:xfrm>
                <a:off x="5910787" y="4702847"/>
                <a:ext cx="399298" cy="289667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algn="ctr"/>
                <a:r>
                  <a:rPr lang="en-US" sz="1200">
                    <a:solidFill>
                      <a:schemeClr val="bg1">
                        <a:lumMod val="65000"/>
                      </a:schemeClr>
                    </a:solidFill>
                    <a:latin typeface="Arial" panose="020B0604020202020204" pitchFamily="34" charset="0"/>
                    <a:ea typeface="微软雅黑" panose="020B0503020204020204" pitchFamily="34" charset="-122"/>
                    <a:cs typeface="思源黑体 CN Regular" panose="020B0500000000000000" charset="-122"/>
                    <a:sym typeface="Arial" panose="020B0604020202020204" pitchFamily="34" charset="0"/>
                  </a:rPr>
                  <a:t>Jul</a:t>
                </a:r>
              </a:p>
            </p:txBody>
          </p:sp>
        </p:grpSp>
      </p:grpSp>
      <p:sp>
        <p:nvSpPr>
          <p:cNvPr id="32" name="Rounded Rectangle 30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SpPr/>
          <p:nvPr/>
        </p:nvSpPr>
        <p:spPr>
          <a:xfrm>
            <a:off x="1247278" y="3822120"/>
            <a:ext cx="1351111" cy="191278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rial" panose="020B0604020202020204" pitchFamily="34" charset="0"/>
              <a:ea typeface="微软雅黑" panose="020B0503020204020204" pitchFamily="34" charset="-122"/>
              <a:cs typeface="思源黑体 CN Regular" panose="020B0500000000000000" charset="-122"/>
              <a:sym typeface="Arial" panose="020B0604020202020204" pitchFamily="34" charset="0"/>
            </a:endParaRPr>
          </a:p>
        </p:txBody>
      </p:sp>
      <p:sp>
        <p:nvSpPr>
          <p:cNvPr id="33" name="Rounded Rectangle 31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SpPr/>
          <p:nvPr/>
        </p:nvSpPr>
        <p:spPr>
          <a:xfrm>
            <a:off x="2475969" y="3333159"/>
            <a:ext cx="2499728" cy="191278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rial" panose="020B0604020202020204" pitchFamily="34" charset="0"/>
              <a:ea typeface="微软雅黑" panose="020B0503020204020204" pitchFamily="34" charset="-122"/>
              <a:cs typeface="思源黑体 CN Regular" panose="020B0500000000000000" charset="-122"/>
              <a:sym typeface="Arial" panose="020B0604020202020204" pitchFamily="34" charset="0"/>
            </a:endParaRPr>
          </a:p>
        </p:txBody>
      </p:sp>
      <p:sp>
        <p:nvSpPr>
          <p:cNvPr id="34" name="Rounded Rectangle 32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SpPr/>
          <p:nvPr/>
        </p:nvSpPr>
        <p:spPr>
          <a:xfrm>
            <a:off x="3664624" y="3822120"/>
            <a:ext cx="2499728" cy="191278"/>
          </a:xfrm>
          <a:prstGeom prst="roundRect">
            <a:avLst>
              <a:gd name="adj" fmla="val 50000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rial" panose="020B0604020202020204" pitchFamily="34" charset="0"/>
              <a:ea typeface="微软雅黑" panose="020B0503020204020204" pitchFamily="34" charset="-122"/>
              <a:cs typeface="思源黑体 CN Regular" panose="020B0500000000000000" charset="-122"/>
              <a:sym typeface="Arial" panose="020B0604020202020204" pitchFamily="34" charset="0"/>
            </a:endParaRPr>
          </a:p>
        </p:txBody>
      </p:sp>
      <p:sp>
        <p:nvSpPr>
          <p:cNvPr id="35" name="Rounded Rectangle 33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SpPr/>
          <p:nvPr/>
        </p:nvSpPr>
        <p:spPr>
          <a:xfrm>
            <a:off x="4853280" y="2844198"/>
            <a:ext cx="4836999" cy="191278"/>
          </a:xfrm>
          <a:prstGeom prst="roundRect">
            <a:avLst>
              <a:gd name="adj" fmla="val 50000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rial" panose="020B0604020202020204" pitchFamily="34" charset="0"/>
              <a:ea typeface="微软雅黑" panose="020B0503020204020204" pitchFamily="34" charset="-122"/>
              <a:cs typeface="思源黑体 CN Regular" panose="020B0500000000000000" charset="-122"/>
              <a:sym typeface="Arial" panose="020B0604020202020204" pitchFamily="34" charset="0"/>
            </a:endParaRPr>
          </a:p>
        </p:txBody>
      </p:sp>
      <p:sp>
        <p:nvSpPr>
          <p:cNvPr id="36" name="Rounded Rectangle 34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SpPr/>
          <p:nvPr/>
        </p:nvSpPr>
        <p:spPr>
          <a:xfrm>
            <a:off x="7230589" y="2366965"/>
            <a:ext cx="1311073" cy="191278"/>
          </a:xfrm>
          <a:prstGeom prst="roundRect">
            <a:avLst>
              <a:gd name="adj" fmla="val 50000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rial" panose="020B0604020202020204" pitchFamily="34" charset="0"/>
              <a:ea typeface="微软雅黑" panose="020B0503020204020204" pitchFamily="34" charset="-122"/>
              <a:cs typeface="思源黑体 CN Regular" panose="020B0500000000000000" charset="-122"/>
              <a:sym typeface="Arial" panose="020B0604020202020204" pitchFamily="34" charset="0"/>
            </a:endParaRPr>
          </a:p>
        </p:txBody>
      </p:sp>
      <p:sp>
        <p:nvSpPr>
          <p:cNvPr id="37" name="Rounded Rectangle 35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SpPr/>
          <p:nvPr/>
        </p:nvSpPr>
        <p:spPr>
          <a:xfrm>
            <a:off x="8419244" y="1862405"/>
            <a:ext cx="2459690" cy="191278"/>
          </a:xfrm>
          <a:prstGeom prst="roundRect">
            <a:avLst>
              <a:gd name="adj" fmla="val 50000"/>
            </a:avLst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rial" panose="020B0604020202020204" pitchFamily="34" charset="0"/>
              <a:ea typeface="微软雅黑" panose="020B0503020204020204" pitchFamily="34" charset="-122"/>
              <a:cs typeface="思源黑体 CN Regular" panose="020B0500000000000000" charset="-122"/>
              <a:sym typeface="Arial" panose="020B0604020202020204" pitchFamily="34" charset="0"/>
            </a:endParaRPr>
          </a:p>
        </p:txBody>
      </p:sp>
      <p:sp>
        <p:nvSpPr>
          <p:cNvPr id="39" name="Rectangle 38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SpPr/>
          <p:nvPr/>
        </p:nvSpPr>
        <p:spPr>
          <a:xfrm>
            <a:off x="1746145" y="5616151"/>
            <a:ext cx="1075389" cy="36933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en-AU" sz="1200">
                <a:solidFill>
                  <a:schemeClr val="accent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等线" panose="02010600030101010101" charset="-122"/>
                <a:sym typeface="Arial" panose="020B0604020202020204" pitchFamily="34" charset="0"/>
              </a:rPr>
              <a:t>Your Subtitle Here</a:t>
            </a:r>
          </a:p>
        </p:txBody>
      </p:sp>
      <p:sp>
        <p:nvSpPr>
          <p:cNvPr id="41" name="Rectangle 40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SpPr/>
          <p:nvPr/>
        </p:nvSpPr>
        <p:spPr>
          <a:xfrm>
            <a:off x="3536444" y="5616151"/>
            <a:ext cx="1050891" cy="36933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en-AU" sz="1200">
                <a:solidFill>
                  <a:schemeClr val="accent2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等线" panose="02010600030101010101" charset="-122"/>
                <a:sym typeface="Arial" panose="020B0604020202020204" pitchFamily="34" charset="0"/>
              </a:rPr>
              <a:t>Your Subtitle Here</a:t>
            </a:r>
          </a:p>
        </p:txBody>
      </p:sp>
      <p:sp>
        <p:nvSpPr>
          <p:cNvPr id="43" name="Rectangle 42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SpPr/>
          <p:nvPr/>
        </p:nvSpPr>
        <p:spPr>
          <a:xfrm>
            <a:off x="5279444" y="5616151"/>
            <a:ext cx="1050891" cy="36933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en-AU" sz="1200">
                <a:solidFill>
                  <a:schemeClr val="accent3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等线" panose="02010600030101010101" charset="-122"/>
                <a:sym typeface="Arial" panose="020B0604020202020204" pitchFamily="34" charset="0"/>
              </a:rPr>
              <a:t>Your Subtitle Here</a:t>
            </a:r>
          </a:p>
        </p:txBody>
      </p:sp>
      <p:sp>
        <p:nvSpPr>
          <p:cNvPr id="45" name="Rectangle 44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SpPr/>
          <p:nvPr/>
        </p:nvSpPr>
        <p:spPr>
          <a:xfrm>
            <a:off x="7022444" y="5616151"/>
            <a:ext cx="1050891" cy="36933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en-AU" sz="1200">
                <a:solidFill>
                  <a:schemeClr val="accent4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等线" panose="02010600030101010101" charset="-122"/>
                <a:sym typeface="Arial" panose="020B0604020202020204" pitchFamily="34" charset="0"/>
              </a:rPr>
              <a:t>Your Subtitle Here</a:t>
            </a:r>
          </a:p>
        </p:txBody>
      </p:sp>
      <p:sp>
        <p:nvSpPr>
          <p:cNvPr id="47" name="Rectangle 46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SpPr/>
          <p:nvPr/>
        </p:nvSpPr>
        <p:spPr>
          <a:xfrm>
            <a:off x="8781210" y="5616151"/>
            <a:ext cx="1050891" cy="36933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en-AU" sz="1200">
                <a:solidFill>
                  <a:schemeClr val="accent5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等线" panose="02010600030101010101" charset="-122"/>
                <a:sym typeface="Arial" panose="020B0604020202020204" pitchFamily="34" charset="0"/>
              </a:rPr>
              <a:t>Your Subtitle Here</a:t>
            </a:r>
          </a:p>
        </p:txBody>
      </p:sp>
      <p:sp>
        <p:nvSpPr>
          <p:cNvPr id="49" name="Rectangle 48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SpPr/>
          <p:nvPr/>
        </p:nvSpPr>
        <p:spPr>
          <a:xfrm>
            <a:off x="10539976" y="5616151"/>
            <a:ext cx="1050891" cy="36933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en-AU" sz="1200">
                <a:solidFill>
                  <a:schemeClr val="accent6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等线" panose="02010600030101010101" charset="-122"/>
                <a:sym typeface="Arial" panose="020B0604020202020204" pitchFamily="34" charset="0"/>
              </a:rPr>
              <a:t>Your Subtitle Here</a:t>
            </a:r>
          </a:p>
        </p:txBody>
      </p:sp>
      <p:grpSp>
        <p:nvGrpSpPr>
          <p:cNvPr id="83" name="Group 82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GrpSpPr/>
          <p:nvPr/>
        </p:nvGrpSpPr>
        <p:grpSpPr>
          <a:xfrm>
            <a:off x="8117921" y="5499378"/>
            <a:ext cx="535878" cy="535876"/>
            <a:chOff x="8095373" y="5467846"/>
            <a:chExt cx="535878" cy="535876"/>
          </a:xfrm>
          <a:effectLst>
            <a:outerShdw blurRad="190500" algn="ctr" rotWithShape="0">
              <a:schemeClr val="bg1">
                <a:lumMod val="50000"/>
                <a:alpha val="40000"/>
              </a:schemeClr>
            </a:outerShdw>
          </a:effectLst>
        </p:grpSpPr>
        <p:sp>
          <p:nvSpPr>
            <p:cNvPr id="46" name="Oval 45"/>
            <p:cNvSpPr/>
            <p:nvPr/>
          </p:nvSpPr>
          <p:spPr>
            <a:xfrm>
              <a:off x="8095373" y="5467846"/>
              <a:ext cx="535878" cy="535876"/>
            </a:xfrm>
            <a:prstGeom prst="ellipse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endParaRPr>
            </a:p>
          </p:txBody>
        </p:sp>
        <p:grpSp>
          <p:nvGrpSpPr>
            <p:cNvPr id="50" name="Group 49"/>
            <p:cNvGrpSpPr/>
            <p:nvPr/>
          </p:nvGrpSpPr>
          <p:grpSpPr>
            <a:xfrm>
              <a:off x="8238526" y="5632583"/>
              <a:ext cx="266823" cy="217107"/>
              <a:chOff x="10074275" y="4479132"/>
              <a:chExt cx="464344" cy="377825"/>
            </a:xfrm>
            <a:solidFill>
              <a:schemeClr val="bg1"/>
            </a:solidFill>
          </p:grpSpPr>
          <p:sp>
            <p:nvSpPr>
              <p:cNvPr id="51" name="AutoShape 5"/>
              <p:cNvSpPr/>
              <p:nvPr/>
            </p:nvSpPr>
            <p:spPr bwMode="auto">
              <a:xfrm>
                <a:off x="10393363" y="4595019"/>
                <a:ext cx="87313" cy="116681"/>
              </a:xfrm>
              <a:custGeom>
                <a:avLst/>
                <a:gdLst>
                  <a:gd name="T0" fmla="*/ 10800 w 21600"/>
                  <a:gd name="T1" fmla="*/ 10800 h 21600"/>
                  <a:gd name="T2" fmla="*/ 10800 w 21600"/>
                  <a:gd name="T3" fmla="*/ 10800 h 21600"/>
                  <a:gd name="T4" fmla="*/ 10800 w 21600"/>
                  <a:gd name="T5" fmla="*/ 10800 h 21600"/>
                  <a:gd name="T6" fmla="*/ 10800 w 21600"/>
                  <a:gd name="T7" fmla="*/ 10800 h 216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1600" h="21600">
                    <a:moveTo>
                      <a:pt x="17999" y="18900"/>
                    </a:moveTo>
                    <a:lnTo>
                      <a:pt x="3600" y="18900"/>
                    </a:lnTo>
                    <a:lnTo>
                      <a:pt x="3600" y="2700"/>
                    </a:lnTo>
                    <a:lnTo>
                      <a:pt x="7200" y="2700"/>
                    </a:lnTo>
                    <a:lnTo>
                      <a:pt x="17999" y="14850"/>
                    </a:lnTo>
                    <a:cubicBezTo>
                      <a:pt x="17999" y="14850"/>
                      <a:pt x="17999" y="18900"/>
                      <a:pt x="17999" y="18900"/>
                    </a:cubicBezTo>
                    <a:close/>
                    <a:moveTo>
                      <a:pt x="10195" y="1202"/>
                    </a:moveTo>
                    <a:cubicBezTo>
                      <a:pt x="9527" y="450"/>
                      <a:pt x="8402" y="0"/>
                      <a:pt x="7200" y="0"/>
                    </a:cubicBezTo>
                    <a:lnTo>
                      <a:pt x="3600" y="0"/>
                    </a:lnTo>
                    <a:cubicBezTo>
                      <a:pt x="1610" y="0"/>
                      <a:pt x="0" y="1207"/>
                      <a:pt x="0" y="2700"/>
                    </a:cubicBezTo>
                    <a:lnTo>
                      <a:pt x="0" y="18900"/>
                    </a:lnTo>
                    <a:cubicBezTo>
                      <a:pt x="0" y="20392"/>
                      <a:pt x="1610" y="21599"/>
                      <a:pt x="3600" y="21599"/>
                    </a:cubicBezTo>
                    <a:lnTo>
                      <a:pt x="17999" y="21599"/>
                    </a:lnTo>
                    <a:cubicBezTo>
                      <a:pt x="19989" y="21599"/>
                      <a:pt x="21600" y="20392"/>
                      <a:pt x="21600" y="18900"/>
                    </a:cubicBezTo>
                    <a:lnTo>
                      <a:pt x="21600" y="14850"/>
                    </a:lnTo>
                    <a:cubicBezTo>
                      <a:pt x="21600" y="14317"/>
                      <a:pt x="21389" y="13795"/>
                      <a:pt x="20995" y="13352"/>
                    </a:cubicBezTo>
                    <a:cubicBezTo>
                      <a:pt x="20995" y="13352"/>
                      <a:pt x="10195" y="1202"/>
                      <a:pt x="10195" y="1202"/>
                    </a:cubicBezTo>
                    <a:close/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lIns="19050" tIns="19050" rIns="19050" bIns="19050" anchor="ctr"/>
              <a:lstStyle/>
              <a:p>
                <a:pPr algn="ctr" defTabSz="22860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en-US" sz="1500">
                  <a:solidFill>
                    <a:srgbClr val="FFFFFF"/>
                  </a:solidFill>
                  <a:effectLst>
                    <a:outerShdw blurRad="38100" dist="38100" dir="2700000" algn="tl">
                      <a:srgbClr val="000000"/>
                    </a:outerShdw>
                  </a:effectLst>
                  <a:latin typeface="Arial" panose="020B0604020202020204" pitchFamily="34" charset="0"/>
                  <a:ea typeface="微软雅黑" panose="020B0503020204020204" pitchFamily="34" charset="-122"/>
                  <a:cs typeface="思源黑体 CN Regular" panose="020B0500000000000000" charset="-122"/>
                  <a:sym typeface="Arial" panose="020B0604020202020204" pitchFamily="34" charset="0"/>
                </a:endParaRPr>
              </a:p>
            </p:txBody>
          </p:sp>
          <p:sp>
            <p:nvSpPr>
              <p:cNvPr id="52" name="AutoShape 6"/>
              <p:cNvSpPr/>
              <p:nvPr/>
            </p:nvSpPr>
            <p:spPr bwMode="auto">
              <a:xfrm>
                <a:off x="10074275" y="4479132"/>
                <a:ext cx="464344" cy="377825"/>
              </a:xfrm>
              <a:custGeom>
                <a:avLst/>
                <a:gdLst>
                  <a:gd name="T0" fmla="*/ 10800 w 21600"/>
                  <a:gd name="T1" fmla="*/ 10800 h 21600"/>
                  <a:gd name="T2" fmla="*/ 10800 w 21600"/>
                  <a:gd name="T3" fmla="*/ 10800 h 21600"/>
                  <a:gd name="T4" fmla="*/ 10800 w 21600"/>
                  <a:gd name="T5" fmla="*/ 10800 h 21600"/>
                  <a:gd name="T6" fmla="*/ 10800 w 21600"/>
                  <a:gd name="T7" fmla="*/ 10800 h 216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1600" h="21600">
                    <a:moveTo>
                      <a:pt x="20250" y="16615"/>
                    </a:moveTo>
                    <a:cubicBezTo>
                      <a:pt x="20250" y="17074"/>
                      <a:pt x="19948" y="17446"/>
                      <a:pt x="19575" y="17446"/>
                    </a:cubicBezTo>
                    <a:lnTo>
                      <a:pt x="18803" y="17446"/>
                    </a:lnTo>
                    <a:cubicBezTo>
                      <a:pt x="18501" y="16016"/>
                      <a:pt x="17453" y="14953"/>
                      <a:pt x="16200" y="14953"/>
                    </a:cubicBezTo>
                    <a:cubicBezTo>
                      <a:pt x="14945" y="14953"/>
                      <a:pt x="13897" y="16016"/>
                      <a:pt x="13595" y="17446"/>
                    </a:cubicBezTo>
                    <a:lnTo>
                      <a:pt x="10029" y="17446"/>
                    </a:lnTo>
                    <a:cubicBezTo>
                      <a:pt x="9727" y="16016"/>
                      <a:pt x="8679" y="14953"/>
                      <a:pt x="7425" y="14953"/>
                    </a:cubicBezTo>
                    <a:cubicBezTo>
                      <a:pt x="6170" y="14953"/>
                      <a:pt x="5122" y="16016"/>
                      <a:pt x="4820" y="17446"/>
                    </a:cubicBezTo>
                    <a:lnTo>
                      <a:pt x="4050" y="17446"/>
                    </a:lnTo>
                    <a:cubicBezTo>
                      <a:pt x="3677" y="17446"/>
                      <a:pt x="3375" y="17074"/>
                      <a:pt x="3375" y="16615"/>
                    </a:cubicBezTo>
                    <a:lnTo>
                      <a:pt x="3375" y="14123"/>
                    </a:lnTo>
                    <a:lnTo>
                      <a:pt x="12150" y="14123"/>
                    </a:lnTo>
                    <a:cubicBezTo>
                      <a:pt x="13266" y="14123"/>
                      <a:pt x="14175" y="13005"/>
                      <a:pt x="14175" y="11630"/>
                    </a:cubicBezTo>
                    <a:lnTo>
                      <a:pt x="14175" y="5815"/>
                    </a:lnTo>
                    <a:lnTo>
                      <a:pt x="16875" y="5815"/>
                    </a:lnTo>
                    <a:cubicBezTo>
                      <a:pt x="17100" y="5815"/>
                      <a:pt x="17311" y="5954"/>
                      <a:pt x="17436" y="6185"/>
                    </a:cubicBezTo>
                    <a:lnTo>
                      <a:pt x="20136" y="11169"/>
                    </a:lnTo>
                    <a:cubicBezTo>
                      <a:pt x="20210" y="11306"/>
                      <a:pt x="20250" y="11466"/>
                      <a:pt x="20250" y="11630"/>
                    </a:cubicBezTo>
                    <a:cubicBezTo>
                      <a:pt x="20250" y="11630"/>
                      <a:pt x="20250" y="16615"/>
                      <a:pt x="20250" y="16615"/>
                    </a:cubicBezTo>
                    <a:close/>
                    <a:moveTo>
                      <a:pt x="16200" y="19938"/>
                    </a:moveTo>
                    <a:cubicBezTo>
                      <a:pt x="15454" y="19938"/>
                      <a:pt x="14850" y="19193"/>
                      <a:pt x="14850" y="18276"/>
                    </a:cubicBezTo>
                    <a:cubicBezTo>
                      <a:pt x="14850" y="17360"/>
                      <a:pt x="15454" y="16615"/>
                      <a:pt x="16200" y="16615"/>
                    </a:cubicBezTo>
                    <a:cubicBezTo>
                      <a:pt x="16945" y="16615"/>
                      <a:pt x="17550" y="17360"/>
                      <a:pt x="17550" y="18276"/>
                    </a:cubicBezTo>
                    <a:cubicBezTo>
                      <a:pt x="17550" y="19193"/>
                      <a:pt x="16945" y="19938"/>
                      <a:pt x="16200" y="19938"/>
                    </a:cubicBezTo>
                    <a:moveTo>
                      <a:pt x="7425" y="19938"/>
                    </a:moveTo>
                    <a:cubicBezTo>
                      <a:pt x="6679" y="19938"/>
                      <a:pt x="6075" y="19193"/>
                      <a:pt x="6075" y="18276"/>
                    </a:cubicBezTo>
                    <a:cubicBezTo>
                      <a:pt x="6075" y="17360"/>
                      <a:pt x="6679" y="16615"/>
                      <a:pt x="7425" y="16615"/>
                    </a:cubicBezTo>
                    <a:cubicBezTo>
                      <a:pt x="8170" y="16615"/>
                      <a:pt x="8775" y="17360"/>
                      <a:pt x="8775" y="18276"/>
                    </a:cubicBezTo>
                    <a:cubicBezTo>
                      <a:pt x="8775" y="19193"/>
                      <a:pt x="8170" y="19938"/>
                      <a:pt x="7425" y="19938"/>
                    </a:cubicBezTo>
                    <a:moveTo>
                      <a:pt x="2024" y="12461"/>
                    </a:moveTo>
                    <a:cubicBezTo>
                      <a:pt x="1652" y="12461"/>
                      <a:pt x="1349" y="12089"/>
                      <a:pt x="1349" y="11630"/>
                    </a:cubicBezTo>
                    <a:lnTo>
                      <a:pt x="1349" y="2492"/>
                    </a:lnTo>
                    <a:cubicBezTo>
                      <a:pt x="1349" y="2033"/>
                      <a:pt x="1652" y="1661"/>
                      <a:pt x="2024" y="1661"/>
                    </a:cubicBezTo>
                    <a:lnTo>
                      <a:pt x="12150" y="1661"/>
                    </a:lnTo>
                    <a:cubicBezTo>
                      <a:pt x="12523" y="1661"/>
                      <a:pt x="12825" y="2033"/>
                      <a:pt x="12825" y="2492"/>
                    </a:cubicBezTo>
                    <a:lnTo>
                      <a:pt x="12825" y="4153"/>
                    </a:lnTo>
                    <a:lnTo>
                      <a:pt x="12825" y="5815"/>
                    </a:lnTo>
                    <a:lnTo>
                      <a:pt x="12825" y="11630"/>
                    </a:lnTo>
                    <a:cubicBezTo>
                      <a:pt x="12825" y="12089"/>
                      <a:pt x="12523" y="12461"/>
                      <a:pt x="12150" y="12461"/>
                    </a:cubicBezTo>
                    <a:cubicBezTo>
                      <a:pt x="12150" y="12461"/>
                      <a:pt x="2024" y="12461"/>
                      <a:pt x="2024" y="12461"/>
                    </a:cubicBezTo>
                    <a:close/>
                    <a:moveTo>
                      <a:pt x="21259" y="10248"/>
                    </a:moveTo>
                    <a:lnTo>
                      <a:pt x="18559" y="5263"/>
                    </a:lnTo>
                    <a:cubicBezTo>
                      <a:pt x="18182" y="4568"/>
                      <a:pt x="17552" y="4153"/>
                      <a:pt x="16875" y="4153"/>
                    </a:cubicBezTo>
                    <a:lnTo>
                      <a:pt x="14175" y="4153"/>
                    </a:lnTo>
                    <a:lnTo>
                      <a:pt x="14175" y="2492"/>
                    </a:lnTo>
                    <a:cubicBezTo>
                      <a:pt x="14175" y="1117"/>
                      <a:pt x="13266" y="0"/>
                      <a:pt x="12150" y="0"/>
                    </a:cubicBezTo>
                    <a:lnTo>
                      <a:pt x="2024" y="0"/>
                    </a:lnTo>
                    <a:cubicBezTo>
                      <a:pt x="908" y="0"/>
                      <a:pt x="0" y="1117"/>
                      <a:pt x="0" y="2492"/>
                    </a:cubicBezTo>
                    <a:lnTo>
                      <a:pt x="0" y="11630"/>
                    </a:lnTo>
                    <a:cubicBezTo>
                      <a:pt x="0" y="13005"/>
                      <a:pt x="908" y="14123"/>
                      <a:pt x="2024" y="14123"/>
                    </a:cubicBezTo>
                    <a:lnTo>
                      <a:pt x="2025" y="14123"/>
                    </a:lnTo>
                    <a:lnTo>
                      <a:pt x="2025" y="16615"/>
                    </a:lnTo>
                    <a:cubicBezTo>
                      <a:pt x="2025" y="17989"/>
                      <a:pt x="2933" y="19107"/>
                      <a:pt x="4050" y="19107"/>
                    </a:cubicBezTo>
                    <a:lnTo>
                      <a:pt x="4820" y="19107"/>
                    </a:lnTo>
                    <a:cubicBezTo>
                      <a:pt x="5122" y="20537"/>
                      <a:pt x="6170" y="21600"/>
                      <a:pt x="7425" y="21600"/>
                    </a:cubicBezTo>
                    <a:cubicBezTo>
                      <a:pt x="8679" y="21600"/>
                      <a:pt x="9727" y="20537"/>
                      <a:pt x="10029" y="19107"/>
                    </a:cubicBezTo>
                    <a:lnTo>
                      <a:pt x="13595" y="19107"/>
                    </a:lnTo>
                    <a:cubicBezTo>
                      <a:pt x="13897" y="20537"/>
                      <a:pt x="14945" y="21600"/>
                      <a:pt x="16200" y="21600"/>
                    </a:cubicBezTo>
                    <a:cubicBezTo>
                      <a:pt x="17453" y="21600"/>
                      <a:pt x="18501" y="20537"/>
                      <a:pt x="18803" y="19107"/>
                    </a:cubicBezTo>
                    <a:lnTo>
                      <a:pt x="19575" y="19107"/>
                    </a:lnTo>
                    <a:cubicBezTo>
                      <a:pt x="20691" y="19107"/>
                      <a:pt x="21599" y="17989"/>
                      <a:pt x="21599" y="16615"/>
                    </a:cubicBezTo>
                    <a:lnTo>
                      <a:pt x="21599" y="11630"/>
                    </a:lnTo>
                    <a:cubicBezTo>
                      <a:pt x="21599" y="11137"/>
                      <a:pt x="21482" y="10658"/>
                      <a:pt x="21259" y="10248"/>
                    </a:cubicBezTo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lIns="19050" tIns="19050" rIns="19050" bIns="19050" anchor="ctr"/>
              <a:lstStyle/>
              <a:p>
                <a:pPr algn="ctr" defTabSz="22860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en-US" sz="1500">
                  <a:solidFill>
                    <a:srgbClr val="FFFFFF"/>
                  </a:solidFill>
                  <a:effectLst>
                    <a:outerShdw blurRad="38100" dist="38100" dir="2700000" algn="tl">
                      <a:srgbClr val="000000"/>
                    </a:outerShdw>
                  </a:effectLst>
                  <a:latin typeface="Arial" panose="020B0604020202020204" pitchFamily="34" charset="0"/>
                  <a:ea typeface="微软雅黑" panose="020B0503020204020204" pitchFamily="34" charset="-122"/>
                  <a:cs typeface="思源黑体 CN Regular" panose="020B0500000000000000" charset="-122"/>
                  <a:sym typeface="Arial" panose="020B0604020202020204" pitchFamily="34" charset="0"/>
                </a:endParaRPr>
              </a:p>
            </p:txBody>
          </p:sp>
        </p:grpSp>
      </p:grpSp>
      <p:grpSp>
        <p:nvGrpSpPr>
          <p:cNvPr id="82" name="Group 81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GrpSpPr/>
          <p:nvPr/>
        </p:nvGrpSpPr>
        <p:grpSpPr>
          <a:xfrm>
            <a:off x="6365993" y="5499378"/>
            <a:ext cx="535878" cy="535876"/>
            <a:chOff x="6368139" y="5467846"/>
            <a:chExt cx="535878" cy="535876"/>
          </a:xfrm>
          <a:effectLst>
            <a:outerShdw blurRad="190500" algn="ctr" rotWithShape="0">
              <a:schemeClr val="bg1">
                <a:lumMod val="50000"/>
                <a:alpha val="40000"/>
              </a:schemeClr>
            </a:outerShdw>
          </a:effectLst>
        </p:grpSpPr>
        <p:sp>
          <p:nvSpPr>
            <p:cNvPr id="44" name="Oval 43"/>
            <p:cNvSpPr/>
            <p:nvPr/>
          </p:nvSpPr>
          <p:spPr>
            <a:xfrm>
              <a:off x="6368139" y="5467846"/>
              <a:ext cx="535878" cy="535876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AU">
                <a:solidFill>
                  <a:schemeClr val="bg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endParaRPr>
            </a:p>
          </p:txBody>
        </p:sp>
        <p:grpSp>
          <p:nvGrpSpPr>
            <p:cNvPr id="53" name="Group 52"/>
            <p:cNvGrpSpPr/>
            <p:nvPr/>
          </p:nvGrpSpPr>
          <p:grpSpPr>
            <a:xfrm>
              <a:off x="6502667" y="5602145"/>
              <a:ext cx="266823" cy="267279"/>
              <a:chOff x="9145588" y="4435475"/>
              <a:chExt cx="464344" cy="465138"/>
            </a:xfrm>
            <a:solidFill>
              <a:schemeClr val="bg1"/>
            </a:solidFill>
          </p:grpSpPr>
          <p:sp>
            <p:nvSpPr>
              <p:cNvPr id="54" name="AutoShape 7"/>
              <p:cNvSpPr/>
              <p:nvPr/>
            </p:nvSpPr>
            <p:spPr bwMode="auto">
              <a:xfrm>
                <a:off x="9145588" y="4435475"/>
                <a:ext cx="464344" cy="465138"/>
              </a:xfrm>
              <a:custGeom>
                <a:avLst/>
                <a:gdLst>
                  <a:gd name="T0" fmla="+- 0 10800 1271"/>
                  <a:gd name="T1" fmla="*/ T0 w 19058"/>
                  <a:gd name="T2" fmla="+- 0 10799 1270"/>
                  <a:gd name="T3" fmla="*/ 10799 h 19059"/>
                  <a:gd name="T4" fmla="+- 0 10800 1271"/>
                  <a:gd name="T5" fmla="*/ T4 w 19058"/>
                  <a:gd name="T6" fmla="+- 0 10799 1270"/>
                  <a:gd name="T7" fmla="*/ 10799 h 19059"/>
                  <a:gd name="T8" fmla="+- 0 10800 1271"/>
                  <a:gd name="T9" fmla="*/ T8 w 19058"/>
                  <a:gd name="T10" fmla="+- 0 10799 1270"/>
                  <a:gd name="T11" fmla="*/ 10799 h 19059"/>
                  <a:gd name="T12" fmla="+- 0 10800 1271"/>
                  <a:gd name="T13" fmla="*/ T12 w 19058"/>
                  <a:gd name="T14" fmla="+- 0 10799 1270"/>
                  <a:gd name="T15" fmla="*/ 10799 h 19059"/>
                </a:gdLst>
                <a:ahLst/>
                <a:cxnLst>
                  <a:cxn ang="0">
                    <a:pos x="T1" y="T3"/>
                  </a:cxn>
                  <a:cxn ang="0">
                    <a:pos x="T5" y="T7"/>
                  </a:cxn>
                  <a:cxn ang="0">
                    <a:pos x="T9" y="T11"/>
                  </a:cxn>
                  <a:cxn ang="0">
                    <a:pos x="T13" y="T15"/>
                  </a:cxn>
                </a:cxnLst>
                <a:rect l="0" t="0" r="r" b="b"/>
                <a:pathLst>
                  <a:path w="19058" h="19059">
                    <a:moveTo>
                      <a:pt x="6430" y="17268"/>
                    </a:moveTo>
                    <a:cubicBezTo>
                      <a:pt x="2162" y="15559"/>
                      <a:pt x="82" y="10698"/>
                      <a:pt x="1790" y="6431"/>
                    </a:cubicBezTo>
                    <a:cubicBezTo>
                      <a:pt x="3499" y="2164"/>
                      <a:pt x="8360" y="81"/>
                      <a:pt x="12627" y="1791"/>
                    </a:cubicBezTo>
                    <a:cubicBezTo>
                      <a:pt x="16894" y="3499"/>
                      <a:pt x="18975" y="8361"/>
                      <a:pt x="17267" y="12628"/>
                    </a:cubicBezTo>
                    <a:cubicBezTo>
                      <a:pt x="15558" y="16895"/>
                      <a:pt x="10696" y="18976"/>
                      <a:pt x="6430" y="17268"/>
                    </a:cubicBezTo>
                    <a:moveTo>
                      <a:pt x="13070" y="685"/>
                    </a:moveTo>
                    <a:cubicBezTo>
                      <a:pt x="8186" y="-1270"/>
                      <a:pt x="2641" y="1103"/>
                      <a:pt x="685" y="5987"/>
                    </a:cubicBezTo>
                    <a:cubicBezTo>
                      <a:pt x="-1271" y="10872"/>
                      <a:pt x="1103" y="16418"/>
                      <a:pt x="5987" y="18373"/>
                    </a:cubicBezTo>
                    <a:cubicBezTo>
                      <a:pt x="10871" y="20330"/>
                      <a:pt x="16416" y="17955"/>
                      <a:pt x="18373" y="13071"/>
                    </a:cubicBezTo>
                    <a:cubicBezTo>
                      <a:pt x="20329" y="8186"/>
                      <a:pt x="17954" y="2641"/>
                      <a:pt x="13070" y="685"/>
                    </a:cubicBezTo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lIns="19050" tIns="19050" rIns="19050" bIns="19050" anchor="ctr"/>
              <a:lstStyle/>
              <a:p>
                <a:pPr algn="ctr" defTabSz="22860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en-US" sz="1500">
                  <a:solidFill>
                    <a:srgbClr val="FFFFFF"/>
                  </a:solidFill>
                  <a:effectLst>
                    <a:outerShdw blurRad="38100" dist="38100" dir="2700000" algn="tl">
                      <a:srgbClr val="000000"/>
                    </a:outerShdw>
                  </a:effectLst>
                  <a:latin typeface="Arial" panose="020B0604020202020204" pitchFamily="34" charset="0"/>
                  <a:ea typeface="微软雅黑" panose="020B0503020204020204" pitchFamily="34" charset="-122"/>
                  <a:cs typeface="思源黑体 CN Regular" panose="020B0500000000000000" charset="-122"/>
                  <a:sym typeface="Arial" panose="020B0604020202020204" pitchFamily="34" charset="0"/>
                </a:endParaRPr>
              </a:p>
            </p:txBody>
          </p:sp>
          <p:sp>
            <p:nvSpPr>
              <p:cNvPr id="55" name="AutoShape 8"/>
              <p:cNvSpPr/>
              <p:nvPr/>
            </p:nvSpPr>
            <p:spPr bwMode="auto">
              <a:xfrm>
                <a:off x="9348788" y="4638675"/>
                <a:ext cx="57944" cy="57944"/>
              </a:xfrm>
              <a:custGeom>
                <a:avLst/>
                <a:gdLst>
                  <a:gd name="T0" fmla="+- 0 10801 1272"/>
                  <a:gd name="T1" fmla="*/ T0 w 19059"/>
                  <a:gd name="T2" fmla="+- 0 10800 1272"/>
                  <a:gd name="T3" fmla="*/ 10800 h 19056"/>
                  <a:gd name="T4" fmla="+- 0 10801 1272"/>
                  <a:gd name="T5" fmla="*/ T4 w 19059"/>
                  <a:gd name="T6" fmla="+- 0 10800 1272"/>
                  <a:gd name="T7" fmla="*/ 10800 h 19056"/>
                  <a:gd name="T8" fmla="+- 0 10801 1272"/>
                  <a:gd name="T9" fmla="*/ T8 w 19059"/>
                  <a:gd name="T10" fmla="+- 0 10800 1272"/>
                  <a:gd name="T11" fmla="*/ 10800 h 19056"/>
                  <a:gd name="T12" fmla="+- 0 10801 1272"/>
                  <a:gd name="T13" fmla="*/ T12 w 19059"/>
                  <a:gd name="T14" fmla="+- 0 10800 1272"/>
                  <a:gd name="T15" fmla="*/ 10800 h 19056"/>
                </a:gdLst>
                <a:ahLst/>
                <a:cxnLst>
                  <a:cxn ang="0">
                    <a:pos x="T1" y="T3"/>
                  </a:cxn>
                  <a:cxn ang="0">
                    <a:pos x="T5" y="T7"/>
                  </a:cxn>
                  <a:cxn ang="0">
                    <a:pos x="T9" y="T11"/>
                  </a:cxn>
                  <a:cxn ang="0">
                    <a:pos x="T13" y="T15"/>
                  </a:cxn>
                </a:cxnLst>
                <a:rect l="0" t="0" r="r" b="b"/>
                <a:pathLst>
                  <a:path w="19059" h="19056">
                    <a:moveTo>
                      <a:pt x="7753" y="13951"/>
                    </a:moveTo>
                    <a:cubicBezTo>
                      <a:pt x="5315" y="12969"/>
                      <a:pt x="4129" y="10197"/>
                      <a:pt x="5101" y="7755"/>
                    </a:cubicBezTo>
                    <a:cubicBezTo>
                      <a:pt x="6083" y="5323"/>
                      <a:pt x="8860" y="4132"/>
                      <a:pt x="11298" y="5104"/>
                    </a:cubicBezTo>
                    <a:cubicBezTo>
                      <a:pt x="13735" y="6081"/>
                      <a:pt x="14926" y="8858"/>
                      <a:pt x="13949" y="11300"/>
                    </a:cubicBezTo>
                    <a:cubicBezTo>
                      <a:pt x="12972" y="13737"/>
                      <a:pt x="10195" y="14923"/>
                      <a:pt x="7753" y="13951"/>
                    </a:cubicBezTo>
                    <a:moveTo>
                      <a:pt x="13070" y="686"/>
                    </a:moveTo>
                    <a:cubicBezTo>
                      <a:pt x="8190" y="-1272"/>
                      <a:pt x="2640" y="1104"/>
                      <a:pt x="686" y="5988"/>
                    </a:cubicBezTo>
                    <a:cubicBezTo>
                      <a:pt x="-1272" y="10872"/>
                      <a:pt x="1105" y="16416"/>
                      <a:pt x="5985" y="18369"/>
                    </a:cubicBezTo>
                    <a:cubicBezTo>
                      <a:pt x="10870" y="20328"/>
                      <a:pt x="16415" y="17951"/>
                      <a:pt x="18374" y="13072"/>
                    </a:cubicBezTo>
                    <a:cubicBezTo>
                      <a:pt x="20328" y="8188"/>
                      <a:pt x="17960" y="2644"/>
                      <a:pt x="13070" y="686"/>
                    </a:cubicBezTo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lIns="19050" tIns="19050" rIns="19050" bIns="19050" anchor="ctr"/>
              <a:lstStyle/>
              <a:p>
                <a:pPr algn="ctr" defTabSz="22860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en-US" sz="1500">
                  <a:solidFill>
                    <a:srgbClr val="FFFFFF"/>
                  </a:solidFill>
                  <a:effectLst>
                    <a:outerShdw blurRad="38100" dist="38100" dir="2700000" algn="tl">
                      <a:srgbClr val="000000"/>
                    </a:outerShdw>
                  </a:effectLst>
                  <a:latin typeface="Arial" panose="020B0604020202020204" pitchFamily="34" charset="0"/>
                  <a:ea typeface="微软雅黑" panose="020B0503020204020204" pitchFamily="34" charset="-122"/>
                  <a:cs typeface="思源黑体 CN Regular" panose="020B0500000000000000" charset="-122"/>
                  <a:sym typeface="Arial" panose="020B0604020202020204" pitchFamily="34" charset="0"/>
                </a:endParaRPr>
              </a:p>
            </p:txBody>
          </p:sp>
          <p:sp>
            <p:nvSpPr>
              <p:cNvPr id="56" name="AutoShape 9"/>
              <p:cNvSpPr/>
              <p:nvPr/>
            </p:nvSpPr>
            <p:spPr bwMode="auto">
              <a:xfrm>
                <a:off x="9290050" y="4580732"/>
                <a:ext cx="174625" cy="174625"/>
              </a:xfrm>
              <a:custGeom>
                <a:avLst/>
                <a:gdLst>
                  <a:gd name="T0" fmla="+- 0 10800 1271"/>
                  <a:gd name="T1" fmla="*/ T0 w 19059"/>
                  <a:gd name="T2" fmla="+- 0 10800 1271"/>
                  <a:gd name="T3" fmla="*/ 10800 h 19058"/>
                  <a:gd name="T4" fmla="+- 0 10800 1271"/>
                  <a:gd name="T5" fmla="*/ T4 w 19059"/>
                  <a:gd name="T6" fmla="+- 0 10800 1271"/>
                  <a:gd name="T7" fmla="*/ 10800 h 19058"/>
                  <a:gd name="T8" fmla="+- 0 10800 1271"/>
                  <a:gd name="T9" fmla="*/ T8 w 19059"/>
                  <a:gd name="T10" fmla="+- 0 10800 1271"/>
                  <a:gd name="T11" fmla="*/ 10800 h 19058"/>
                  <a:gd name="T12" fmla="+- 0 10800 1271"/>
                  <a:gd name="T13" fmla="*/ T12 w 19059"/>
                  <a:gd name="T14" fmla="+- 0 10800 1271"/>
                  <a:gd name="T15" fmla="*/ 10800 h 19058"/>
                </a:gdLst>
                <a:ahLst/>
                <a:cxnLst>
                  <a:cxn ang="0">
                    <a:pos x="T1" y="T3"/>
                  </a:cxn>
                  <a:cxn ang="0">
                    <a:pos x="T5" y="T7"/>
                  </a:cxn>
                  <a:cxn ang="0">
                    <a:pos x="T9" y="T11"/>
                  </a:cxn>
                  <a:cxn ang="0">
                    <a:pos x="T13" y="T15"/>
                  </a:cxn>
                </a:cxnLst>
                <a:rect l="0" t="0" r="r" b="b"/>
                <a:pathLst>
                  <a:path w="19059" h="19058">
                    <a:moveTo>
                      <a:pt x="7169" y="15424"/>
                    </a:moveTo>
                    <a:cubicBezTo>
                      <a:pt x="3916" y="14123"/>
                      <a:pt x="2331" y="10417"/>
                      <a:pt x="3632" y="7167"/>
                    </a:cubicBezTo>
                    <a:cubicBezTo>
                      <a:pt x="4934" y="3917"/>
                      <a:pt x="8638" y="2331"/>
                      <a:pt x="11889" y="3632"/>
                    </a:cubicBezTo>
                    <a:cubicBezTo>
                      <a:pt x="15141" y="4934"/>
                      <a:pt x="16728" y="8640"/>
                      <a:pt x="15425" y="11890"/>
                    </a:cubicBezTo>
                    <a:cubicBezTo>
                      <a:pt x="14124" y="15140"/>
                      <a:pt x="10419" y="16728"/>
                      <a:pt x="7169" y="15424"/>
                    </a:cubicBezTo>
                    <a:moveTo>
                      <a:pt x="13071" y="685"/>
                    </a:moveTo>
                    <a:cubicBezTo>
                      <a:pt x="8186" y="-1271"/>
                      <a:pt x="2639" y="1104"/>
                      <a:pt x="686" y="5987"/>
                    </a:cubicBezTo>
                    <a:cubicBezTo>
                      <a:pt x="-1271" y="10871"/>
                      <a:pt x="1104" y="16416"/>
                      <a:pt x="5987" y="18372"/>
                    </a:cubicBezTo>
                    <a:cubicBezTo>
                      <a:pt x="10874" y="20329"/>
                      <a:pt x="16418" y="17955"/>
                      <a:pt x="18375" y="13070"/>
                    </a:cubicBezTo>
                    <a:cubicBezTo>
                      <a:pt x="20328" y="8186"/>
                      <a:pt x="17956" y="2641"/>
                      <a:pt x="13071" y="685"/>
                    </a:cubicBezTo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lIns="19050" tIns="19050" rIns="19050" bIns="19050" anchor="ctr"/>
              <a:lstStyle/>
              <a:p>
                <a:pPr algn="ctr" defTabSz="22860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en-US" sz="1500">
                  <a:solidFill>
                    <a:srgbClr val="FFFFFF"/>
                  </a:solidFill>
                  <a:effectLst>
                    <a:outerShdw blurRad="38100" dist="38100" dir="2700000" algn="tl">
                      <a:srgbClr val="000000"/>
                    </a:outerShdw>
                  </a:effectLst>
                  <a:latin typeface="Arial" panose="020B0604020202020204" pitchFamily="34" charset="0"/>
                  <a:ea typeface="微软雅黑" panose="020B0503020204020204" pitchFamily="34" charset="-122"/>
                  <a:cs typeface="思源黑体 CN Regular" panose="020B0500000000000000" charset="-122"/>
                  <a:sym typeface="Arial" panose="020B0604020202020204" pitchFamily="34" charset="0"/>
                </a:endParaRPr>
              </a:p>
            </p:txBody>
          </p:sp>
          <p:sp>
            <p:nvSpPr>
              <p:cNvPr id="57" name="AutoShape 10"/>
              <p:cNvSpPr/>
              <p:nvPr/>
            </p:nvSpPr>
            <p:spPr bwMode="auto">
              <a:xfrm>
                <a:off x="9406732" y="4696619"/>
                <a:ext cx="72231" cy="74613"/>
              </a:xfrm>
              <a:custGeom>
                <a:avLst/>
                <a:gdLst>
                  <a:gd name="T0" fmla="+- 0 10804 288"/>
                  <a:gd name="T1" fmla="*/ T0 w 21033"/>
                  <a:gd name="T2" fmla="+- 0 10798 277"/>
                  <a:gd name="T3" fmla="*/ 10798 h 21043"/>
                  <a:gd name="T4" fmla="+- 0 10804 288"/>
                  <a:gd name="T5" fmla="*/ T4 w 21033"/>
                  <a:gd name="T6" fmla="+- 0 10798 277"/>
                  <a:gd name="T7" fmla="*/ 10798 h 21043"/>
                  <a:gd name="T8" fmla="+- 0 10804 288"/>
                  <a:gd name="T9" fmla="*/ T8 w 21033"/>
                  <a:gd name="T10" fmla="+- 0 10798 277"/>
                  <a:gd name="T11" fmla="*/ 10798 h 21043"/>
                  <a:gd name="T12" fmla="+- 0 10804 288"/>
                  <a:gd name="T13" fmla="*/ T12 w 21033"/>
                  <a:gd name="T14" fmla="+- 0 10798 277"/>
                  <a:gd name="T15" fmla="*/ 10798 h 21043"/>
                </a:gdLst>
                <a:ahLst/>
                <a:cxnLst>
                  <a:cxn ang="0">
                    <a:pos x="T1" y="T3"/>
                  </a:cxn>
                  <a:cxn ang="0">
                    <a:pos x="T5" y="T7"/>
                  </a:cxn>
                  <a:cxn ang="0">
                    <a:pos x="T9" y="T11"/>
                  </a:cxn>
                  <a:cxn ang="0">
                    <a:pos x="T13" y="T15"/>
                  </a:cxn>
                </a:cxnLst>
                <a:rect l="0" t="0" r="r" b="b"/>
                <a:pathLst>
                  <a:path w="21033" h="21043">
                    <a:moveTo>
                      <a:pt x="20881" y="2825"/>
                    </a:moveTo>
                    <a:cubicBezTo>
                      <a:pt x="21312" y="1771"/>
                      <a:pt x="20787" y="572"/>
                      <a:pt x="19713" y="149"/>
                    </a:cubicBezTo>
                    <a:cubicBezTo>
                      <a:pt x="18636" y="-277"/>
                      <a:pt x="17414" y="238"/>
                      <a:pt x="16984" y="1296"/>
                    </a:cubicBezTo>
                    <a:lnTo>
                      <a:pt x="16980" y="1292"/>
                    </a:lnTo>
                    <a:cubicBezTo>
                      <a:pt x="13964" y="8692"/>
                      <a:pt x="8182" y="14184"/>
                      <a:pt x="1269" y="17089"/>
                    </a:cubicBezTo>
                    <a:cubicBezTo>
                      <a:pt x="207" y="17536"/>
                      <a:pt x="-288" y="18747"/>
                      <a:pt x="170" y="19789"/>
                    </a:cubicBezTo>
                    <a:cubicBezTo>
                      <a:pt x="629" y="20840"/>
                      <a:pt x="1863" y="21323"/>
                      <a:pt x="2924" y="20876"/>
                    </a:cubicBezTo>
                    <a:cubicBezTo>
                      <a:pt x="2961" y="20860"/>
                      <a:pt x="2982" y="20828"/>
                      <a:pt x="3014" y="20815"/>
                    </a:cubicBezTo>
                    <a:cubicBezTo>
                      <a:pt x="10874" y="17480"/>
                      <a:pt x="17451" y="11227"/>
                      <a:pt x="20877" y="2825"/>
                    </a:cubicBezTo>
                    <a:cubicBezTo>
                      <a:pt x="20877" y="2825"/>
                      <a:pt x="20881" y="2825"/>
                      <a:pt x="20881" y="2825"/>
                    </a:cubicBezTo>
                    <a:close/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lIns="19050" tIns="19050" rIns="19050" bIns="19050" anchor="ctr"/>
              <a:lstStyle/>
              <a:p>
                <a:pPr algn="ctr" defTabSz="22860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en-US" sz="1500">
                  <a:solidFill>
                    <a:srgbClr val="FFFFFF"/>
                  </a:solidFill>
                  <a:effectLst>
                    <a:outerShdw blurRad="38100" dist="38100" dir="2700000" algn="tl">
                      <a:srgbClr val="000000"/>
                    </a:outerShdw>
                  </a:effectLst>
                  <a:latin typeface="Arial" panose="020B0604020202020204" pitchFamily="34" charset="0"/>
                  <a:ea typeface="微软雅黑" panose="020B0503020204020204" pitchFamily="34" charset="-122"/>
                  <a:cs typeface="思源黑体 CN Regular" panose="020B0500000000000000" charset="-122"/>
                  <a:sym typeface="Arial" panose="020B0604020202020204" pitchFamily="34" charset="0"/>
                </a:endParaRPr>
              </a:p>
            </p:txBody>
          </p:sp>
          <p:sp>
            <p:nvSpPr>
              <p:cNvPr id="58" name="AutoShape 11"/>
              <p:cNvSpPr/>
              <p:nvPr/>
            </p:nvSpPr>
            <p:spPr bwMode="auto">
              <a:xfrm>
                <a:off x="9435307" y="4725988"/>
                <a:ext cx="103981" cy="106363"/>
              </a:xfrm>
              <a:custGeom>
                <a:avLst/>
                <a:gdLst>
                  <a:gd name="T0" fmla="+- 0 10803 203"/>
                  <a:gd name="T1" fmla="*/ T0 w 21201"/>
                  <a:gd name="T2" fmla="+- 0 10798 194"/>
                  <a:gd name="T3" fmla="*/ 10798 h 21209"/>
                  <a:gd name="T4" fmla="+- 0 10803 203"/>
                  <a:gd name="T5" fmla="*/ T4 w 21201"/>
                  <a:gd name="T6" fmla="+- 0 10798 194"/>
                  <a:gd name="T7" fmla="*/ 10798 h 21209"/>
                  <a:gd name="T8" fmla="+- 0 10803 203"/>
                  <a:gd name="T9" fmla="*/ T8 w 21201"/>
                  <a:gd name="T10" fmla="+- 0 10798 194"/>
                  <a:gd name="T11" fmla="*/ 10798 h 21209"/>
                  <a:gd name="T12" fmla="+- 0 10803 203"/>
                  <a:gd name="T13" fmla="*/ T12 w 21201"/>
                  <a:gd name="T14" fmla="+- 0 10798 194"/>
                  <a:gd name="T15" fmla="*/ 10798 h 21209"/>
                </a:gdLst>
                <a:ahLst/>
                <a:cxnLst>
                  <a:cxn ang="0">
                    <a:pos x="T1" y="T3"/>
                  </a:cxn>
                  <a:cxn ang="0">
                    <a:pos x="T5" y="T7"/>
                  </a:cxn>
                  <a:cxn ang="0">
                    <a:pos x="T9" y="T11"/>
                  </a:cxn>
                  <a:cxn ang="0">
                    <a:pos x="T13" y="T15"/>
                  </a:cxn>
                </a:cxnLst>
                <a:rect l="0" t="0" r="r" b="b"/>
                <a:pathLst>
                  <a:path w="21201" h="21209">
                    <a:moveTo>
                      <a:pt x="20267" y="104"/>
                    </a:moveTo>
                    <a:cubicBezTo>
                      <a:pt x="19508" y="-194"/>
                      <a:pt x="18645" y="169"/>
                      <a:pt x="18339" y="912"/>
                    </a:cubicBezTo>
                    <a:cubicBezTo>
                      <a:pt x="14991" y="9110"/>
                      <a:pt x="8568" y="15198"/>
                      <a:pt x="894" y="18420"/>
                    </a:cubicBezTo>
                    <a:cubicBezTo>
                      <a:pt x="144" y="18735"/>
                      <a:pt x="-203" y="19589"/>
                      <a:pt x="121" y="20327"/>
                    </a:cubicBezTo>
                    <a:cubicBezTo>
                      <a:pt x="442" y="21068"/>
                      <a:pt x="1314" y="21406"/>
                      <a:pt x="2067" y="21090"/>
                    </a:cubicBezTo>
                    <a:cubicBezTo>
                      <a:pt x="2102" y="21073"/>
                      <a:pt x="2125" y="21042"/>
                      <a:pt x="2159" y="21025"/>
                    </a:cubicBezTo>
                    <a:cubicBezTo>
                      <a:pt x="10491" y="17500"/>
                      <a:pt x="17461" y="10881"/>
                      <a:pt x="21095" y="1994"/>
                    </a:cubicBezTo>
                    <a:cubicBezTo>
                      <a:pt x="21397" y="1250"/>
                      <a:pt x="21026" y="404"/>
                      <a:pt x="20267" y="104"/>
                    </a:cubicBezTo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lIns="19050" tIns="19050" rIns="19050" bIns="19050" anchor="ctr"/>
              <a:lstStyle/>
              <a:p>
                <a:pPr algn="ctr" defTabSz="22860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en-US" sz="1500">
                  <a:solidFill>
                    <a:srgbClr val="FFFFFF"/>
                  </a:solidFill>
                  <a:effectLst>
                    <a:outerShdw blurRad="38100" dist="38100" dir="2700000" algn="tl">
                      <a:srgbClr val="000000"/>
                    </a:outerShdw>
                  </a:effectLst>
                  <a:latin typeface="Arial" panose="020B0604020202020204" pitchFamily="34" charset="0"/>
                  <a:ea typeface="微软雅黑" panose="020B0503020204020204" pitchFamily="34" charset="-122"/>
                  <a:cs typeface="思源黑体 CN Regular" panose="020B0500000000000000" charset="-122"/>
                  <a:sym typeface="Arial" panose="020B0604020202020204" pitchFamily="34" charset="0"/>
                </a:endParaRPr>
              </a:p>
            </p:txBody>
          </p:sp>
          <p:sp>
            <p:nvSpPr>
              <p:cNvPr id="59" name="AutoShape 12"/>
              <p:cNvSpPr/>
              <p:nvPr/>
            </p:nvSpPr>
            <p:spPr bwMode="auto">
              <a:xfrm>
                <a:off x="9421019" y="4711700"/>
                <a:ext cx="88106" cy="89694"/>
              </a:xfrm>
              <a:custGeom>
                <a:avLst/>
                <a:gdLst>
                  <a:gd name="T0" fmla="+- 0 10802 238"/>
                  <a:gd name="T1" fmla="*/ T0 w 21128"/>
                  <a:gd name="T2" fmla="+- 0 10797 227"/>
                  <a:gd name="T3" fmla="*/ 10797 h 21141"/>
                  <a:gd name="T4" fmla="+- 0 10802 238"/>
                  <a:gd name="T5" fmla="*/ T4 w 21128"/>
                  <a:gd name="T6" fmla="+- 0 10797 227"/>
                  <a:gd name="T7" fmla="*/ 10797 h 21141"/>
                  <a:gd name="T8" fmla="+- 0 10802 238"/>
                  <a:gd name="T9" fmla="*/ T8 w 21128"/>
                  <a:gd name="T10" fmla="+- 0 10797 227"/>
                  <a:gd name="T11" fmla="*/ 10797 h 21141"/>
                  <a:gd name="T12" fmla="+- 0 10802 238"/>
                  <a:gd name="T13" fmla="*/ T12 w 21128"/>
                  <a:gd name="T14" fmla="+- 0 10797 227"/>
                  <a:gd name="T15" fmla="*/ 10797 h 21141"/>
                </a:gdLst>
                <a:ahLst/>
                <a:cxnLst>
                  <a:cxn ang="0">
                    <a:pos x="T1" y="T3"/>
                  </a:cxn>
                  <a:cxn ang="0">
                    <a:pos x="T5" y="T7"/>
                  </a:cxn>
                  <a:cxn ang="0">
                    <a:pos x="T9" y="T11"/>
                  </a:cxn>
                  <a:cxn ang="0">
                    <a:pos x="T13" y="T15"/>
                  </a:cxn>
                </a:cxnLst>
                <a:rect l="0" t="0" r="r" b="b"/>
                <a:pathLst>
                  <a:path w="21128" h="21141">
                    <a:moveTo>
                      <a:pt x="20035" y="122"/>
                    </a:moveTo>
                    <a:cubicBezTo>
                      <a:pt x="19142" y="-227"/>
                      <a:pt x="18134" y="195"/>
                      <a:pt x="17778" y="1071"/>
                    </a:cubicBezTo>
                    <a:cubicBezTo>
                      <a:pt x="14571" y="8936"/>
                      <a:pt x="8412" y="14778"/>
                      <a:pt x="1051" y="17867"/>
                    </a:cubicBezTo>
                    <a:lnTo>
                      <a:pt x="1054" y="17867"/>
                    </a:lnTo>
                    <a:cubicBezTo>
                      <a:pt x="172" y="18240"/>
                      <a:pt x="-238" y="19242"/>
                      <a:pt x="142" y="20108"/>
                    </a:cubicBezTo>
                    <a:cubicBezTo>
                      <a:pt x="522" y="20973"/>
                      <a:pt x="1543" y="21372"/>
                      <a:pt x="2425" y="21003"/>
                    </a:cubicBezTo>
                    <a:cubicBezTo>
                      <a:pt x="2459" y="20986"/>
                      <a:pt x="2476" y="20956"/>
                      <a:pt x="2514" y="20936"/>
                    </a:cubicBezTo>
                    <a:cubicBezTo>
                      <a:pt x="10651" y="17491"/>
                      <a:pt x="17459" y="11027"/>
                      <a:pt x="21002" y="2339"/>
                    </a:cubicBezTo>
                    <a:cubicBezTo>
                      <a:pt x="21361" y="1463"/>
                      <a:pt x="20927" y="472"/>
                      <a:pt x="20035" y="122"/>
                    </a:cubicBezTo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lIns="19050" tIns="19050" rIns="19050" bIns="19050" anchor="ctr"/>
              <a:lstStyle/>
              <a:p>
                <a:pPr algn="ctr" defTabSz="22860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en-US" sz="1500">
                  <a:solidFill>
                    <a:srgbClr val="FFFFFF"/>
                  </a:solidFill>
                  <a:effectLst>
                    <a:outerShdw blurRad="38100" dist="38100" dir="2700000" algn="tl">
                      <a:srgbClr val="000000"/>
                    </a:outerShdw>
                  </a:effectLst>
                  <a:latin typeface="Arial" panose="020B0604020202020204" pitchFamily="34" charset="0"/>
                  <a:ea typeface="微软雅黑" panose="020B0503020204020204" pitchFamily="34" charset="-122"/>
                  <a:cs typeface="思源黑体 CN Regular" panose="020B0500000000000000" charset="-122"/>
                  <a:sym typeface="Arial" panose="020B0604020202020204" pitchFamily="34" charset="0"/>
                </a:endParaRPr>
              </a:p>
            </p:txBody>
          </p:sp>
          <p:sp>
            <p:nvSpPr>
              <p:cNvPr id="60" name="AutoShape 13"/>
              <p:cNvSpPr/>
              <p:nvPr/>
            </p:nvSpPr>
            <p:spPr bwMode="auto">
              <a:xfrm>
                <a:off x="9275763" y="4566444"/>
                <a:ext cx="73025" cy="73819"/>
              </a:xfrm>
              <a:custGeom>
                <a:avLst/>
                <a:gdLst>
                  <a:gd name="T0" fmla="+- 0 10797 278"/>
                  <a:gd name="T1" fmla="*/ T0 w 21039"/>
                  <a:gd name="T2" fmla="+- 0 10803 281"/>
                  <a:gd name="T3" fmla="*/ 10803 h 21044"/>
                  <a:gd name="T4" fmla="+- 0 10797 278"/>
                  <a:gd name="T5" fmla="*/ T4 w 21039"/>
                  <a:gd name="T6" fmla="+- 0 10803 281"/>
                  <a:gd name="T7" fmla="*/ 10803 h 21044"/>
                  <a:gd name="T8" fmla="+- 0 10797 278"/>
                  <a:gd name="T9" fmla="*/ T8 w 21039"/>
                  <a:gd name="T10" fmla="+- 0 10803 281"/>
                  <a:gd name="T11" fmla="*/ 10803 h 21044"/>
                  <a:gd name="T12" fmla="+- 0 10797 278"/>
                  <a:gd name="T13" fmla="*/ T12 w 21039"/>
                  <a:gd name="T14" fmla="+- 0 10803 281"/>
                  <a:gd name="T15" fmla="*/ 10803 h 21044"/>
                </a:gdLst>
                <a:ahLst/>
                <a:cxnLst>
                  <a:cxn ang="0">
                    <a:pos x="T1" y="T3"/>
                  </a:cxn>
                  <a:cxn ang="0">
                    <a:pos x="T5" y="T7"/>
                  </a:cxn>
                  <a:cxn ang="0">
                    <a:pos x="T9" y="T11"/>
                  </a:cxn>
                  <a:cxn ang="0">
                    <a:pos x="T13" y="T15"/>
                  </a:cxn>
                </a:cxnLst>
                <a:rect l="0" t="0" r="r" b="b"/>
                <a:pathLst>
                  <a:path w="21039" h="21044">
                    <a:moveTo>
                      <a:pt x="20871" y="1248"/>
                    </a:moveTo>
                    <a:cubicBezTo>
                      <a:pt x="20411" y="197"/>
                      <a:pt x="19177" y="-281"/>
                      <a:pt x="18112" y="169"/>
                    </a:cubicBezTo>
                    <a:cubicBezTo>
                      <a:pt x="18075" y="181"/>
                      <a:pt x="18050" y="214"/>
                      <a:pt x="18021" y="226"/>
                    </a:cubicBezTo>
                    <a:cubicBezTo>
                      <a:pt x="10159" y="3562"/>
                      <a:pt x="3583" y="9820"/>
                      <a:pt x="152" y="18220"/>
                    </a:cubicBezTo>
                    <a:lnTo>
                      <a:pt x="148" y="18220"/>
                    </a:lnTo>
                    <a:cubicBezTo>
                      <a:pt x="-278" y="19278"/>
                      <a:pt x="242" y="20473"/>
                      <a:pt x="1320" y="20896"/>
                    </a:cubicBezTo>
                    <a:cubicBezTo>
                      <a:pt x="2398" y="21318"/>
                      <a:pt x="3620" y="20803"/>
                      <a:pt x="4046" y="19749"/>
                    </a:cubicBezTo>
                    <a:lnTo>
                      <a:pt x="4051" y="19749"/>
                    </a:lnTo>
                    <a:cubicBezTo>
                      <a:pt x="7068" y="12356"/>
                      <a:pt x="12856" y="6858"/>
                      <a:pt x="19764" y="3956"/>
                    </a:cubicBezTo>
                    <a:cubicBezTo>
                      <a:pt x="20830" y="3506"/>
                      <a:pt x="21322" y="2298"/>
                      <a:pt x="20871" y="1248"/>
                    </a:cubicBezTo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lIns="19050" tIns="19050" rIns="19050" bIns="19050" anchor="ctr"/>
              <a:lstStyle/>
              <a:p>
                <a:pPr algn="ctr" defTabSz="22860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en-US" sz="1500">
                  <a:solidFill>
                    <a:srgbClr val="FFFFFF"/>
                  </a:solidFill>
                  <a:effectLst>
                    <a:outerShdw blurRad="38100" dist="38100" dir="2700000" algn="tl">
                      <a:srgbClr val="000000"/>
                    </a:outerShdw>
                  </a:effectLst>
                  <a:latin typeface="Arial" panose="020B0604020202020204" pitchFamily="34" charset="0"/>
                  <a:ea typeface="微软雅黑" panose="020B0503020204020204" pitchFamily="34" charset="-122"/>
                  <a:cs typeface="思源黑体 CN Regular" panose="020B0500000000000000" charset="-122"/>
                  <a:sym typeface="Arial" panose="020B0604020202020204" pitchFamily="34" charset="0"/>
                </a:endParaRPr>
              </a:p>
            </p:txBody>
          </p:sp>
          <p:sp>
            <p:nvSpPr>
              <p:cNvPr id="61" name="AutoShape 14"/>
              <p:cNvSpPr/>
              <p:nvPr/>
            </p:nvSpPr>
            <p:spPr bwMode="auto">
              <a:xfrm>
                <a:off x="9217819" y="4508500"/>
                <a:ext cx="103981" cy="105569"/>
              </a:xfrm>
              <a:custGeom>
                <a:avLst/>
                <a:gdLst>
                  <a:gd name="T0" fmla="+- 0 10797 198"/>
                  <a:gd name="T1" fmla="*/ T0 w 21199"/>
                  <a:gd name="T2" fmla="+- 0 10802 198"/>
                  <a:gd name="T3" fmla="*/ 10802 h 21208"/>
                  <a:gd name="T4" fmla="+- 0 10797 198"/>
                  <a:gd name="T5" fmla="*/ T4 w 21199"/>
                  <a:gd name="T6" fmla="+- 0 10802 198"/>
                  <a:gd name="T7" fmla="*/ 10802 h 21208"/>
                  <a:gd name="T8" fmla="+- 0 10797 198"/>
                  <a:gd name="T9" fmla="*/ T8 w 21199"/>
                  <a:gd name="T10" fmla="+- 0 10802 198"/>
                  <a:gd name="T11" fmla="*/ 10802 h 21208"/>
                  <a:gd name="T12" fmla="+- 0 10797 198"/>
                  <a:gd name="T13" fmla="*/ T12 w 21199"/>
                  <a:gd name="T14" fmla="+- 0 10802 198"/>
                  <a:gd name="T15" fmla="*/ 10802 h 21208"/>
                </a:gdLst>
                <a:ahLst/>
                <a:cxnLst>
                  <a:cxn ang="0">
                    <a:pos x="T1" y="T3"/>
                  </a:cxn>
                  <a:cxn ang="0">
                    <a:pos x="T5" y="T7"/>
                  </a:cxn>
                  <a:cxn ang="0">
                    <a:pos x="T9" y="T11"/>
                  </a:cxn>
                  <a:cxn ang="0">
                    <a:pos x="T13" y="T15"/>
                  </a:cxn>
                </a:cxnLst>
                <a:rect l="0" t="0" r="r" b="b"/>
                <a:pathLst>
                  <a:path w="21199" h="21208">
                    <a:moveTo>
                      <a:pt x="21077" y="880"/>
                    </a:moveTo>
                    <a:cubicBezTo>
                      <a:pt x="20753" y="142"/>
                      <a:pt x="19881" y="-198"/>
                      <a:pt x="19129" y="117"/>
                    </a:cubicBezTo>
                    <a:cubicBezTo>
                      <a:pt x="19097" y="131"/>
                      <a:pt x="19071" y="162"/>
                      <a:pt x="19039" y="179"/>
                    </a:cubicBezTo>
                    <a:cubicBezTo>
                      <a:pt x="10706" y="3707"/>
                      <a:pt x="3739" y="10322"/>
                      <a:pt x="106" y="19208"/>
                    </a:cubicBezTo>
                    <a:cubicBezTo>
                      <a:pt x="-198" y="19957"/>
                      <a:pt x="172" y="20803"/>
                      <a:pt x="934" y="21101"/>
                    </a:cubicBezTo>
                    <a:cubicBezTo>
                      <a:pt x="1689" y="21401"/>
                      <a:pt x="2552" y="21041"/>
                      <a:pt x="2859" y="20292"/>
                    </a:cubicBezTo>
                    <a:cubicBezTo>
                      <a:pt x="6206" y="12096"/>
                      <a:pt x="12625" y="6008"/>
                      <a:pt x="20301" y="2787"/>
                    </a:cubicBezTo>
                    <a:cubicBezTo>
                      <a:pt x="21051" y="2469"/>
                      <a:pt x="21402" y="1618"/>
                      <a:pt x="21077" y="880"/>
                    </a:cubicBezTo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lIns="19050" tIns="19050" rIns="19050" bIns="19050" anchor="ctr"/>
              <a:lstStyle/>
              <a:p>
                <a:pPr algn="ctr" defTabSz="22860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en-US" sz="1500">
                  <a:solidFill>
                    <a:srgbClr val="FFFFFF"/>
                  </a:solidFill>
                  <a:effectLst>
                    <a:outerShdw blurRad="38100" dist="38100" dir="2700000" algn="tl">
                      <a:srgbClr val="000000"/>
                    </a:outerShdw>
                  </a:effectLst>
                  <a:latin typeface="Arial" panose="020B0604020202020204" pitchFamily="34" charset="0"/>
                  <a:ea typeface="微软雅黑" panose="020B0503020204020204" pitchFamily="34" charset="-122"/>
                  <a:cs typeface="思源黑体 CN Regular" panose="020B0500000000000000" charset="-122"/>
                  <a:sym typeface="Arial" panose="020B0604020202020204" pitchFamily="34" charset="0"/>
                </a:endParaRPr>
              </a:p>
            </p:txBody>
          </p:sp>
          <p:sp>
            <p:nvSpPr>
              <p:cNvPr id="62" name="AutoShape 15"/>
              <p:cNvSpPr/>
              <p:nvPr/>
            </p:nvSpPr>
            <p:spPr bwMode="auto">
              <a:xfrm>
                <a:off x="9247188" y="4537075"/>
                <a:ext cx="88107" cy="90488"/>
              </a:xfrm>
              <a:custGeom>
                <a:avLst/>
                <a:gdLst>
                  <a:gd name="T0" fmla="+- 0 10796 232"/>
                  <a:gd name="T1" fmla="*/ T0 w 21129"/>
                  <a:gd name="T2" fmla="+- 0 10804 234"/>
                  <a:gd name="T3" fmla="*/ 10804 h 21141"/>
                  <a:gd name="T4" fmla="+- 0 10796 232"/>
                  <a:gd name="T5" fmla="*/ T4 w 21129"/>
                  <a:gd name="T6" fmla="+- 0 10804 234"/>
                  <a:gd name="T7" fmla="*/ 10804 h 21141"/>
                  <a:gd name="T8" fmla="+- 0 10796 232"/>
                  <a:gd name="T9" fmla="*/ T8 w 21129"/>
                  <a:gd name="T10" fmla="+- 0 10804 234"/>
                  <a:gd name="T11" fmla="*/ 10804 h 21141"/>
                  <a:gd name="T12" fmla="+- 0 10796 232"/>
                  <a:gd name="T13" fmla="*/ T12 w 21129"/>
                  <a:gd name="T14" fmla="+- 0 10804 234"/>
                  <a:gd name="T15" fmla="*/ 10804 h 21141"/>
                </a:gdLst>
                <a:ahLst/>
                <a:cxnLst>
                  <a:cxn ang="0">
                    <a:pos x="T1" y="T3"/>
                  </a:cxn>
                  <a:cxn ang="0">
                    <a:pos x="T5" y="T7"/>
                  </a:cxn>
                  <a:cxn ang="0">
                    <a:pos x="T9" y="T11"/>
                  </a:cxn>
                  <a:cxn ang="0">
                    <a:pos x="T13" y="T15"/>
                  </a:cxn>
                </a:cxnLst>
                <a:rect l="0" t="0" r="r" b="b"/>
                <a:pathLst>
                  <a:path w="21129" h="21141">
                    <a:moveTo>
                      <a:pt x="20075" y="3267"/>
                    </a:moveTo>
                    <a:cubicBezTo>
                      <a:pt x="20953" y="2898"/>
                      <a:pt x="21368" y="1899"/>
                      <a:pt x="20987" y="1030"/>
                    </a:cubicBezTo>
                    <a:cubicBezTo>
                      <a:pt x="20611" y="168"/>
                      <a:pt x="19589" y="-234"/>
                      <a:pt x="18707" y="138"/>
                    </a:cubicBezTo>
                    <a:cubicBezTo>
                      <a:pt x="18670" y="152"/>
                      <a:pt x="18649" y="185"/>
                      <a:pt x="18615" y="198"/>
                    </a:cubicBezTo>
                    <a:cubicBezTo>
                      <a:pt x="10481" y="3647"/>
                      <a:pt x="3673" y="10118"/>
                      <a:pt x="124" y="18802"/>
                    </a:cubicBezTo>
                    <a:cubicBezTo>
                      <a:pt x="-232" y="19678"/>
                      <a:pt x="205" y="20666"/>
                      <a:pt x="1094" y="21019"/>
                    </a:cubicBezTo>
                    <a:cubicBezTo>
                      <a:pt x="1983" y="21366"/>
                      <a:pt x="2991" y="20946"/>
                      <a:pt x="3354" y="20071"/>
                    </a:cubicBezTo>
                    <a:cubicBezTo>
                      <a:pt x="6561" y="12205"/>
                      <a:pt x="12717" y="6360"/>
                      <a:pt x="20075" y="3274"/>
                    </a:cubicBezTo>
                    <a:cubicBezTo>
                      <a:pt x="20075" y="3274"/>
                      <a:pt x="20075" y="3267"/>
                      <a:pt x="20075" y="3267"/>
                    </a:cubicBezTo>
                    <a:close/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lIns="19050" tIns="19050" rIns="19050" bIns="19050" anchor="ctr"/>
              <a:lstStyle/>
              <a:p>
                <a:pPr algn="ctr" defTabSz="22860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en-US" sz="1500">
                  <a:solidFill>
                    <a:srgbClr val="FFFFFF"/>
                  </a:solidFill>
                  <a:effectLst>
                    <a:outerShdw blurRad="38100" dist="38100" dir="2700000" algn="tl">
                      <a:srgbClr val="000000"/>
                    </a:outerShdw>
                  </a:effectLst>
                  <a:latin typeface="Arial" panose="020B0604020202020204" pitchFamily="34" charset="0"/>
                  <a:ea typeface="微软雅黑" panose="020B0503020204020204" pitchFamily="34" charset="-122"/>
                  <a:cs typeface="思源黑体 CN Regular" panose="020B0500000000000000" charset="-122"/>
                  <a:sym typeface="Arial" panose="020B0604020202020204" pitchFamily="34" charset="0"/>
                </a:endParaRPr>
              </a:p>
            </p:txBody>
          </p:sp>
        </p:grpSp>
      </p:grpSp>
      <p:grpSp>
        <p:nvGrpSpPr>
          <p:cNvPr id="81" name="Group 80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GrpSpPr/>
          <p:nvPr/>
        </p:nvGrpSpPr>
        <p:grpSpPr>
          <a:xfrm>
            <a:off x="4614065" y="5499378"/>
            <a:ext cx="535878" cy="535876"/>
            <a:chOff x="4640904" y="5467846"/>
            <a:chExt cx="535878" cy="535876"/>
          </a:xfrm>
          <a:effectLst>
            <a:outerShdw blurRad="190500" algn="ctr" rotWithShape="0">
              <a:schemeClr val="bg1">
                <a:lumMod val="50000"/>
                <a:alpha val="40000"/>
              </a:schemeClr>
            </a:outerShdw>
          </a:effectLst>
        </p:grpSpPr>
        <p:sp>
          <p:nvSpPr>
            <p:cNvPr id="42" name="Oval 41"/>
            <p:cNvSpPr/>
            <p:nvPr/>
          </p:nvSpPr>
          <p:spPr>
            <a:xfrm>
              <a:off x="4640904" y="5467846"/>
              <a:ext cx="535878" cy="535876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AU">
                <a:solidFill>
                  <a:schemeClr val="bg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endParaRPr>
            </a:p>
          </p:txBody>
        </p:sp>
        <p:grpSp>
          <p:nvGrpSpPr>
            <p:cNvPr id="63" name="Group 62"/>
            <p:cNvGrpSpPr/>
            <p:nvPr/>
          </p:nvGrpSpPr>
          <p:grpSpPr>
            <a:xfrm>
              <a:off x="4784057" y="5556909"/>
              <a:ext cx="266823" cy="267279"/>
              <a:chOff x="8204317" y="3973834"/>
              <a:chExt cx="464344" cy="465138"/>
            </a:xfrm>
            <a:solidFill>
              <a:schemeClr val="bg1"/>
            </a:solidFill>
          </p:grpSpPr>
          <p:sp>
            <p:nvSpPr>
              <p:cNvPr id="64" name="AutoShape 33"/>
              <p:cNvSpPr/>
              <p:nvPr/>
            </p:nvSpPr>
            <p:spPr bwMode="auto">
              <a:xfrm>
                <a:off x="8204317" y="4148459"/>
                <a:ext cx="464344" cy="290513"/>
              </a:xfrm>
              <a:custGeom>
                <a:avLst/>
                <a:gdLst>
                  <a:gd name="T0" fmla="*/ 10752 w 21505"/>
                  <a:gd name="T1" fmla="*/ 10800 h 21600"/>
                  <a:gd name="T2" fmla="*/ 10752 w 21505"/>
                  <a:gd name="T3" fmla="*/ 10800 h 21600"/>
                  <a:gd name="T4" fmla="*/ 10752 w 21505"/>
                  <a:gd name="T5" fmla="*/ 10800 h 21600"/>
                  <a:gd name="T6" fmla="*/ 10752 w 21505"/>
                  <a:gd name="T7" fmla="*/ 10800 h 216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1505" h="21600">
                    <a:moveTo>
                      <a:pt x="17472" y="17279"/>
                    </a:moveTo>
                    <a:lnTo>
                      <a:pt x="17472" y="18899"/>
                    </a:lnTo>
                    <a:cubicBezTo>
                      <a:pt x="17472" y="19198"/>
                      <a:pt x="17321" y="19439"/>
                      <a:pt x="17136" y="19439"/>
                    </a:cubicBezTo>
                    <a:lnTo>
                      <a:pt x="4368" y="19439"/>
                    </a:lnTo>
                    <a:cubicBezTo>
                      <a:pt x="4182" y="19439"/>
                      <a:pt x="4032" y="19198"/>
                      <a:pt x="4032" y="18899"/>
                    </a:cubicBezTo>
                    <a:lnTo>
                      <a:pt x="4032" y="17279"/>
                    </a:lnTo>
                    <a:lnTo>
                      <a:pt x="1344" y="12419"/>
                    </a:lnTo>
                    <a:cubicBezTo>
                      <a:pt x="1344" y="12121"/>
                      <a:pt x="1494" y="11879"/>
                      <a:pt x="1680" y="11879"/>
                    </a:cubicBezTo>
                    <a:lnTo>
                      <a:pt x="3360" y="11879"/>
                    </a:lnTo>
                    <a:lnTo>
                      <a:pt x="4032" y="11879"/>
                    </a:lnTo>
                    <a:lnTo>
                      <a:pt x="4704" y="11879"/>
                    </a:lnTo>
                    <a:lnTo>
                      <a:pt x="5376" y="11879"/>
                    </a:lnTo>
                    <a:lnTo>
                      <a:pt x="6048" y="11879"/>
                    </a:lnTo>
                    <a:lnTo>
                      <a:pt x="6720" y="11879"/>
                    </a:lnTo>
                    <a:lnTo>
                      <a:pt x="7392" y="11879"/>
                    </a:lnTo>
                    <a:lnTo>
                      <a:pt x="8064" y="11879"/>
                    </a:lnTo>
                    <a:lnTo>
                      <a:pt x="8736" y="11879"/>
                    </a:lnTo>
                    <a:lnTo>
                      <a:pt x="12768" y="11879"/>
                    </a:lnTo>
                    <a:lnTo>
                      <a:pt x="13440" y="11879"/>
                    </a:lnTo>
                    <a:lnTo>
                      <a:pt x="14112" y="11879"/>
                    </a:lnTo>
                    <a:lnTo>
                      <a:pt x="14784" y="11879"/>
                    </a:lnTo>
                    <a:lnTo>
                      <a:pt x="15456" y="11879"/>
                    </a:lnTo>
                    <a:lnTo>
                      <a:pt x="16128" y="11879"/>
                    </a:lnTo>
                    <a:lnTo>
                      <a:pt x="16800" y="11879"/>
                    </a:lnTo>
                    <a:lnTo>
                      <a:pt x="17472" y="11879"/>
                    </a:lnTo>
                    <a:lnTo>
                      <a:pt x="18144" y="11879"/>
                    </a:lnTo>
                    <a:lnTo>
                      <a:pt x="19824" y="11879"/>
                    </a:lnTo>
                    <a:cubicBezTo>
                      <a:pt x="20009" y="11879"/>
                      <a:pt x="20160" y="12121"/>
                      <a:pt x="20160" y="12419"/>
                    </a:cubicBezTo>
                    <a:cubicBezTo>
                      <a:pt x="20160" y="12419"/>
                      <a:pt x="17472" y="17279"/>
                      <a:pt x="17472" y="17279"/>
                    </a:cubicBezTo>
                    <a:close/>
                    <a:moveTo>
                      <a:pt x="10752" y="4320"/>
                    </a:moveTo>
                    <a:cubicBezTo>
                      <a:pt x="8625" y="4320"/>
                      <a:pt x="6826" y="6601"/>
                      <a:pt x="6246" y="9719"/>
                    </a:cubicBezTo>
                    <a:lnTo>
                      <a:pt x="5552" y="9719"/>
                    </a:lnTo>
                    <a:cubicBezTo>
                      <a:pt x="6152" y="6000"/>
                      <a:pt x="8252" y="3239"/>
                      <a:pt x="10752" y="3239"/>
                    </a:cubicBezTo>
                    <a:cubicBezTo>
                      <a:pt x="12934" y="3239"/>
                      <a:pt x="14813" y="5344"/>
                      <a:pt x="15654" y="8353"/>
                    </a:cubicBezTo>
                    <a:lnTo>
                      <a:pt x="15054" y="8835"/>
                    </a:lnTo>
                    <a:cubicBezTo>
                      <a:pt x="14323" y="6180"/>
                      <a:pt x="12671" y="4320"/>
                      <a:pt x="10752" y="4320"/>
                    </a:cubicBezTo>
                    <a:moveTo>
                      <a:pt x="10752" y="8639"/>
                    </a:moveTo>
                    <a:cubicBezTo>
                      <a:pt x="10158" y="8639"/>
                      <a:pt x="9630" y="9061"/>
                      <a:pt x="9260" y="9719"/>
                    </a:cubicBezTo>
                    <a:lnTo>
                      <a:pt x="8437" y="9719"/>
                    </a:lnTo>
                    <a:cubicBezTo>
                      <a:pt x="8904" y="8435"/>
                      <a:pt x="9761" y="7560"/>
                      <a:pt x="10752" y="7560"/>
                    </a:cubicBezTo>
                    <a:cubicBezTo>
                      <a:pt x="11742" y="7560"/>
                      <a:pt x="12600" y="8435"/>
                      <a:pt x="13066" y="9719"/>
                    </a:cubicBezTo>
                    <a:lnTo>
                      <a:pt x="12244" y="9719"/>
                    </a:lnTo>
                    <a:cubicBezTo>
                      <a:pt x="11874" y="9061"/>
                      <a:pt x="11345" y="8639"/>
                      <a:pt x="10752" y="8639"/>
                    </a:cubicBezTo>
                    <a:moveTo>
                      <a:pt x="13827" y="9719"/>
                    </a:moveTo>
                    <a:cubicBezTo>
                      <a:pt x="13307" y="7816"/>
                      <a:pt x="12126" y="6479"/>
                      <a:pt x="10752" y="6479"/>
                    </a:cubicBezTo>
                    <a:cubicBezTo>
                      <a:pt x="9378" y="6479"/>
                      <a:pt x="8197" y="7816"/>
                      <a:pt x="7676" y="9719"/>
                    </a:cubicBezTo>
                    <a:lnTo>
                      <a:pt x="6955" y="9719"/>
                    </a:lnTo>
                    <a:cubicBezTo>
                      <a:pt x="7510" y="7207"/>
                      <a:pt x="9001" y="5400"/>
                      <a:pt x="10752" y="5400"/>
                    </a:cubicBezTo>
                    <a:cubicBezTo>
                      <a:pt x="12409" y="5400"/>
                      <a:pt x="13834" y="7015"/>
                      <a:pt x="14454" y="9317"/>
                    </a:cubicBezTo>
                    <a:lnTo>
                      <a:pt x="13953" y="9719"/>
                    </a:lnTo>
                    <a:cubicBezTo>
                      <a:pt x="13953" y="9719"/>
                      <a:pt x="13827" y="9719"/>
                      <a:pt x="13827" y="9719"/>
                    </a:cubicBezTo>
                    <a:close/>
                    <a:moveTo>
                      <a:pt x="10752" y="1080"/>
                    </a:moveTo>
                    <a:cubicBezTo>
                      <a:pt x="13459" y="1080"/>
                      <a:pt x="15792" y="3672"/>
                      <a:pt x="16856" y="7388"/>
                    </a:cubicBezTo>
                    <a:lnTo>
                      <a:pt x="16256" y="7869"/>
                    </a:lnTo>
                    <a:cubicBezTo>
                      <a:pt x="15305" y="4504"/>
                      <a:pt x="13201" y="2160"/>
                      <a:pt x="10752" y="2160"/>
                    </a:cubicBezTo>
                    <a:cubicBezTo>
                      <a:pt x="7874" y="2160"/>
                      <a:pt x="5470" y="5392"/>
                      <a:pt x="4858" y="9719"/>
                    </a:cubicBezTo>
                    <a:lnTo>
                      <a:pt x="4167" y="9719"/>
                    </a:lnTo>
                    <a:cubicBezTo>
                      <a:pt x="4792" y="4796"/>
                      <a:pt x="7507" y="1080"/>
                      <a:pt x="10752" y="1080"/>
                    </a:cubicBezTo>
                    <a:moveTo>
                      <a:pt x="17336" y="9719"/>
                    </a:moveTo>
                    <a:lnTo>
                      <a:pt x="16958" y="9719"/>
                    </a:lnTo>
                    <a:lnTo>
                      <a:pt x="17294" y="9449"/>
                    </a:lnTo>
                    <a:cubicBezTo>
                      <a:pt x="17307" y="9540"/>
                      <a:pt x="17325" y="9628"/>
                      <a:pt x="17336" y="9719"/>
                    </a:cubicBezTo>
                    <a:moveTo>
                      <a:pt x="19824" y="9719"/>
                    </a:moveTo>
                    <a:lnTo>
                      <a:pt x="18016" y="9719"/>
                    </a:lnTo>
                    <a:cubicBezTo>
                      <a:pt x="17986" y="9461"/>
                      <a:pt x="17948" y="9209"/>
                      <a:pt x="17908" y="8957"/>
                    </a:cubicBezTo>
                    <a:lnTo>
                      <a:pt x="21132" y="6366"/>
                    </a:lnTo>
                    <a:cubicBezTo>
                      <a:pt x="21464" y="6099"/>
                      <a:pt x="21599" y="5450"/>
                      <a:pt x="21433" y="4916"/>
                    </a:cubicBezTo>
                    <a:cubicBezTo>
                      <a:pt x="21267" y="4383"/>
                      <a:pt x="20864" y="4169"/>
                      <a:pt x="20532" y="4433"/>
                    </a:cubicBezTo>
                    <a:lnTo>
                      <a:pt x="17456" y="6905"/>
                    </a:lnTo>
                    <a:cubicBezTo>
                      <a:pt x="16282" y="2836"/>
                      <a:pt x="13721" y="0"/>
                      <a:pt x="10752" y="0"/>
                    </a:cubicBezTo>
                    <a:cubicBezTo>
                      <a:pt x="7135" y="0"/>
                      <a:pt x="4122" y="4198"/>
                      <a:pt x="3488" y="9719"/>
                    </a:cubicBezTo>
                    <a:lnTo>
                      <a:pt x="1680" y="9719"/>
                    </a:lnTo>
                    <a:cubicBezTo>
                      <a:pt x="754" y="9719"/>
                      <a:pt x="0" y="10930"/>
                      <a:pt x="0" y="12419"/>
                    </a:cubicBezTo>
                    <a:cubicBezTo>
                      <a:pt x="0" y="12949"/>
                      <a:pt x="121" y="13459"/>
                      <a:pt x="339" y="13855"/>
                    </a:cubicBezTo>
                    <a:lnTo>
                      <a:pt x="2688" y="18101"/>
                    </a:lnTo>
                    <a:lnTo>
                      <a:pt x="2688" y="18899"/>
                    </a:lnTo>
                    <a:cubicBezTo>
                      <a:pt x="2688" y="20389"/>
                      <a:pt x="3442" y="21599"/>
                      <a:pt x="4368" y="21599"/>
                    </a:cubicBezTo>
                    <a:lnTo>
                      <a:pt x="17136" y="21599"/>
                    </a:lnTo>
                    <a:cubicBezTo>
                      <a:pt x="18062" y="21599"/>
                      <a:pt x="18816" y="20389"/>
                      <a:pt x="18816" y="18899"/>
                    </a:cubicBezTo>
                    <a:lnTo>
                      <a:pt x="18816" y="18101"/>
                    </a:lnTo>
                    <a:lnTo>
                      <a:pt x="21165" y="13855"/>
                    </a:lnTo>
                    <a:cubicBezTo>
                      <a:pt x="21383" y="13459"/>
                      <a:pt x="21504" y="12949"/>
                      <a:pt x="21504" y="12419"/>
                    </a:cubicBezTo>
                    <a:cubicBezTo>
                      <a:pt x="21504" y="10930"/>
                      <a:pt x="20750" y="9719"/>
                      <a:pt x="19824" y="9719"/>
                    </a:cubicBezTo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lIns="19050" tIns="19050" rIns="19050" bIns="19050" anchor="ctr"/>
              <a:lstStyle/>
              <a:p>
                <a:pPr algn="ctr" defTabSz="22860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en-US" sz="1500">
                  <a:solidFill>
                    <a:srgbClr val="FFFFFF"/>
                  </a:solidFill>
                  <a:effectLst>
                    <a:outerShdw blurRad="38100" dist="38100" dir="2700000" algn="tl">
                      <a:srgbClr val="000000"/>
                    </a:outerShdw>
                  </a:effectLst>
                  <a:latin typeface="Arial" panose="020B0604020202020204" pitchFamily="34" charset="0"/>
                  <a:ea typeface="微软雅黑" panose="020B0503020204020204" pitchFamily="34" charset="-122"/>
                  <a:cs typeface="思源黑体 CN Regular" panose="020B0500000000000000" charset="-122"/>
                  <a:sym typeface="Arial" panose="020B0604020202020204" pitchFamily="34" charset="0"/>
                </a:endParaRPr>
              </a:p>
            </p:txBody>
          </p:sp>
          <p:sp>
            <p:nvSpPr>
              <p:cNvPr id="65" name="AutoShape 34"/>
              <p:cNvSpPr/>
              <p:nvPr/>
            </p:nvSpPr>
            <p:spPr bwMode="auto">
              <a:xfrm>
                <a:off x="8320204" y="4032572"/>
                <a:ext cx="33338" cy="108744"/>
              </a:xfrm>
              <a:custGeom>
                <a:avLst/>
                <a:gdLst>
                  <a:gd name="T0" fmla="+- 0 10758 2273"/>
                  <a:gd name="T1" fmla="*/ T0 w 16970"/>
                  <a:gd name="T2" fmla="*/ 10800 h 21600"/>
                  <a:gd name="T3" fmla="+- 0 10758 2273"/>
                  <a:gd name="T4" fmla="*/ T3 w 16970"/>
                  <a:gd name="T5" fmla="*/ 10800 h 21600"/>
                  <a:gd name="T6" fmla="+- 0 10758 2273"/>
                  <a:gd name="T7" fmla="*/ T6 w 16970"/>
                  <a:gd name="T8" fmla="*/ 10800 h 21600"/>
                  <a:gd name="T9" fmla="+- 0 10758 2273"/>
                  <a:gd name="T10" fmla="*/ T9 w 16970"/>
                  <a:gd name="T11" fmla="*/ 10800 h 21600"/>
                </a:gdLst>
                <a:ahLst/>
                <a:cxnLst>
                  <a:cxn ang="0">
                    <a:pos x="T1" y="T2"/>
                  </a:cxn>
                  <a:cxn ang="0">
                    <a:pos x="T4" y="T5"/>
                  </a:cxn>
                  <a:cxn ang="0">
                    <a:pos x="T7" y="T8"/>
                  </a:cxn>
                  <a:cxn ang="0">
                    <a:pos x="T10" y="T11"/>
                  </a:cxn>
                </a:cxnLst>
                <a:rect l="0" t="0" r="r" b="b"/>
                <a:pathLst>
                  <a:path w="16970" h="21600">
                    <a:moveTo>
                      <a:pt x="1763" y="20770"/>
                    </a:moveTo>
                    <a:cubicBezTo>
                      <a:pt x="1785" y="20787"/>
                      <a:pt x="1800" y="20804"/>
                      <a:pt x="1822" y="20820"/>
                    </a:cubicBezTo>
                    <a:lnTo>
                      <a:pt x="1840" y="20820"/>
                    </a:lnTo>
                    <a:cubicBezTo>
                      <a:pt x="2471" y="21282"/>
                      <a:pt x="3719" y="21600"/>
                      <a:pt x="5169" y="21600"/>
                    </a:cubicBezTo>
                    <a:cubicBezTo>
                      <a:pt x="7249" y="21600"/>
                      <a:pt x="8949" y="20947"/>
                      <a:pt x="8949" y="20151"/>
                    </a:cubicBezTo>
                    <a:cubicBezTo>
                      <a:pt x="8949" y="20027"/>
                      <a:pt x="8890" y="19906"/>
                      <a:pt x="8813" y="19791"/>
                    </a:cubicBezTo>
                    <a:cubicBezTo>
                      <a:pt x="8827" y="19771"/>
                      <a:pt x="8827" y="19755"/>
                      <a:pt x="8805" y="19735"/>
                    </a:cubicBezTo>
                    <a:cubicBezTo>
                      <a:pt x="5994" y="17195"/>
                      <a:pt x="8670" y="14408"/>
                      <a:pt x="11954" y="11407"/>
                    </a:cubicBezTo>
                    <a:cubicBezTo>
                      <a:pt x="15517" y="8164"/>
                      <a:pt x="19327" y="4564"/>
                      <a:pt x="15125" y="902"/>
                    </a:cubicBezTo>
                    <a:cubicBezTo>
                      <a:pt x="14593" y="374"/>
                      <a:pt x="13264" y="0"/>
                      <a:pt x="11701" y="0"/>
                    </a:cubicBezTo>
                    <a:cubicBezTo>
                      <a:pt x="9671" y="0"/>
                      <a:pt x="8016" y="632"/>
                      <a:pt x="8016" y="1411"/>
                    </a:cubicBezTo>
                    <a:cubicBezTo>
                      <a:pt x="8016" y="1583"/>
                      <a:pt x="8108" y="1746"/>
                      <a:pt x="8259" y="1898"/>
                    </a:cubicBezTo>
                    <a:cubicBezTo>
                      <a:pt x="8259" y="1904"/>
                      <a:pt x="8259" y="1909"/>
                      <a:pt x="8266" y="1915"/>
                    </a:cubicBezTo>
                    <a:cubicBezTo>
                      <a:pt x="8273" y="1923"/>
                      <a:pt x="8281" y="1932"/>
                      <a:pt x="8295" y="1940"/>
                    </a:cubicBezTo>
                    <a:lnTo>
                      <a:pt x="8325" y="1974"/>
                    </a:lnTo>
                    <a:cubicBezTo>
                      <a:pt x="11360" y="4592"/>
                      <a:pt x="8424" y="7275"/>
                      <a:pt x="5106" y="10305"/>
                    </a:cubicBezTo>
                    <a:cubicBezTo>
                      <a:pt x="1605" y="13500"/>
                      <a:pt x="-2273" y="17040"/>
                      <a:pt x="1635" y="20649"/>
                    </a:cubicBezTo>
                    <a:cubicBezTo>
                      <a:pt x="1671" y="20691"/>
                      <a:pt x="1719" y="20730"/>
                      <a:pt x="1763" y="20770"/>
                    </a:cubicBezTo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lIns="19050" tIns="19050" rIns="19050" bIns="19050" anchor="ctr"/>
              <a:lstStyle/>
              <a:p>
                <a:pPr algn="ctr" defTabSz="22860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en-US" sz="1500">
                  <a:solidFill>
                    <a:srgbClr val="FFFFFF"/>
                  </a:solidFill>
                  <a:effectLst>
                    <a:outerShdw blurRad="38100" dist="38100" dir="2700000" algn="tl">
                      <a:srgbClr val="000000"/>
                    </a:outerShdw>
                  </a:effectLst>
                  <a:latin typeface="Arial" panose="020B0604020202020204" pitchFamily="34" charset="0"/>
                  <a:ea typeface="微软雅黑" panose="020B0503020204020204" pitchFamily="34" charset="-122"/>
                  <a:cs typeface="思源黑体 CN Regular" panose="020B0500000000000000" charset="-122"/>
                  <a:sym typeface="Arial" panose="020B0604020202020204" pitchFamily="34" charset="0"/>
                </a:endParaRPr>
              </a:p>
            </p:txBody>
          </p:sp>
          <p:sp>
            <p:nvSpPr>
              <p:cNvPr id="66" name="AutoShape 35"/>
              <p:cNvSpPr/>
              <p:nvPr/>
            </p:nvSpPr>
            <p:spPr bwMode="auto">
              <a:xfrm>
                <a:off x="8494829" y="4032572"/>
                <a:ext cx="32544" cy="108744"/>
              </a:xfrm>
              <a:custGeom>
                <a:avLst/>
                <a:gdLst>
                  <a:gd name="T0" fmla="+- 0 10758 2273"/>
                  <a:gd name="T1" fmla="*/ T0 w 16970"/>
                  <a:gd name="T2" fmla="*/ 10800 h 21600"/>
                  <a:gd name="T3" fmla="+- 0 10758 2273"/>
                  <a:gd name="T4" fmla="*/ T3 w 16970"/>
                  <a:gd name="T5" fmla="*/ 10800 h 21600"/>
                  <a:gd name="T6" fmla="+- 0 10758 2273"/>
                  <a:gd name="T7" fmla="*/ T6 w 16970"/>
                  <a:gd name="T8" fmla="*/ 10800 h 21600"/>
                  <a:gd name="T9" fmla="+- 0 10758 2273"/>
                  <a:gd name="T10" fmla="*/ T9 w 16970"/>
                  <a:gd name="T11" fmla="*/ 10800 h 21600"/>
                </a:gdLst>
                <a:ahLst/>
                <a:cxnLst>
                  <a:cxn ang="0">
                    <a:pos x="T1" y="T2"/>
                  </a:cxn>
                  <a:cxn ang="0">
                    <a:pos x="T4" y="T5"/>
                  </a:cxn>
                  <a:cxn ang="0">
                    <a:pos x="T7" y="T8"/>
                  </a:cxn>
                  <a:cxn ang="0">
                    <a:pos x="T10" y="T11"/>
                  </a:cxn>
                </a:cxnLst>
                <a:rect l="0" t="0" r="r" b="b"/>
                <a:pathLst>
                  <a:path w="16970" h="21600">
                    <a:moveTo>
                      <a:pt x="1763" y="20770"/>
                    </a:moveTo>
                    <a:cubicBezTo>
                      <a:pt x="1785" y="20787"/>
                      <a:pt x="1800" y="20804"/>
                      <a:pt x="1822" y="20820"/>
                    </a:cubicBezTo>
                    <a:lnTo>
                      <a:pt x="1840" y="20820"/>
                    </a:lnTo>
                    <a:cubicBezTo>
                      <a:pt x="2471" y="21282"/>
                      <a:pt x="3719" y="21600"/>
                      <a:pt x="5169" y="21600"/>
                    </a:cubicBezTo>
                    <a:cubicBezTo>
                      <a:pt x="7249" y="21600"/>
                      <a:pt x="8949" y="20950"/>
                      <a:pt x="8949" y="20151"/>
                    </a:cubicBezTo>
                    <a:cubicBezTo>
                      <a:pt x="8949" y="20027"/>
                      <a:pt x="8890" y="19906"/>
                      <a:pt x="8813" y="19791"/>
                    </a:cubicBezTo>
                    <a:cubicBezTo>
                      <a:pt x="8827" y="19771"/>
                      <a:pt x="8827" y="19755"/>
                      <a:pt x="8805" y="19735"/>
                    </a:cubicBezTo>
                    <a:cubicBezTo>
                      <a:pt x="5994" y="17195"/>
                      <a:pt x="8670" y="14408"/>
                      <a:pt x="11954" y="11407"/>
                    </a:cubicBezTo>
                    <a:cubicBezTo>
                      <a:pt x="15517" y="8164"/>
                      <a:pt x="19327" y="4564"/>
                      <a:pt x="15125" y="902"/>
                    </a:cubicBezTo>
                    <a:cubicBezTo>
                      <a:pt x="14593" y="374"/>
                      <a:pt x="13264" y="0"/>
                      <a:pt x="11701" y="0"/>
                    </a:cubicBezTo>
                    <a:cubicBezTo>
                      <a:pt x="9671" y="0"/>
                      <a:pt x="8016" y="632"/>
                      <a:pt x="8016" y="1411"/>
                    </a:cubicBezTo>
                    <a:cubicBezTo>
                      <a:pt x="8016" y="1583"/>
                      <a:pt x="8108" y="1746"/>
                      <a:pt x="8259" y="1898"/>
                    </a:cubicBezTo>
                    <a:cubicBezTo>
                      <a:pt x="8259" y="1904"/>
                      <a:pt x="8259" y="1909"/>
                      <a:pt x="8266" y="1915"/>
                    </a:cubicBezTo>
                    <a:cubicBezTo>
                      <a:pt x="8273" y="1923"/>
                      <a:pt x="8281" y="1932"/>
                      <a:pt x="8295" y="1940"/>
                    </a:cubicBezTo>
                    <a:lnTo>
                      <a:pt x="8325" y="1974"/>
                    </a:lnTo>
                    <a:cubicBezTo>
                      <a:pt x="11360" y="4592"/>
                      <a:pt x="8424" y="7275"/>
                      <a:pt x="5106" y="10305"/>
                    </a:cubicBezTo>
                    <a:cubicBezTo>
                      <a:pt x="1605" y="13500"/>
                      <a:pt x="-2273" y="17040"/>
                      <a:pt x="1635" y="20649"/>
                    </a:cubicBezTo>
                    <a:cubicBezTo>
                      <a:pt x="1671" y="20691"/>
                      <a:pt x="1719" y="20730"/>
                      <a:pt x="1763" y="20770"/>
                    </a:cubicBezTo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lIns="19050" tIns="19050" rIns="19050" bIns="19050" anchor="ctr"/>
              <a:lstStyle/>
              <a:p>
                <a:pPr algn="ctr" defTabSz="22860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en-US" sz="1500">
                  <a:solidFill>
                    <a:srgbClr val="FFFFFF"/>
                  </a:solidFill>
                  <a:effectLst>
                    <a:outerShdw blurRad="38100" dist="38100" dir="2700000" algn="tl">
                      <a:srgbClr val="000000"/>
                    </a:outerShdw>
                  </a:effectLst>
                  <a:latin typeface="Arial" panose="020B0604020202020204" pitchFamily="34" charset="0"/>
                  <a:ea typeface="微软雅黑" panose="020B0503020204020204" pitchFamily="34" charset="-122"/>
                  <a:cs typeface="思源黑体 CN Regular" panose="020B0500000000000000" charset="-122"/>
                  <a:sym typeface="Arial" panose="020B0604020202020204" pitchFamily="34" charset="0"/>
                </a:endParaRPr>
              </a:p>
            </p:txBody>
          </p:sp>
          <p:sp>
            <p:nvSpPr>
              <p:cNvPr id="67" name="AutoShape 36"/>
              <p:cNvSpPr/>
              <p:nvPr/>
            </p:nvSpPr>
            <p:spPr bwMode="auto">
              <a:xfrm>
                <a:off x="8421804" y="3973834"/>
                <a:ext cx="33338" cy="109538"/>
              </a:xfrm>
              <a:custGeom>
                <a:avLst/>
                <a:gdLst>
                  <a:gd name="T0" fmla="+- 0 10758 2273"/>
                  <a:gd name="T1" fmla="*/ T0 w 16970"/>
                  <a:gd name="T2" fmla="*/ 10800 h 21600"/>
                  <a:gd name="T3" fmla="+- 0 10758 2273"/>
                  <a:gd name="T4" fmla="*/ T3 w 16970"/>
                  <a:gd name="T5" fmla="*/ 10800 h 21600"/>
                  <a:gd name="T6" fmla="+- 0 10758 2273"/>
                  <a:gd name="T7" fmla="*/ T6 w 16970"/>
                  <a:gd name="T8" fmla="*/ 10800 h 21600"/>
                  <a:gd name="T9" fmla="+- 0 10758 2273"/>
                  <a:gd name="T10" fmla="*/ T9 w 16970"/>
                  <a:gd name="T11" fmla="*/ 10800 h 21600"/>
                </a:gdLst>
                <a:ahLst/>
                <a:cxnLst>
                  <a:cxn ang="0">
                    <a:pos x="T1" y="T2"/>
                  </a:cxn>
                  <a:cxn ang="0">
                    <a:pos x="T4" y="T5"/>
                  </a:cxn>
                  <a:cxn ang="0">
                    <a:pos x="T7" y="T8"/>
                  </a:cxn>
                  <a:cxn ang="0">
                    <a:pos x="T10" y="T11"/>
                  </a:cxn>
                </a:cxnLst>
                <a:rect l="0" t="0" r="r" b="b"/>
                <a:pathLst>
                  <a:path w="16970" h="21600">
                    <a:moveTo>
                      <a:pt x="1763" y="20770"/>
                    </a:moveTo>
                    <a:cubicBezTo>
                      <a:pt x="1785" y="20787"/>
                      <a:pt x="1800" y="20804"/>
                      <a:pt x="1822" y="20820"/>
                    </a:cubicBezTo>
                    <a:lnTo>
                      <a:pt x="1840" y="20820"/>
                    </a:lnTo>
                    <a:cubicBezTo>
                      <a:pt x="2471" y="21282"/>
                      <a:pt x="3719" y="21600"/>
                      <a:pt x="5169" y="21600"/>
                    </a:cubicBezTo>
                    <a:cubicBezTo>
                      <a:pt x="7249" y="21600"/>
                      <a:pt x="8949" y="20950"/>
                      <a:pt x="8949" y="20151"/>
                    </a:cubicBezTo>
                    <a:cubicBezTo>
                      <a:pt x="8949" y="20027"/>
                      <a:pt x="8890" y="19906"/>
                      <a:pt x="8813" y="19791"/>
                    </a:cubicBezTo>
                    <a:cubicBezTo>
                      <a:pt x="8827" y="19771"/>
                      <a:pt x="8827" y="19755"/>
                      <a:pt x="8805" y="19735"/>
                    </a:cubicBezTo>
                    <a:cubicBezTo>
                      <a:pt x="5994" y="17195"/>
                      <a:pt x="8670" y="14408"/>
                      <a:pt x="11954" y="11407"/>
                    </a:cubicBezTo>
                    <a:cubicBezTo>
                      <a:pt x="15517" y="8164"/>
                      <a:pt x="19327" y="4564"/>
                      <a:pt x="15125" y="902"/>
                    </a:cubicBezTo>
                    <a:cubicBezTo>
                      <a:pt x="14593" y="374"/>
                      <a:pt x="13264" y="0"/>
                      <a:pt x="11701" y="0"/>
                    </a:cubicBezTo>
                    <a:cubicBezTo>
                      <a:pt x="9671" y="0"/>
                      <a:pt x="8016" y="632"/>
                      <a:pt x="8016" y="1411"/>
                    </a:cubicBezTo>
                    <a:cubicBezTo>
                      <a:pt x="8016" y="1583"/>
                      <a:pt x="8108" y="1749"/>
                      <a:pt x="8259" y="1898"/>
                    </a:cubicBezTo>
                    <a:cubicBezTo>
                      <a:pt x="8259" y="1904"/>
                      <a:pt x="8259" y="1909"/>
                      <a:pt x="8266" y="1915"/>
                    </a:cubicBezTo>
                    <a:cubicBezTo>
                      <a:pt x="8273" y="1923"/>
                      <a:pt x="8281" y="1932"/>
                      <a:pt x="8295" y="1940"/>
                    </a:cubicBezTo>
                    <a:lnTo>
                      <a:pt x="8325" y="1974"/>
                    </a:lnTo>
                    <a:cubicBezTo>
                      <a:pt x="11360" y="4592"/>
                      <a:pt x="8424" y="7275"/>
                      <a:pt x="5106" y="10305"/>
                    </a:cubicBezTo>
                    <a:cubicBezTo>
                      <a:pt x="1605" y="13500"/>
                      <a:pt x="-2273" y="17040"/>
                      <a:pt x="1635" y="20649"/>
                    </a:cubicBezTo>
                    <a:cubicBezTo>
                      <a:pt x="1675" y="20691"/>
                      <a:pt x="1719" y="20730"/>
                      <a:pt x="1763" y="20770"/>
                    </a:cubicBezTo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lIns="19050" tIns="19050" rIns="19050" bIns="19050" anchor="ctr"/>
              <a:lstStyle/>
              <a:p>
                <a:pPr algn="ctr" defTabSz="22860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en-US" sz="1500">
                  <a:solidFill>
                    <a:srgbClr val="FFFFFF"/>
                  </a:solidFill>
                  <a:effectLst>
                    <a:outerShdw blurRad="38100" dist="38100" dir="2700000" algn="tl">
                      <a:srgbClr val="000000"/>
                    </a:outerShdw>
                  </a:effectLst>
                  <a:latin typeface="Arial" panose="020B0604020202020204" pitchFamily="34" charset="0"/>
                  <a:ea typeface="微软雅黑" panose="020B0503020204020204" pitchFamily="34" charset="-122"/>
                  <a:cs typeface="思源黑体 CN Regular" panose="020B0500000000000000" charset="-122"/>
                  <a:sym typeface="Arial" panose="020B0604020202020204" pitchFamily="34" charset="0"/>
                </a:endParaRPr>
              </a:p>
            </p:txBody>
          </p:sp>
        </p:grpSp>
      </p:grpSp>
      <p:grpSp>
        <p:nvGrpSpPr>
          <p:cNvPr id="80" name="Group 79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GrpSpPr/>
          <p:nvPr/>
        </p:nvGrpSpPr>
        <p:grpSpPr>
          <a:xfrm>
            <a:off x="2862137" y="5499378"/>
            <a:ext cx="535878" cy="535876"/>
            <a:chOff x="2913670" y="5467846"/>
            <a:chExt cx="535878" cy="535876"/>
          </a:xfrm>
          <a:effectLst>
            <a:outerShdw blurRad="190500" algn="ctr" rotWithShape="0">
              <a:schemeClr val="bg1">
                <a:lumMod val="50000"/>
                <a:alpha val="40000"/>
              </a:schemeClr>
            </a:outerShdw>
          </a:effectLst>
        </p:grpSpPr>
        <p:sp>
          <p:nvSpPr>
            <p:cNvPr id="40" name="Oval 39"/>
            <p:cNvSpPr/>
            <p:nvPr/>
          </p:nvSpPr>
          <p:spPr>
            <a:xfrm>
              <a:off x="2913670" y="5467846"/>
              <a:ext cx="535878" cy="535876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AU">
                <a:solidFill>
                  <a:schemeClr val="bg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endParaRPr>
            </a:p>
          </p:txBody>
        </p:sp>
        <p:grpSp>
          <p:nvGrpSpPr>
            <p:cNvPr id="68" name="Group 67"/>
            <p:cNvGrpSpPr/>
            <p:nvPr/>
          </p:nvGrpSpPr>
          <p:grpSpPr>
            <a:xfrm>
              <a:off x="3048197" y="5599058"/>
              <a:ext cx="266823" cy="267279"/>
              <a:chOff x="7275629" y="3973834"/>
              <a:chExt cx="464344" cy="465138"/>
            </a:xfrm>
            <a:solidFill>
              <a:schemeClr val="bg1"/>
            </a:solidFill>
          </p:grpSpPr>
          <p:sp>
            <p:nvSpPr>
              <p:cNvPr id="69" name="AutoShape 37"/>
              <p:cNvSpPr/>
              <p:nvPr/>
            </p:nvSpPr>
            <p:spPr bwMode="auto">
              <a:xfrm>
                <a:off x="7275629" y="4017490"/>
                <a:ext cx="423069" cy="421482"/>
              </a:xfrm>
              <a:custGeom>
                <a:avLst/>
                <a:gdLst>
                  <a:gd name="T0" fmla="+- 0 10849 98"/>
                  <a:gd name="T1" fmla="*/ T0 w 21502"/>
                  <a:gd name="T2" fmla="*/ 10800 h 21600"/>
                  <a:gd name="T3" fmla="+- 0 10849 98"/>
                  <a:gd name="T4" fmla="*/ T3 w 21502"/>
                  <a:gd name="T5" fmla="*/ 10800 h 21600"/>
                  <a:gd name="T6" fmla="+- 0 10849 98"/>
                  <a:gd name="T7" fmla="*/ T6 w 21502"/>
                  <a:gd name="T8" fmla="*/ 10800 h 21600"/>
                  <a:gd name="T9" fmla="+- 0 10849 98"/>
                  <a:gd name="T10" fmla="*/ T9 w 21502"/>
                  <a:gd name="T11" fmla="*/ 10800 h 21600"/>
                </a:gdLst>
                <a:ahLst/>
                <a:cxnLst>
                  <a:cxn ang="0">
                    <a:pos x="T1" y="T2"/>
                  </a:cxn>
                  <a:cxn ang="0">
                    <a:pos x="T4" y="T5"/>
                  </a:cxn>
                  <a:cxn ang="0">
                    <a:pos x="T7" y="T8"/>
                  </a:cxn>
                  <a:cxn ang="0">
                    <a:pos x="T10" y="T11"/>
                  </a:cxn>
                </a:cxnLst>
                <a:rect l="0" t="0" r="r" b="b"/>
                <a:pathLst>
                  <a:path w="21502" h="21600">
                    <a:moveTo>
                      <a:pt x="19917" y="7880"/>
                    </a:moveTo>
                    <a:lnTo>
                      <a:pt x="18875" y="8932"/>
                    </a:lnTo>
                    <a:cubicBezTo>
                      <a:pt x="18730" y="9079"/>
                      <a:pt x="18497" y="9079"/>
                      <a:pt x="18353" y="8932"/>
                    </a:cubicBezTo>
                    <a:lnTo>
                      <a:pt x="17048" y="7617"/>
                    </a:lnTo>
                    <a:lnTo>
                      <a:pt x="15991" y="10290"/>
                    </a:lnTo>
                    <a:lnTo>
                      <a:pt x="16080" y="10064"/>
                    </a:lnTo>
                    <a:cubicBezTo>
                      <a:pt x="13859" y="7826"/>
                      <a:pt x="11601" y="7544"/>
                      <a:pt x="9565" y="7291"/>
                    </a:cubicBezTo>
                    <a:cubicBezTo>
                      <a:pt x="8910" y="7210"/>
                      <a:pt x="8276" y="7126"/>
                      <a:pt x="7652" y="6990"/>
                    </a:cubicBezTo>
                    <a:lnTo>
                      <a:pt x="13918" y="4456"/>
                    </a:lnTo>
                    <a:lnTo>
                      <a:pt x="12652" y="3179"/>
                    </a:lnTo>
                    <a:cubicBezTo>
                      <a:pt x="12508" y="3033"/>
                      <a:pt x="12508" y="2798"/>
                      <a:pt x="12652" y="2652"/>
                    </a:cubicBezTo>
                    <a:lnTo>
                      <a:pt x="13695" y="1598"/>
                    </a:lnTo>
                    <a:cubicBezTo>
                      <a:pt x="13840" y="1453"/>
                      <a:pt x="14073" y="1453"/>
                      <a:pt x="14217" y="1598"/>
                    </a:cubicBezTo>
                    <a:lnTo>
                      <a:pt x="19917" y="7353"/>
                    </a:lnTo>
                    <a:cubicBezTo>
                      <a:pt x="20062" y="7499"/>
                      <a:pt x="20062" y="7734"/>
                      <a:pt x="19917" y="7880"/>
                    </a:cubicBezTo>
                    <a:moveTo>
                      <a:pt x="12292" y="19639"/>
                    </a:moveTo>
                    <a:cubicBezTo>
                      <a:pt x="12200" y="19872"/>
                      <a:pt x="11999" y="20044"/>
                      <a:pt x="11756" y="20095"/>
                    </a:cubicBezTo>
                    <a:cubicBezTo>
                      <a:pt x="11700" y="20106"/>
                      <a:pt x="11643" y="20111"/>
                      <a:pt x="11587" y="20110"/>
                    </a:cubicBezTo>
                    <a:cubicBezTo>
                      <a:pt x="11400" y="20105"/>
                      <a:pt x="11219" y="20030"/>
                      <a:pt x="11084" y="19892"/>
                    </a:cubicBezTo>
                    <a:lnTo>
                      <a:pt x="1692" y="10517"/>
                    </a:lnTo>
                    <a:cubicBezTo>
                      <a:pt x="1519" y="10343"/>
                      <a:pt x="1443" y="10094"/>
                      <a:pt x="1488" y="9852"/>
                    </a:cubicBezTo>
                    <a:cubicBezTo>
                      <a:pt x="1533" y="9610"/>
                      <a:pt x="1695" y="9407"/>
                      <a:pt x="1917" y="9308"/>
                    </a:cubicBezTo>
                    <a:lnTo>
                      <a:pt x="6505" y="7453"/>
                    </a:lnTo>
                    <a:cubicBezTo>
                      <a:pt x="9597" y="8490"/>
                      <a:pt x="12689" y="7491"/>
                      <a:pt x="15781" y="10821"/>
                    </a:cubicBezTo>
                    <a:cubicBezTo>
                      <a:pt x="15781" y="10821"/>
                      <a:pt x="12292" y="19639"/>
                      <a:pt x="12292" y="19639"/>
                    </a:cubicBezTo>
                    <a:close/>
                    <a:moveTo>
                      <a:pt x="15260" y="545"/>
                    </a:moveTo>
                    <a:cubicBezTo>
                      <a:pt x="14912" y="193"/>
                      <a:pt x="14449" y="0"/>
                      <a:pt x="13956" y="0"/>
                    </a:cubicBezTo>
                    <a:cubicBezTo>
                      <a:pt x="13463" y="0"/>
                      <a:pt x="13000" y="193"/>
                      <a:pt x="12651" y="546"/>
                    </a:cubicBezTo>
                    <a:lnTo>
                      <a:pt x="11610" y="1598"/>
                    </a:lnTo>
                    <a:cubicBezTo>
                      <a:pt x="11261" y="1949"/>
                      <a:pt x="11068" y="2417"/>
                      <a:pt x="11068" y="2915"/>
                    </a:cubicBezTo>
                    <a:cubicBezTo>
                      <a:pt x="11068" y="3265"/>
                      <a:pt x="11164" y="3601"/>
                      <a:pt x="11342" y="3893"/>
                    </a:cubicBezTo>
                    <a:lnTo>
                      <a:pt x="1324" y="7944"/>
                    </a:lnTo>
                    <a:cubicBezTo>
                      <a:pt x="654" y="8241"/>
                      <a:pt x="173" y="8851"/>
                      <a:pt x="38" y="9575"/>
                    </a:cubicBezTo>
                    <a:cubicBezTo>
                      <a:pt x="-98" y="10302"/>
                      <a:pt x="130" y="11048"/>
                      <a:pt x="654" y="11576"/>
                    </a:cubicBezTo>
                    <a:lnTo>
                      <a:pt x="10041" y="20946"/>
                    </a:lnTo>
                    <a:cubicBezTo>
                      <a:pt x="10445" y="21354"/>
                      <a:pt x="10982" y="21586"/>
                      <a:pt x="11549" y="21599"/>
                    </a:cubicBezTo>
                    <a:cubicBezTo>
                      <a:pt x="11562" y="21599"/>
                      <a:pt x="11593" y="21599"/>
                      <a:pt x="11605" y="21599"/>
                    </a:cubicBezTo>
                    <a:cubicBezTo>
                      <a:pt x="11754" y="21599"/>
                      <a:pt x="11906" y="21584"/>
                      <a:pt x="12056" y="21553"/>
                    </a:cubicBezTo>
                    <a:cubicBezTo>
                      <a:pt x="12789" y="21399"/>
                      <a:pt x="13390" y="20888"/>
                      <a:pt x="13662" y="20191"/>
                    </a:cubicBezTo>
                    <a:lnTo>
                      <a:pt x="17604" y="10229"/>
                    </a:lnTo>
                    <a:cubicBezTo>
                      <a:pt x="17902" y="10426"/>
                      <a:pt x="18250" y="10532"/>
                      <a:pt x="18613" y="10532"/>
                    </a:cubicBezTo>
                    <a:cubicBezTo>
                      <a:pt x="19107" y="10532"/>
                      <a:pt x="19570" y="10338"/>
                      <a:pt x="19918" y="9986"/>
                    </a:cubicBezTo>
                    <a:lnTo>
                      <a:pt x="20957" y="8937"/>
                    </a:lnTo>
                    <a:cubicBezTo>
                      <a:pt x="21308" y="8585"/>
                      <a:pt x="21502" y="8116"/>
                      <a:pt x="21502" y="7617"/>
                    </a:cubicBezTo>
                    <a:cubicBezTo>
                      <a:pt x="21502" y="7117"/>
                      <a:pt x="21308" y="6648"/>
                      <a:pt x="20961" y="6300"/>
                    </a:cubicBezTo>
                    <a:cubicBezTo>
                      <a:pt x="20961" y="6300"/>
                      <a:pt x="15260" y="545"/>
                      <a:pt x="15260" y="545"/>
                    </a:cubicBezTo>
                    <a:close/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lIns="19050" tIns="19050" rIns="19050" bIns="19050" anchor="ctr"/>
              <a:lstStyle/>
              <a:p>
                <a:pPr algn="ctr" defTabSz="22860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en-US" sz="1500">
                  <a:solidFill>
                    <a:srgbClr val="FFFFFF"/>
                  </a:solidFill>
                  <a:effectLst>
                    <a:outerShdw blurRad="38100" dist="38100" dir="2700000" algn="tl">
                      <a:srgbClr val="000000"/>
                    </a:outerShdw>
                  </a:effectLst>
                  <a:latin typeface="Arial" panose="020B0604020202020204" pitchFamily="34" charset="0"/>
                  <a:ea typeface="微软雅黑" panose="020B0503020204020204" pitchFamily="34" charset="-122"/>
                  <a:cs typeface="思源黑体 CN Regular" panose="020B0500000000000000" charset="-122"/>
                  <a:sym typeface="Arial" panose="020B0604020202020204" pitchFamily="34" charset="0"/>
                </a:endParaRPr>
              </a:p>
            </p:txBody>
          </p:sp>
          <p:sp>
            <p:nvSpPr>
              <p:cNvPr id="70" name="AutoShape 38"/>
              <p:cNvSpPr/>
              <p:nvPr/>
            </p:nvSpPr>
            <p:spPr bwMode="auto">
              <a:xfrm>
                <a:off x="7478829" y="4206403"/>
                <a:ext cx="72231" cy="73025"/>
              </a:xfrm>
              <a:custGeom>
                <a:avLst/>
                <a:gdLst>
                  <a:gd name="T0" fmla="*/ 10800 w 21600"/>
                  <a:gd name="T1" fmla="*/ 10800 h 21600"/>
                  <a:gd name="T2" fmla="*/ 10800 w 21600"/>
                  <a:gd name="T3" fmla="*/ 10800 h 21600"/>
                  <a:gd name="T4" fmla="*/ 10800 w 21600"/>
                  <a:gd name="T5" fmla="*/ 10800 h 21600"/>
                  <a:gd name="T6" fmla="*/ 10800 w 21600"/>
                  <a:gd name="T7" fmla="*/ 10800 h 216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1600" h="21600">
                    <a:moveTo>
                      <a:pt x="10800" y="4320"/>
                    </a:moveTo>
                    <a:cubicBezTo>
                      <a:pt x="14381" y="4320"/>
                      <a:pt x="17279" y="7222"/>
                      <a:pt x="17279" y="10800"/>
                    </a:cubicBezTo>
                    <a:cubicBezTo>
                      <a:pt x="17279" y="14377"/>
                      <a:pt x="14381" y="17279"/>
                      <a:pt x="10800" y="17279"/>
                    </a:cubicBezTo>
                    <a:cubicBezTo>
                      <a:pt x="7218" y="17279"/>
                      <a:pt x="4319" y="14377"/>
                      <a:pt x="4319" y="10800"/>
                    </a:cubicBezTo>
                    <a:cubicBezTo>
                      <a:pt x="4319" y="7222"/>
                      <a:pt x="7218" y="4320"/>
                      <a:pt x="10800" y="4320"/>
                    </a:cubicBezTo>
                    <a:moveTo>
                      <a:pt x="10800" y="21599"/>
                    </a:moveTo>
                    <a:cubicBezTo>
                      <a:pt x="16752" y="21599"/>
                      <a:pt x="21600" y="16756"/>
                      <a:pt x="21600" y="10800"/>
                    </a:cubicBezTo>
                    <a:cubicBezTo>
                      <a:pt x="21600" y="4843"/>
                      <a:pt x="16752" y="0"/>
                      <a:pt x="10800" y="0"/>
                    </a:cubicBezTo>
                    <a:cubicBezTo>
                      <a:pt x="4847" y="0"/>
                      <a:pt x="0" y="4843"/>
                      <a:pt x="0" y="10800"/>
                    </a:cubicBezTo>
                    <a:cubicBezTo>
                      <a:pt x="0" y="16756"/>
                      <a:pt x="4847" y="21599"/>
                      <a:pt x="10800" y="21599"/>
                    </a:cubicBezTo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lIns="19050" tIns="19050" rIns="19050" bIns="19050" anchor="ctr"/>
              <a:lstStyle/>
              <a:p>
                <a:pPr algn="ctr" defTabSz="22860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en-US" sz="1500">
                  <a:solidFill>
                    <a:srgbClr val="FFFFFF"/>
                  </a:solidFill>
                  <a:effectLst>
                    <a:outerShdw blurRad="38100" dist="38100" dir="2700000" algn="tl">
                      <a:srgbClr val="000000"/>
                    </a:outerShdw>
                  </a:effectLst>
                  <a:latin typeface="Arial" panose="020B0604020202020204" pitchFamily="34" charset="0"/>
                  <a:ea typeface="微软雅黑" panose="020B0503020204020204" pitchFamily="34" charset="-122"/>
                  <a:cs typeface="思源黑体 CN Regular" panose="020B0500000000000000" charset="-122"/>
                  <a:sym typeface="Arial" panose="020B0604020202020204" pitchFamily="34" charset="0"/>
                </a:endParaRPr>
              </a:p>
            </p:txBody>
          </p:sp>
          <p:sp>
            <p:nvSpPr>
              <p:cNvPr id="71" name="AutoShape 39"/>
              <p:cNvSpPr/>
              <p:nvPr/>
            </p:nvSpPr>
            <p:spPr bwMode="auto">
              <a:xfrm>
                <a:off x="7667742" y="3973834"/>
                <a:ext cx="72231" cy="73025"/>
              </a:xfrm>
              <a:custGeom>
                <a:avLst/>
                <a:gdLst>
                  <a:gd name="T0" fmla="*/ 10800 w 21600"/>
                  <a:gd name="T1" fmla="*/ 10800 h 21600"/>
                  <a:gd name="T2" fmla="*/ 10800 w 21600"/>
                  <a:gd name="T3" fmla="*/ 10800 h 21600"/>
                  <a:gd name="T4" fmla="*/ 10800 w 21600"/>
                  <a:gd name="T5" fmla="*/ 10800 h 21600"/>
                  <a:gd name="T6" fmla="*/ 10800 w 21600"/>
                  <a:gd name="T7" fmla="*/ 10800 h 216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1600" h="21600">
                    <a:moveTo>
                      <a:pt x="10800" y="17279"/>
                    </a:moveTo>
                    <a:cubicBezTo>
                      <a:pt x="7218" y="17279"/>
                      <a:pt x="4320" y="14377"/>
                      <a:pt x="4320" y="10800"/>
                    </a:cubicBezTo>
                    <a:cubicBezTo>
                      <a:pt x="4320" y="7222"/>
                      <a:pt x="7218" y="4320"/>
                      <a:pt x="10800" y="4320"/>
                    </a:cubicBezTo>
                    <a:cubicBezTo>
                      <a:pt x="14381" y="4320"/>
                      <a:pt x="17280" y="7222"/>
                      <a:pt x="17280" y="10800"/>
                    </a:cubicBezTo>
                    <a:cubicBezTo>
                      <a:pt x="17280" y="14377"/>
                      <a:pt x="14381" y="17279"/>
                      <a:pt x="10800" y="17279"/>
                    </a:cubicBezTo>
                    <a:moveTo>
                      <a:pt x="10800" y="0"/>
                    </a:moveTo>
                    <a:cubicBezTo>
                      <a:pt x="4847" y="0"/>
                      <a:pt x="0" y="4843"/>
                      <a:pt x="0" y="10800"/>
                    </a:cubicBezTo>
                    <a:cubicBezTo>
                      <a:pt x="0" y="16756"/>
                      <a:pt x="4847" y="21599"/>
                      <a:pt x="10800" y="21599"/>
                    </a:cubicBezTo>
                    <a:cubicBezTo>
                      <a:pt x="16752" y="21599"/>
                      <a:pt x="21600" y="16756"/>
                      <a:pt x="21600" y="10800"/>
                    </a:cubicBezTo>
                    <a:cubicBezTo>
                      <a:pt x="21600" y="4843"/>
                      <a:pt x="16752" y="0"/>
                      <a:pt x="10800" y="0"/>
                    </a:cubicBezTo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lIns="19050" tIns="19050" rIns="19050" bIns="19050" anchor="ctr"/>
              <a:lstStyle/>
              <a:p>
                <a:pPr algn="ctr" defTabSz="22860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en-US" sz="1500">
                  <a:solidFill>
                    <a:srgbClr val="FFFFFF"/>
                  </a:solidFill>
                  <a:effectLst>
                    <a:outerShdw blurRad="38100" dist="38100" dir="2700000" algn="tl">
                      <a:srgbClr val="000000"/>
                    </a:outerShdw>
                  </a:effectLst>
                  <a:latin typeface="Arial" panose="020B0604020202020204" pitchFamily="34" charset="0"/>
                  <a:ea typeface="微软雅黑" panose="020B0503020204020204" pitchFamily="34" charset="-122"/>
                  <a:cs typeface="思源黑体 CN Regular" panose="020B0500000000000000" charset="-122"/>
                  <a:sym typeface="Arial" panose="020B0604020202020204" pitchFamily="34" charset="0"/>
                </a:endParaRPr>
              </a:p>
            </p:txBody>
          </p:sp>
          <p:sp>
            <p:nvSpPr>
              <p:cNvPr id="72" name="AutoShape 40"/>
              <p:cNvSpPr/>
              <p:nvPr/>
            </p:nvSpPr>
            <p:spPr bwMode="auto">
              <a:xfrm>
                <a:off x="7391517" y="4192115"/>
                <a:ext cx="57944" cy="57944"/>
              </a:xfrm>
              <a:custGeom>
                <a:avLst/>
                <a:gdLst>
                  <a:gd name="T0" fmla="*/ 10800 w 21600"/>
                  <a:gd name="T1" fmla="*/ 10800 h 21600"/>
                  <a:gd name="T2" fmla="*/ 10800 w 21600"/>
                  <a:gd name="T3" fmla="*/ 10800 h 21600"/>
                  <a:gd name="T4" fmla="*/ 10800 w 21600"/>
                  <a:gd name="T5" fmla="*/ 10800 h 21600"/>
                  <a:gd name="T6" fmla="*/ 10800 w 21600"/>
                  <a:gd name="T7" fmla="*/ 10800 h 216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1600" h="21600">
                    <a:moveTo>
                      <a:pt x="10800" y="5400"/>
                    </a:moveTo>
                    <a:cubicBezTo>
                      <a:pt x="13779" y="5400"/>
                      <a:pt x="16199" y="7815"/>
                      <a:pt x="16199" y="10800"/>
                    </a:cubicBezTo>
                    <a:cubicBezTo>
                      <a:pt x="16199" y="13784"/>
                      <a:pt x="13779" y="16200"/>
                      <a:pt x="10800" y="16200"/>
                    </a:cubicBezTo>
                    <a:cubicBezTo>
                      <a:pt x="7820" y="16200"/>
                      <a:pt x="5399" y="13784"/>
                      <a:pt x="5399" y="10800"/>
                    </a:cubicBezTo>
                    <a:cubicBezTo>
                      <a:pt x="5399" y="7815"/>
                      <a:pt x="7820" y="5400"/>
                      <a:pt x="10800" y="5400"/>
                    </a:cubicBezTo>
                    <a:moveTo>
                      <a:pt x="0" y="10800"/>
                    </a:moveTo>
                    <a:cubicBezTo>
                      <a:pt x="0" y="16753"/>
                      <a:pt x="4843" y="21599"/>
                      <a:pt x="10800" y="21599"/>
                    </a:cubicBezTo>
                    <a:cubicBezTo>
                      <a:pt x="16756" y="21599"/>
                      <a:pt x="21600" y="16753"/>
                      <a:pt x="21600" y="10800"/>
                    </a:cubicBezTo>
                    <a:cubicBezTo>
                      <a:pt x="21600" y="4846"/>
                      <a:pt x="16756" y="0"/>
                      <a:pt x="10800" y="0"/>
                    </a:cubicBezTo>
                    <a:cubicBezTo>
                      <a:pt x="4843" y="0"/>
                      <a:pt x="0" y="4846"/>
                      <a:pt x="0" y="10800"/>
                    </a:cubicBezTo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lIns="19050" tIns="19050" rIns="19050" bIns="19050" anchor="ctr"/>
              <a:lstStyle/>
              <a:p>
                <a:pPr algn="ctr" defTabSz="22860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en-US" sz="1500">
                  <a:solidFill>
                    <a:srgbClr val="FFFFFF"/>
                  </a:solidFill>
                  <a:effectLst>
                    <a:outerShdw blurRad="38100" dist="38100" dir="2700000" algn="tl">
                      <a:srgbClr val="000000"/>
                    </a:outerShdw>
                  </a:effectLst>
                  <a:latin typeface="Arial" panose="020B0604020202020204" pitchFamily="34" charset="0"/>
                  <a:ea typeface="微软雅黑" panose="020B0503020204020204" pitchFamily="34" charset="-122"/>
                  <a:cs typeface="思源黑体 CN Regular" panose="020B0500000000000000" charset="-122"/>
                  <a:sym typeface="Arial" panose="020B0604020202020204" pitchFamily="34" charset="0"/>
                </a:endParaRPr>
              </a:p>
            </p:txBody>
          </p:sp>
          <p:sp>
            <p:nvSpPr>
              <p:cNvPr id="73" name="AutoShape 41"/>
              <p:cNvSpPr/>
              <p:nvPr/>
            </p:nvSpPr>
            <p:spPr bwMode="auto">
              <a:xfrm>
                <a:off x="7449460" y="4293715"/>
                <a:ext cx="29369" cy="28575"/>
              </a:xfrm>
              <a:custGeom>
                <a:avLst/>
                <a:gdLst>
                  <a:gd name="T0" fmla="*/ 10800 w 21600"/>
                  <a:gd name="T1" fmla="*/ 10800 h 21600"/>
                  <a:gd name="T2" fmla="*/ 10800 w 21600"/>
                  <a:gd name="T3" fmla="*/ 10800 h 21600"/>
                  <a:gd name="T4" fmla="*/ 10800 w 21600"/>
                  <a:gd name="T5" fmla="*/ 10800 h 21600"/>
                  <a:gd name="T6" fmla="*/ 10800 w 21600"/>
                  <a:gd name="T7" fmla="*/ 10800 h 216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1600" h="21600">
                    <a:moveTo>
                      <a:pt x="10800" y="21599"/>
                    </a:moveTo>
                    <a:cubicBezTo>
                      <a:pt x="16758" y="21599"/>
                      <a:pt x="21600" y="16769"/>
                      <a:pt x="21600" y="10800"/>
                    </a:cubicBezTo>
                    <a:cubicBezTo>
                      <a:pt x="21600" y="4830"/>
                      <a:pt x="16758" y="0"/>
                      <a:pt x="10800" y="0"/>
                    </a:cubicBezTo>
                    <a:cubicBezTo>
                      <a:pt x="4841" y="0"/>
                      <a:pt x="0" y="4830"/>
                      <a:pt x="0" y="10800"/>
                    </a:cubicBezTo>
                    <a:cubicBezTo>
                      <a:pt x="0" y="16769"/>
                      <a:pt x="4841" y="21599"/>
                      <a:pt x="10800" y="21599"/>
                    </a:cubicBezTo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lIns="19050" tIns="19050" rIns="19050" bIns="19050" anchor="ctr"/>
              <a:lstStyle/>
              <a:p>
                <a:pPr algn="ctr" defTabSz="22860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en-US" sz="1500">
                  <a:solidFill>
                    <a:srgbClr val="FFFFFF"/>
                  </a:solidFill>
                  <a:effectLst>
                    <a:outerShdw blurRad="38100" dist="38100" dir="2700000" algn="tl">
                      <a:srgbClr val="000000"/>
                    </a:outerShdw>
                  </a:effectLst>
                  <a:latin typeface="Arial" panose="020B0604020202020204" pitchFamily="34" charset="0"/>
                  <a:ea typeface="微软雅黑" panose="020B0503020204020204" pitchFamily="34" charset="-122"/>
                  <a:cs typeface="思源黑体 CN Regular" panose="020B0500000000000000" charset="-122"/>
                  <a:sym typeface="Arial" panose="020B0604020202020204" pitchFamily="34" charset="0"/>
                </a:endParaRPr>
              </a:p>
            </p:txBody>
          </p:sp>
          <p:sp>
            <p:nvSpPr>
              <p:cNvPr id="74" name="AutoShape 42"/>
              <p:cNvSpPr/>
              <p:nvPr/>
            </p:nvSpPr>
            <p:spPr bwMode="auto">
              <a:xfrm>
                <a:off x="7682029" y="4075434"/>
                <a:ext cx="28575" cy="29369"/>
              </a:xfrm>
              <a:custGeom>
                <a:avLst/>
                <a:gdLst>
                  <a:gd name="T0" fmla="*/ 10800 w 21600"/>
                  <a:gd name="T1" fmla="*/ 10800 h 21600"/>
                  <a:gd name="T2" fmla="*/ 10800 w 21600"/>
                  <a:gd name="T3" fmla="*/ 10800 h 21600"/>
                  <a:gd name="T4" fmla="*/ 10800 w 21600"/>
                  <a:gd name="T5" fmla="*/ 10800 h 21600"/>
                  <a:gd name="T6" fmla="*/ 10800 w 21600"/>
                  <a:gd name="T7" fmla="*/ 10800 h 216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1600" h="21600">
                    <a:moveTo>
                      <a:pt x="10800" y="0"/>
                    </a:moveTo>
                    <a:cubicBezTo>
                      <a:pt x="4841" y="0"/>
                      <a:pt x="0" y="4830"/>
                      <a:pt x="0" y="10800"/>
                    </a:cubicBezTo>
                    <a:cubicBezTo>
                      <a:pt x="0" y="16769"/>
                      <a:pt x="4841" y="21599"/>
                      <a:pt x="10800" y="21599"/>
                    </a:cubicBezTo>
                    <a:cubicBezTo>
                      <a:pt x="16758" y="21599"/>
                      <a:pt x="21600" y="16769"/>
                      <a:pt x="21600" y="10800"/>
                    </a:cubicBezTo>
                    <a:cubicBezTo>
                      <a:pt x="21600" y="4830"/>
                      <a:pt x="16758" y="0"/>
                      <a:pt x="10800" y="0"/>
                    </a:cubicBezTo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lIns="19050" tIns="19050" rIns="19050" bIns="19050" anchor="ctr"/>
              <a:lstStyle/>
              <a:p>
                <a:pPr algn="ctr" defTabSz="22860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en-US" sz="1500">
                  <a:solidFill>
                    <a:srgbClr val="FFFFFF"/>
                  </a:solidFill>
                  <a:effectLst>
                    <a:outerShdw blurRad="38100" dist="38100" dir="2700000" algn="tl">
                      <a:srgbClr val="000000"/>
                    </a:outerShdw>
                  </a:effectLst>
                  <a:latin typeface="Arial" panose="020B0604020202020204" pitchFamily="34" charset="0"/>
                  <a:ea typeface="微软雅黑" panose="020B0503020204020204" pitchFamily="34" charset="-122"/>
                  <a:cs typeface="思源黑体 CN Regular" panose="020B0500000000000000" charset="-122"/>
                  <a:sym typeface="Arial" panose="020B0604020202020204" pitchFamily="34" charset="0"/>
                </a:endParaRPr>
              </a:p>
            </p:txBody>
          </p:sp>
        </p:grpSp>
      </p:grpSp>
      <p:grpSp>
        <p:nvGrpSpPr>
          <p:cNvPr id="3" name="Group 2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GrpSpPr/>
          <p:nvPr/>
        </p:nvGrpSpPr>
        <p:grpSpPr>
          <a:xfrm>
            <a:off x="1110209" y="5499378"/>
            <a:ext cx="535878" cy="535876"/>
            <a:chOff x="1186436" y="5467846"/>
            <a:chExt cx="535878" cy="535876"/>
          </a:xfrm>
          <a:effectLst>
            <a:outerShdw blurRad="190500" algn="ctr" rotWithShape="0">
              <a:schemeClr val="bg1">
                <a:lumMod val="50000"/>
                <a:alpha val="40000"/>
              </a:schemeClr>
            </a:outerShdw>
          </a:effectLst>
        </p:grpSpPr>
        <p:sp>
          <p:nvSpPr>
            <p:cNvPr id="38" name="Oval 37"/>
            <p:cNvSpPr/>
            <p:nvPr/>
          </p:nvSpPr>
          <p:spPr>
            <a:xfrm>
              <a:off x="1186436" y="5467846"/>
              <a:ext cx="535878" cy="535876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AU">
                <a:solidFill>
                  <a:schemeClr val="bg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endParaRPr>
            </a:p>
          </p:txBody>
        </p:sp>
        <p:sp>
          <p:nvSpPr>
            <p:cNvPr id="75" name="AutoShape 117"/>
            <p:cNvSpPr/>
            <p:nvPr/>
          </p:nvSpPr>
          <p:spPr bwMode="auto">
            <a:xfrm>
              <a:off x="1327145" y="5632583"/>
              <a:ext cx="266823" cy="200231"/>
            </a:xfrm>
            <a:custGeom>
              <a:avLst/>
              <a:gdLst>
                <a:gd name="T0" fmla="+- 0 10799 1"/>
                <a:gd name="T1" fmla="*/ T0 w 21596"/>
                <a:gd name="T2" fmla="*/ 10800 h 21600"/>
                <a:gd name="T3" fmla="+- 0 10799 1"/>
                <a:gd name="T4" fmla="*/ T3 w 21596"/>
                <a:gd name="T5" fmla="*/ 10800 h 21600"/>
                <a:gd name="T6" fmla="+- 0 10799 1"/>
                <a:gd name="T7" fmla="*/ T6 w 21596"/>
                <a:gd name="T8" fmla="*/ 10800 h 21600"/>
                <a:gd name="T9" fmla="+- 0 10799 1"/>
                <a:gd name="T10" fmla="*/ T9 w 21596"/>
                <a:gd name="T11" fmla="*/ 10800 h 21600"/>
              </a:gdLst>
              <a:ahLst/>
              <a:cxnLst>
                <a:cxn ang="0">
                  <a:pos x="T1" y="T2"/>
                </a:cxn>
                <a:cxn ang="0">
                  <a:pos x="T4" y="T5"/>
                </a:cxn>
                <a:cxn ang="0">
                  <a:pos x="T7" y="T8"/>
                </a:cxn>
                <a:cxn ang="0">
                  <a:pos x="T10" y="T11"/>
                </a:cxn>
              </a:cxnLst>
              <a:rect l="0" t="0" r="r" b="b"/>
              <a:pathLst>
                <a:path w="21596" h="21600">
                  <a:moveTo>
                    <a:pt x="4511" y="2151"/>
                  </a:moveTo>
                  <a:lnTo>
                    <a:pt x="6064" y="3877"/>
                  </a:lnTo>
                  <a:lnTo>
                    <a:pt x="4246" y="6302"/>
                  </a:lnTo>
                  <a:lnTo>
                    <a:pt x="1353" y="6302"/>
                  </a:lnTo>
                  <a:cubicBezTo>
                    <a:pt x="1353" y="6302"/>
                    <a:pt x="4511" y="2151"/>
                    <a:pt x="4511" y="2151"/>
                  </a:cubicBezTo>
                  <a:close/>
                  <a:moveTo>
                    <a:pt x="17348" y="6302"/>
                  </a:moveTo>
                  <a:lnTo>
                    <a:pt x="15531" y="3877"/>
                  </a:lnTo>
                  <a:lnTo>
                    <a:pt x="17082" y="2153"/>
                  </a:lnTo>
                  <a:lnTo>
                    <a:pt x="20191" y="6302"/>
                  </a:lnTo>
                  <a:cubicBezTo>
                    <a:pt x="20191" y="6302"/>
                    <a:pt x="17348" y="6302"/>
                    <a:pt x="17348" y="6302"/>
                  </a:cubicBezTo>
                  <a:close/>
                  <a:moveTo>
                    <a:pt x="17264" y="7202"/>
                  </a:moveTo>
                  <a:lnTo>
                    <a:pt x="19663" y="7202"/>
                  </a:lnTo>
                  <a:lnTo>
                    <a:pt x="13021" y="16638"/>
                  </a:lnTo>
                  <a:cubicBezTo>
                    <a:pt x="13021" y="16638"/>
                    <a:pt x="17264" y="7202"/>
                    <a:pt x="17264" y="7202"/>
                  </a:cubicBezTo>
                  <a:close/>
                  <a:moveTo>
                    <a:pt x="8574" y="16637"/>
                  </a:moveTo>
                  <a:lnTo>
                    <a:pt x="1933" y="7202"/>
                  </a:lnTo>
                  <a:lnTo>
                    <a:pt x="4330" y="7202"/>
                  </a:lnTo>
                  <a:cubicBezTo>
                    <a:pt x="4330" y="7202"/>
                    <a:pt x="8574" y="16637"/>
                    <a:pt x="8574" y="16637"/>
                  </a:cubicBezTo>
                  <a:close/>
                  <a:moveTo>
                    <a:pt x="8429" y="7202"/>
                  </a:moveTo>
                  <a:lnTo>
                    <a:pt x="10084" y="18249"/>
                  </a:lnTo>
                  <a:lnTo>
                    <a:pt x="5117" y="7202"/>
                  </a:lnTo>
                  <a:cubicBezTo>
                    <a:pt x="5117" y="7202"/>
                    <a:pt x="8429" y="7202"/>
                    <a:pt x="8429" y="7202"/>
                  </a:cubicBezTo>
                  <a:close/>
                  <a:moveTo>
                    <a:pt x="6584" y="4456"/>
                  </a:moveTo>
                  <a:lnTo>
                    <a:pt x="8246" y="6302"/>
                  </a:lnTo>
                  <a:lnTo>
                    <a:pt x="5200" y="6302"/>
                  </a:lnTo>
                  <a:cubicBezTo>
                    <a:pt x="5200" y="6302"/>
                    <a:pt x="6584" y="4456"/>
                    <a:pt x="6584" y="4456"/>
                  </a:cubicBezTo>
                  <a:close/>
                  <a:moveTo>
                    <a:pt x="6543" y="3238"/>
                  </a:moveTo>
                  <a:lnTo>
                    <a:pt x="5250" y="1800"/>
                  </a:lnTo>
                  <a:lnTo>
                    <a:pt x="7621" y="1800"/>
                  </a:lnTo>
                  <a:cubicBezTo>
                    <a:pt x="7621" y="1800"/>
                    <a:pt x="6543" y="3238"/>
                    <a:pt x="6543" y="3238"/>
                  </a:cubicBezTo>
                  <a:close/>
                  <a:moveTo>
                    <a:pt x="10797" y="3466"/>
                  </a:moveTo>
                  <a:lnTo>
                    <a:pt x="9299" y="1800"/>
                  </a:lnTo>
                  <a:lnTo>
                    <a:pt x="12296" y="1800"/>
                  </a:lnTo>
                  <a:cubicBezTo>
                    <a:pt x="12296" y="1800"/>
                    <a:pt x="10797" y="3466"/>
                    <a:pt x="10797" y="3466"/>
                  </a:cubicBezTo>
                  <a:close/>
                  <a:moveTo>
                    <a:pt x="13974" y="1800"/>
                  </a:moveTo>
                  <a:lnTo>
                    <a:pt x="16345" y="1800"/>
                  </a:lnTo>
                  <a:lnTo>
                    <a:pt x="15052" y="3238"/>
                  </a:lnTo>
                  <a:cubicBezTo>
                    <a:pt x="15052" y="3238"/>
                    <a:pt x="13974" y="1800"/>
                    <a:pt x="13974" y="1800"/>
                  </a:cubicBezTo>
                  <a:close/>
                  <a:moveTo>
                    <a:pt x="13349" y="6302"/>
                  </a:moveTo>
                  <a:lnTo>
                    <a:pt x="15011" y="4456"/>
                  </a:lnTo>
                  <a:lnTo>
                    <a:pt x="16394" y="6302"/>
                  </a:lnTo>
                  <a:cubicBezTo>
                    <a:pt x="16394" y="6302"/>
                    <a:pt x="13349" y="6302"/>
                    <a:pt x="13349" y="6302"/>
                  </a:cubicBezTo>
                  <a:close/>
                  <a:moveTo>
                    <a:pt x="13166" y="7202"/>
                  </a:moveTo>
                  <a:lnTo>
                    <a:pt x="16478" y="7202"/>
                  </a:lnTo>
                  <a:lnTo>
                    <a:pt x="11511" y="18249"/>
                  </a:lnTo>
                  <a:cubicBezTo>
                    <a:pt x="11511" y="18249"/>
                    <a:pt x="13166" y="7202"/>
                    <a:pt x="13166" y="7202"/>
                  </a:cubicBezTo>
                  <a:close/>
                  <a:moveTo>
                    <a:pt x="12478" y="7202"/>
                  </a:moveTo>
                  <a:lnTo>
                    <a:pt x="10797" y="18414"/>
                  </a:lnTo>
                  <a:lnTo>
                    <a:pt x="9117" y="7202"/>
                  </a:lnTo>
                  <a:cubicBezTo>
                    <a:pt x="9117" y="7202"/>
                    <a:pt x="12478" y="7202"/>
                    <a:pt x="12478" y="7202"/>
                  </a:cubicBezTo>
                  <a:close/>
                  <a:moveTo>
                    <a:pt x="8773" y="5716"/>
                  </a:moveTo>
                  <a:lnTo>
                    <a:pt x="7064" y="3817"/>
                  </a:lnTo>
                  <a:lnTo>
                    <a:pt x="8426" y="2000"/>
                  </a:lnTo>
                  <a:lnTo>
                    <a:pt x="10270" y="4051"/>
                  </a:lnTo>
                  <a:cubicBezTo>
                    <a:pt x="10270" y="4051"/>
                    <a:pt x="8773" y="5716"/>
                    <a:pt x="8773" y="5716"/>
                  </a:cubicBezTo>
                  <a:close/>
                  <a:moveTo>
                    <a:pt x="11325" y="4051"/>
                  </a:moveTo>
                  <a:lnTo>
                    <a:pt x="13169" y="2000"/>
                  </a:lnTo>
                  <a:lnTo>
                    <a:pt x="14531" y="3817"/>
                  </a:lnTo>
                  <a:lnTo>
                    <a:pt x="12822" y="5716"/>
                  </a:lnTo>
                  <a:cubicBezTo>
                    <a:pt x="12822" y="5716"/>
                    <a:pt x="11325" y="4051"/>
                    <a:pt x="11325" y="4051"/>
                  </a:cubicBezTo>
                  <a:close/>
                  <a:moveTo>
                    <a:pt x="12296" y="6302"/>
                  </a:moveTo>
                  <a:lnTo>
                    <a:pt x="9299" y="6302"/>
                  </a:lnTo>
                  <a:lnTo>
                    <a:pt x="10797" y="4638"/>
                  </a:lnTo>
                  <a:cubicBezTo>
                    <a:pt x="10797" y="4638"/>
                    <a:pt x="12296" y="6302"/>
                    <a:pt x="12296" y="6302"/>
                  </a:cubicBezTo>
                  <a:close/>
                  <a:moveTo>
                    <a:pt x="21200" y="5102"/>
                  </a:moveTo>
                  <a:lnTo>
                    <a:pt x="17771" y="527"/>
                  </a:lnTo>
                  <a:cubicBezTo>
                    <a:pt x="17518" y="189"/>
                    <a:pt x="17176" y="0"/>
                    <a:pt x="16817" y="0"/>
                  </a:cubicBezTo>
                  <a:lnTo>
                    <a:pt x="4779" y="0"/>
                  </a:lnTo>
                  <a:cubicBezTo>
                    <a:pt x="4420" y="0"/>
                    <a:pt x="4077" y="189"/>
                    <a:pt x="3824" y="527"/>
                  </a:cubicBezTo>
                  <a:lnTo>
                    <a:pt x="395" y="5102"/>
                  </a:lnTo>
                  <a:cubicBezTo>
                    <a:pt x="131" y="5455"/>
                    <a:pt x="-1" y="5921"/>
                    <a:pt x="-1" y="6387"/>
                  </a:cubicBezTo>
                  <a:cubicBezTo>
                    <a:pt x="1" y="6810"/>
                    <a:pt x="114" y="7233"/>
                    <a:pt x="341" y="7573"/>
                  </a:cubicBezTo>
                  <a:lnTo>
                    <a:pt x="9788" y="20995"/>
                  </a:lnTo>
                  <a:cubicBezTo>
                    <a:pt x="10045" y="21379"/>
                    <a:pt x="10412" y="21599"/>
                    <a:pt x="10797" y="21599"/>
                  </a:cubicBezTo>
                  <a:cubicBezTo>
                    <a:pt x="11183" y="21599"/>
                    <a:pt x="11550" y="21379"/>
                    <a:pt x="11807" y="20995"/>
                  </a:cubicBezTo>
                  <a:lnTo>
                    <a:pt x="21255" y="7573"/>
                  </a:lnTo>
                  <a:cubicBezTo>
                    <a:pt x="21485" y="7226"/>
                    <a:pt x="21598" y="6791"/>
                    <a:pt x="21595" y="6359"/>
                  </a:cubicBezTo>
                  <a:cubicBezTo>
                    <a:pt x="21593" y="5902"/>
                    <a:pt x="21459" y="5449"/>
                    <a:pt x="21200" y="5102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lIns="19050" tIns="19050" rIns="19050" bIns="19050" anchor="ctr"/>
            <a:lstStyle/>
            <a:p>
              <a:pPr algn="ctr" defTabSz="22860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US" sz="1500">
                <a:solidFill>
                  <a:srgbClr val="FFFFFF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endParaRPr>
            </a:p>
          </p:txBody>
        </p:sp>
      </p:grpSp>
      <p:grpSp>
        <p:nvGrpSpPr>
          <p:cNvPr id="84" name="Group 83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GrpSpPr/>
          <p:nvPr/>
        </p:nvGrpSpPr>
        <p:grpSpPr>
          <a:xfrm>
            <a:off x="9869851" y="5499378"/>
            <a:ext cx="535878" cy="535876"/>
            <a:chOff x="9822607" y="5467846"/>
            <a:chExt cx="535878" cy="535876"/>
          </a:xfrm>
          <a:effectLst>
            <a:outerShdw blurRad="190500" algn="ctr" rotWithShape="0">
              <a:schemeClr val="bg1">
                <a:lumMod val="50000"/>
                <a:alpha val="40000"/>
              </a:schemeClr>
            </a:outerShdw>
          </a:effectLst>
        </p:grpSpPr>
        <p:sp>
          <p:nvSpPr>
            <p:cNvPr id="48" name="Oval 47"/>
            <p:cNvSpPr/>
            <p:nvPr/>
          </p:nvSpPr>
          <p:spPr>
            <a:xfrm>
              <a:off x="9822607" y="5467846"/>
              <a:ext cx="535878" cy="535876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endParaRPr>
            </a:p>
          </p:txBody>
        </p:sp>
        <p:grpSp>
          <p:nvGrpSpPr>
            <p:cNvPr id="77" name="Group 76"/>
            <p:cNvGrpSpPr/>
            <p:nvPr/>
          </p:nvGrpSpPr>
          <p:grpSpPr>
            <a:xfrm>
              <a:off x="9971987" y="5646814"/>
              <a:ext cx="237118" cy="177940"/>
              <a:chOff x="712110" y="4037334"/>
              <a:chExt cx="464344" cy="348456"/>
            </a:xfrm>
            <a:solidFill>
              <a:schemeClr val="bg1"/>
            </a:solidFill>
          </p:grpSpPr>
          <p:sp>
            <p:nvSpPr>
              <p:cNvPr id="78" name="AutoShape 118"/>
              <p:cNvSpPr/>
              <p:nvPr/>
            </p:nvSpPr>
            <p:spPr bwMode="auto">
              <a:xfrm>
                <a:off x="712110" y="4037334"/>
                <a:ext cx="464344" cy="348456"/>
              </a:xfrm>
              <a:custGeom>
                <a:avLst/>
                <a:gdLst>
                  <a:gd name="T0" fmla="*/ 10732 w 21464"/>
                  <a:gd name="T1" fmla="*/ 10800 h 21600"/>
                  <a:gd name="T2" fmla="*/ 10732 w 21464"/>
                  <a:gd name="T3" fmla="*/ 10800 h 21600"/>
                  <a:gd name="T4" fmla="*/ 10732 w 21464"/>
                  <a:gd name="T5" fmla="*/ 10800 h 21600"/>
                  <a:gd name="T6" fmla="*/ 10732 w 21464"/>
                  <a:gd name="T7" fmla="*/ 10800 h 216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1464" h="21600">
                    <a:moveTo>
                      <a:pt x="19918" y="11754"/>
                    </a:moveTo>
                    <a:lnTo>
                      <a:pt x="16564" y="18954"/>
                    </a:lnTo>
                    <a:cubicBezTo>
                      <a:pt x="16317" y="19484"/>
                      <a:pt x="15892" y="19800"/>
                      <a:pt x="15427" y="19800"/>
                    </a:cubicBezTo>
                    <a:lnTo>
                      <a:pt x="2683" y="19800"/>
                    </a:lnTo>
                    <a:cubicBezTo>
                      <a:pt x="1943" y="19800"/>
                      <a:pt x="1341" y="18992"/>
                      <a:pt x="1341" y="18000"/>
                    </a:cubicBezTo>
                    <a:lnTo>
                      <a:pt x="1341" y="3600"/>
                    </a:lnTo>
                    <a:cubicBezTo>
                      <a:pt x="1341" y="2608"/>
                      <a:pt x="1943" y="1800"/>
                      <a:pt x="2683" y="1800"/>
                    </a:cubicBezTo>
                    <a:lnTo>
                      <a:pt x="15427" y="1800"/>
                    </a:lnTo>
                    <a:cubicBezTo>
                      <a:pt x="15892" y="1800"/>
                      <a:pt x="16317" y="2116"/>
                      <a:pt x="16564" y="2645"/>
                    </a:cubicBezTo>
                    <a:lnTo>
                      <a:pt x="19917" y="9845"/>
                    </a:lnTo>
                    <a:cubicBezTo>
                      <a:pt x="20188" y="10425"/>
                      <a:pt x="20188" y="11174"/>
                      <a:pt x="19918" y="11754"/>
                    </a:cubicBezTo>
                    <a:moveTo>
                      <a:pt x="21055" y="8891"/>
                    </a:moveTo>
                    <a:lnTo>
                      <a:pt x="17701" y="1691"/>
                    </a:lnTo>
                    <a:cubicBezTo>
                      <a:pt x="17211" y="639"/>
                      <a:pt x="16352" y="0"/>
                      <a:pt x="15427" y="0"/>
                    </a:cubicBezTo>
                    <a:lnTo>
                      <a:pt x="2683" y="0"/>
                    </a:lnTo>
                    <a:cubicBezTo>
                      <a:pt x="1201" y="0"/>
                      <a:pt x="0" y="1611"/>
                      <a:pt x="0" y="3600"/>
                    </a:cubicBezTo>
                    <a:lnTo>
                      <a:pt x="0" y="18000"/>
                    </a:lnTo>
                    <a:cubicBezTo>
                      <a:pt x="0" y="19988"/>
                      <a:pt x="1201" y="21599"/>
                      <a:pt x="2683" y="21599"/>
                    </a:cubicBezTo>
                    <a:lnTo>
                      <a:pt x="15427" y="21599"/>
                    </a:lnTo>
                    <a:cubicBezTo>
                      <a:pt x="16352" y="21599"/>
                      <a:pt x="17211" y="20960"/>
                      <a:pt x="17701" y="19908"/>
                    </a:cubicBezTo>
                    <a:lnTo>
                      <a:pt x="21055" y="12708"/>
                    </a:lnTo>
                    <a:cubicBezTo>
                      <a:pt x="21600" y="11541"/>
                      <a:pt x="21600" y="10059"/>
                      <a:pt x="21055" y="8891"/>
                    </a:cubicBezTo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lIns="19050" tIns="19050" rIns="19050" bIns="19050" anchor="ctr"/>
              <a:lstStyle/>
              <a:p>
                <a:pPr algn="ctr" defTabSz="22860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en-US" sz="1500">
                  <a:solidFill>
                    <a:srgbClr val="FFFFFF"/>
                  </a:solidFill>
                  <a:effectLst>
                    <a:outerShdw blurRad="38100" dist="38100" dir="2700000" algn="tl">
                      <a:srgbClr val="000000"/>
                    </a:outerShdw>
                  </a:effectLst>
                  <a:latin typeface="Arial" panose="020B0604020202020204" pitchFamily="34" charset="0"/>
                  <a:ea typeface="微软雅黑" panose="020B0503020204020204" pitchFamily="34" charset="-122"/>
                  <a:cs typeface="思源黑体 CN Regular" panose="020B0500000000000000" charset="-122"/>
                  <a:sym typeface="Arial" panose="020B0604020202020204" pitchFamily="34" charset="0"/>
                </a:endParaRPr>
              </a:p>
            </p:txBody>
          </p:sp>
          <p:sp>
            <p:nvSpPr>
              <p:cNvPr id="79" name="AutoShape 119"/>
              <p:cNvSpPr/>
              <p:nvPr/>
            </p:nvSpPr>
            <p:spPr bwMode="auto">
              <a:xfrm>
                <a:off x="1001829" y="4167509"/>
                <a:ext cx="87313" cy="87313"/>
              </a:xfrm>
              <a:custGeom>
                <a:avLst/>
                <a:gdLst>
                  <a:gd name="T0" fmla="*/ 10800 w 21600"/>
                  <a:gd name="T1" fmla="*/ 10800 h 21600"/>
                  <a:gd name="T2" fmla="*/ 10800 w 21600"/>
                  <a:gd name="T3" fmla="*/ 10800 h 21600"/>
                  <a:gd name="T4" fmla="*/ 10800 w 21600"/>
                  <a:gd name="T5" fmla="*/ 10800 h 21600"/>
                  <a:gd name="T6" fmla="*/ 10800 w 21600"/>
                  <a:gd name="T7" fmla="*/ 10800 h 216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1600" h="21600">
                    <a:moveTo>
                      <a:pt x="10800" y="18000"/>
                    </a:moveTo>
                    <a:cubicBezTo>
                      <a:pt x="6825" y="18000"/>
                      <a:pt x="3600" y="14774"/>
                      <a:pt x="3600" y="10800"/>
                    </a:cubicBezTo>
                    <a:cubicBezTo>
                      <a:pt x="3600" y="6825"/>
                      <a:pt x="6825" y="3600"/>
                      <a:pt x="10800" y="3600"/>
                    </a:cubicBezTo>
                    <a:cubicBezTo>
                      <a:pt x="14774" y="3600"/>
                      <a:pt x="17999" y="6825"/>
                      <a:pt x="17999" y="10800"/>
                    </a:cubicBezTo>
                    <a:cubicBezTo>
                      <a:pt x="17999" y="14774"/>
                      <a:pt x="14774" y="18000"/>
                      <a:pt x="10800" y="18000"/>
                    </a:cubicBezTo>
                    <a:moveTo>
                      <a:pt x="10800" y="0"/>
                    </a:moveTo>
                    <a:cubicBezTo>
                      <a:pt x="4833" y="0"/>
                      <a:pt x="0" y="4833"/>
                      <a:pt x="0" y="10800"/>
                    </a:cubicBezTo>
                    <a:cubicBezTo>
                      <a:pt x="0" y="16766"/>
                      <a:pt x="4833" y="21599"/>
                      <a:pt x="10800" y="21599"/>
                    </a:cubicBezTo>
                    <a:cubicBezTo>
                      <a:pt x="16766" y="21599"/>
                      <a:pt x="21600" y="16766"/>
                      <a:pt x="21600" y="10800"/>
                    </a:cubicBezTo>
                    <a:cubicBezTo>
                      <a:pt x="21600" y="4833"/>
                      <a:pt x="16766" y="0"/>
                      <a:pt x="10800" y="0"/>
                    </a:cubicBezTo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lIns="19050" tIns="19050" rIns="19050" bIns="19050" anchor="ctr"/>
              <a:lstStyle/>
              <a:p>
                <a:pPr algn="ctr" defTabSz="22860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en-US" sz="1500">
                  <a:solidFill>
                    <a:srgbClr val="FFFFFF"/>
                  </a:solidFill>
                  <a:effectLst>
                    <a:outerShdw blurRad="38100" dist="38100" dir="2700000" algn="tl">
                      <a:srgbClr val="000000"/>
                    </a:outerShdw>
                  </a:effectLst>
                  <a:latin typeface="Arial" panose="020B0604020202020204" pitchFamily="34" charset="0"/>
                  <a:ea typeface="微软雅黑" panose="020B0503020204020204" pitchFamily="34" charset="-122"/>
                  <a:cs typeface="思源黑体 CN Regular" panose="020B0500000000000000" charset="-122"/>
                  <a:sym typeface="Arial" panose="020B0604020202020204" pitchFamily="34" charset="0"/>
                </a:endParaRPr>
              </a:p>
            </p:txBody>
          </p:sp>
        </p:grpSp>
      </p:grpSp>
      <p:cxnSp>
        <p:nvCxnSpPr>
          <p:cNvPr id="85" name="Straight Connector 19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CxnSpPr/>
          <p:nvPr/>
        </p:nvCxnSpPr>
        <p:spPr>
          <a:xfrm>
            <a:off x="0" y="1209529"/>
            <a:ext cx="4403859" cy="0"/>
          </a:xfrm>
          <a:prstGeom prst="line">
            <a:avLst/>
          </a:prstGeom>
          <a:noFill/>
          <a:ln w="28575" cap="flat">
            <a:solidFill>
              <a:schemeClr val="tx2"/>
            </a:solidFill>
            <a:prstDash val="solid"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86" name="Straight Connector 19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CxnSpPr/>
          <p:nvPr/>
        </p:nvCxnSpPr>
        <p:spPr>
          <a:xfrm>
            <a:off x="7788141" y="1209529"/>
            <a:ext cx="4403859" cy="0"/>
          </a:xfrm>
          <a:prstGeom prst="line">
            <a:avLst/>
          </a:prstGeom>
          <a:noFill/>
          <a:ln w="28575" cap="flat">
            <a:solidFill>
              <a:schemeClr val="tx2"/>
            </a:solidFill>
            <a:prstDash val="solid"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88" name="矩形 87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SpPr/>
          <p:nvPr/>
        </p:nvSpPr>
        <p:spPr>
          <a:xfrm>
            <a:off x="11071352" y="0"/>
            <a:ext cx="596900" cy="723900"/>
          </a:xfrm>
          <a:prstGeom prst="rect">
            <a:avLst/>
          </a:prstGeom>
          <a:solidFill>
            <a:srgbClr val="002BF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latin typeface="Arial" panose="020B0604020202020204" pitchFamily="34" charset="0"/>
              <a:ea typeface="微软雅黑" panose="020B0503020204020204" pitchFamily="34" charset="-122"/>
              <a:cs typeface="思源黑体 CN Regular" panose="020B0500000000000000" charset="-122"/>
              <a:sym typeface="Arial" panose="020B0604020202020204" pitchFamily="34" charset="0"/>
            </a:endParaRPr>
          </a:p>
        </p:txBody>
      </p:sp>
      <p:sp>
        <p:nvSpPr>
          <p:cNvPr id="89" name="Shape 3891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SpPr/>
          <p:nvPr/>
        </p:nvSpPr>
        <p:spPr>
          <a:xfrm>
            <a:off x="11232845" y="162829"/>
            <a:ext cx="279033" cy="279033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8429" y="14128"/>
                </a:moveTo>
                <a:cubicBezTo>
                  <a:pt x="17041" y="13430"/>
                  <a:pt x="15777" y="12523"/>
                  <a:pt x="14684" y="11440"/>
                </a:cubicBezTo>
                <a:cubicBezTo>
                  <a:pt x="15214" y="10618"/>
                  <a:pt x="15664" y="9739"/>
                  <a:pt x="16034" y="8820"/>
                </a:cubicBezTo>
                <a:cubicBezTo>
                  <a:pt x="16089" y="8826"/>
                  <a:pt x="16143" y="8836"/>
                  <a:pt x="16200" y="8836"/>
                </a:cubicBezTo>
                <a:cubicBezTo>
                  <a:pt x="17013" y="8836"/>
                  <a:pt x="17673" y="8178"/>
                  <a:pt x="17673" y="7364"/>
                </a:cubicBezTo>
                <a:cubicBezTo>
                  <a:pt x="17673" y="6787"/>
                  <a:pt x="17339" y="6295"/>
                  <a:pt x="16856" y="6052"/>
                </a:cubicBezTo>
                <a:cubicBezTo>
                  <a:pt x="17033" y="5170"/>
                  <a:pt x="17144" y="4264"/>
                  <a:pt x="17167" y="3336"/>
                </a:cubicBezTo>
                <a:cubicBezTo>
                  <a:pt x="19277" y="5136"/>
                  <a:pt x="20618" y="7809"/>
                  <a:pt x="20618" y="10800"/>
                </a:cubicBezTo>
                <a:cubicBezTo>
                  <a:pt x="20618" y="11764"/>
                  <a:pt x="20469" y="12690"/>
                  <a:pt x="20209" y="13568"/>
                </a:cubicBezTo>
                <a:cubicBezTo>
                  <a:pt x="19628" y="13783"/>
                  <a:pt x="19034" y="13971"/>
                  <a:pt x="18429" y="14128"/>
                </a:cubicBezTo>
                <a:moveTo>
                  <a:pt x="10800" y="20618"/>
                </a:moveTo>
                <a:cubicBezTo>
                  <a:pt x="8406" y="20618"/>
                  <a:pt x="6213" y="19759"/>
                  <a:pt x="4509" y="18335"/>
                </a:cubicBezTo>
                <a:cubicBezTo>
                  <a:pt x="6552" y="17934"/>
                  <a:pt x="8450" y="17135"/>
                  <a:pt x="10128" y="16031"/>
                </a:cubicBezTo>
                <a:cubicBezTo>
                  <a:pt x="10330" y="16136"/>
                  <a:pt x="10556" y="16200"/>
                  <a:pt x="10800" y="16200"/>
                </a:cubicBezTo>
                <a:cubicBezTo>
                  <a:pt x="11273" y="16200"/>
                  <a:pt x="11689" y="15974"/>
                  <a:pt x="11959" y="15627"/>
                </a:cubicBezTo>
                <a:cubicBezTo>
                  <a:pt x="12547" y="15680"/>
                  <a:pt x="13142" y="15709"/>
                  <a:pt x="13745" y="15709"/>
                </a:cubicBezTo>
                <a:cubicBezTo>
                  <a:pt x="15323" y="15709"/>
                  <a:pt x="16852" y="15508"/>
                  <a:pt x="18322" y="15156"/>
                </a:cubicBezTo>
                <a:cubicBezTo>
                  <a:pt x="18660" y="15317"/>
                  <a:pt x="18998" y="15480"/>
                  <a:pt x="19350" y="15618"/>
                </a:cubicBezTo>
                <a:cubicBezTo>
                  <a:pt x="17665" y="18601"/>
                  <a:pt x="14470" y="20618"/>
                  <a:pt x="10800" y="20618"/>
                </a:cubicBezTo>
                <a:moveTo>
                  <a:pt x="3539" y="17393"/>
                </a:moveTo>
                <a:cubicBezTo>
                  <a:pt x="3476" y="16840"/>
                  <a:pt x="3436" y="16280"/>
                  <a:pt x="3436" y="15709"/>
                </a:cubicBezTo>
                <a:cubicBezTo>
                  <a:pt x="3436" y="14764"/>
                  <a:pt x="3536" y="13842"/>
                  <a:pt x="3707" y="12946"/>
                </a:cubicBezTo>
                <a:cubicBezTo>
                  <a:pt x="5455" y="13988"/>
                  <a:pt x="7377" y="14767"/>
                  <a:pt x="9421" y="15227"/>
                </a:cubicBezTo>
                <a:cubicBezTo>
                  <a:pt x="9431" y="15254"/>
                  <a:pt x="9436" y="15282"/>
                  <a:pt x="9447" y="15308"/>
                </a:cubicBezTo>
                <a:cubicBezTo>
                  <a:pt x="7724" y="16421"/>
                  <a:pt x="5761" y="17193"/>
                  <a:pt x="3643" y="17507"/>
                </a:cubicBezTo>
                <a:cubicBezTo>
                  <a:pt x="3608" y="17469"/>
                  <a:pt x="3573" y="17430"/>
                  <a:pt x="3539" y="17393"/>
                </a:cubicBezTo>
                <a:moveTo>
                  <a:pt x="3075" y="11369"/>
                </a:moveTo>
                <a:cubicBezTo>
                  <a:pt x="2361" y="10869"/>
                  <a:pt x="1683" y="10322"/>
                  <a:pt x="1046" y="9729"/>
                </a:cubicBezTo>
                <a:cubicBezTo>
                  <a:pt x="1528" y="5299"/>
                  <a:pt x="4955" y="1762"/>
                  <a:pt x="9331" y="1104"/>
                </a:cubicBezTo>
                <a:cubicBezTo>
                  <a:pt x="9335" y="1629"/>
                  <a:pt x="9363" y="2148"/>
                  <a:pt x="9417" y="2660"/>
                </a:cubicBezTo>
                <a:cubicBezTo>
                  <a:pt x="8572" y="3227"/>
                  <a:pt x="7787" y="3879"/>
                  <a:pt x="7069" y="4597"/>
                </a:cubicBezTo>
                <a:cubicBezTo>
                  <a:pt x="6863" y="4486"/>
                  <a:pt x="6632" y="4418"/>
                  <a:pt x="6382" y="4418"/>
                </a:cubicBezTo>
                <a:cubicBezTo>
                  <a:pt x="5569" y="4418"/>
                  <a:pt x="4909" y="5078"/>
                  <a:pt x="4909" y="5891"/>
                </a:cubicBezTo>
                <a:cubicBezTo>
                  <a:pt x="4909" y="6236"/>
                  <a:pt x="5033" y="6549"/>
                  <a:pt x="5231" y="6800"/>
                </a:cubicBezTo>
                <a:cubicBezTo>
                  <a:pt x="4279" y="8179"/>
                  <a:pt x="3550" y="9719"/>
                  <a:pt x="3075" y="11369"/>
                </a:cubicBezTo>
                <a:moveTo>
                  <a:pt x="2466" y="15973"/>
                </a:moveTo>
                <a:cubicBezTo>
                  <a:pt x="1563" y="14521"/>
                  <a:pt x="1025" y="12821"/>
                  <a:pt x="989" y="10995"/>
                </a:cubicBezTo>
                <a:cubicBezTo>
                  <a:pt x="1570" y="11492"/>
                  <a:pt x="2180" y="11955"/>
                  <a:pt x="2817" y="12383"/>
                </a:cubicBezTo>
                <a:cubicBezTo>
                  <a:pt x="2585" y="13456"/>
                  <a:pt x="2455" y="14567"/>
                  <a:pt x="2455" y="15709"/>
                </a:cubicBezTo>
                <a:cubicBezTo>
                  <a:pt x="2455" y="15798"/>
                  <a:pt x="2464" y="15885"/>
                  <a:pt x="2466" y="15973"/>
                </a:cubicBezTo>
                <a:moveTo>
                  <a:pt x="13428" y="11540"/>
                </a:moveTo>
                <a:cubicBezTo>
                  <a:pt x="12907" y="12264"/>
                  <a:pt x="12315" y="12931"/>
                  <a:pt x="11674" y="13548"/>
                </a:cubicBezTo>
                <a:cubicBezTo>
                  <a:pt x="11429" y="13366"/>
                  <a:pt x="11129" y="13255"/>
                  <a:pt x="10800" y="13255"/>
                </a:cubicBezTo>
                <a:cubicBezTo>
                  <a:pt x="10166" y="13255"/>
                  <a:pt x="9631" y="13657"/>
                  <a:pt x="9423" y="14218"/>
                </a:cubicBezTo>
                <a:cubicBezTo>
                  <a:pt x="7455" y="13751"/>
                  <a:pt x="5607" y="12974"/>
                  <a:pt x="3936" y="11937"/>
                </a:cubicBezTo>
                <a:cubicBezTo>
                  <a:pt x="4379" y="10266"/>
                  <a:pt x="5100" y="8709"/>
                  <a:pt x="6060" y="7326"/>
                </a:cubicBezTo>
                <a:cubicBezTo>
                  <a:pt x="6164" y="7349"/>
                  <a:pt x="6271" y="7364"/>
                  <a:pt x="6382" y="7364"/>
                </a:cubicBezTo>
                <a:cubicBezTo>
                  <a:pt x="7195" y="7364"/>
                  <a:pt x="7855" y="6705"/>
                  <a:pt x="7855" y="5891"/>
                </a:cubicBezTo>
                <a:cubicBezTo>
                  <a:pt x="7855" y="5688"/>
                  <a:pt x="7813" y="5494"/>
                  <a:pt x="7739" y="5318"/>
                </a:cubicBezTo>
                <a:cubicBezTo>
                  <a:pt x="8307" y="4747"/>
                  <a:pt x="8920" y="4221"/>
                  <a:pt x="9575" y="3749"/>
                </a:cubicBezTo>
                <a:cubicBezTo>
                  <a:pt x="10104" y="6723"/>
                  <a:pt x="11479" y="9397"/>
                  <a:pt x="13428" y="11540"/>
                </a:cubicBezTo>
                <a:moveTo>
                  <a:pt x="10800" y="982"/>
                </a:moveTo>
                <a:cubicBezTo>
                  <a:pt x="11347" y="982"/>
                  <a:pt x="11881" y="1038"/>
                  <a:pt x="12403" y="1125"/>
                </a:cubicBezTo>
                <a:cubicBezTo>
                  <a:pt x="11696" y="1401"/>
                  <a:pt x="11005" y="1708"/>
                  <a:pt x="10354" y="2082"/>
                </a:cubicBezTo>
                <a:cubicBezTo>
                  <a:pt x="10328" y="1726"/>
                  <a:pt x="10311" y="1368"/>
                  <a:pt x="10310" y="1007"/>
                </a:cubicBezTo>
                <a:cubicBezTo>
                  <a:pt x="10474" y="999"/>
                  <a:pt x="10635" y="982"/>
                  <a:pt x="10800" y="982"/>
                </a:cubicBezTo>
                <a:moveTo>
                  <a:pt x="14120" y="12262"/>
                </a:moveTo>
                <a:cubicBezTo>
                  <a:pt x="14982" y="13097"/>
                  <a:pt x="15950" y="13819"/>
                  <a:pt x="16986" y="14440"/>
                </a:cubicBezTo>
                <a:cubicBezTo>
                  <a:pt x="15933" y="14626"/>
                  <a:pt x="14852" y="14727"/>
                  <a:pt x="13745" y="14727"/>
                </a:cubicBezTo>
                <a:cubicBezTo>
                  <a:pt x="13246" y="14727"/>
                  <a:pt x="12754" y="14702"/>
                  <a:pt x="12265" y="14664"/>
                </a:cubicBezTo>
                <a:cubicBezTo>
                  <a:pt x="12259" y="14569"/>
                  <a:pt x="12250" y="14475"/>
                  <a:pt x="12229" y="14386"/>
                </a:cubicBezTo>
                <a:cubicBezTo>
                  <a:pt x="12921" y="13737"/>
                  <a:pt x="13555" y="13027"/>
                  <a:pt x="14120" y="12262"/>
                </a:cubicBezTo>
                <a:moveTo>
                  <a:pt x="16188" y="2597"/>
                </a:moveTo>
                <a:cubicBezTo>
                  <a:pt x="16191" y="2713"/>
                  <a:pt x="16200" y="2828"/>
                  <a:pt x="16200" y="2945"/>
                </a:cubicBezTo>
                <a:cubicBezTo>
                  <a:pt x="16200" y="3967"/>
                  <a:pt x="16092" y="4962"/>
                  <a:pt x="15894" y="5924"/>
                </a:cubicBezTo>
                <a:cubicBezTo>
                  <a:pt x="15227" y="6065"/>
                  <a:pt x="14727" y="6656"/>
                  <a:pt x="14727" y="7364"/>
                </a:cubicBezTo>
                <a:cubicBezTo>
                  <a:pt x="14727" y="7765"/>
                  <a:pt x="14888" y="8128"/>
                  <a:pt x="15149" y="8393"/>
                </a:cubicBezTo>
                <a:cubicBezTo>
                  <a:pt x="14827" y="9199"/>
                  <a:pt x="14443" y="9974"/>
                  <a:pt x="13991" y="10701"/>
                </a:cubicBezTo>
                <a:cubicBezTo>
                  <a:pt x="12159" y="8620"/>
                  <a:pt x="10894" y="6025"/>
                  <a:pt x="10469" y="3152"/>
                </a:cubicBezTo>
                <a:cubicBezTo>
                  <a:pt x="11590" y="2463"/>
                  <a:pt x="12813" y="1934"/>
                  <a:pt x="14106" y="1565"/>
                </a:cubicBezTo>
                <a:cubicBezTo>
                  <a:pt x="14844" y="1829"/>
                  <a:pt x="15544" y="2174"/>
                  <a:pt x="16188" y="2597"/>
                </a:cubicBezTo>
                <a:moveTo>
                  <a:pt x="10800" y="0"/>
                </a:moveTo>
                <a:cubicBezTo>
                  <a:pt x="4835" y="0"/>
                  <a:pt x="0" y="4835"/>
                  <a:pt x="0" y="10800"/>
                </a:cubicBezTo>
                <a:cubicBezTo>
                  <a:pt x="0" y="16765"/>
                  <a:pt x="4835" y="21600"/>
                  <a:pt x="10800" y="21600"/>
                </a:cubicBezTo>
                <a:cubicBezTo>
                  <a:pt x="16765" y="21600"/>
                  <a:pt x="21600" y="16765"/>
                  <a:pt x="21600" y="10800"/>
                </a:cubicBezTo>
                <a:cubicBezTo>
                  <a:pt x="21600" y="4835"/>
                  <a:pt x="16765" y="0"/>
                  <a:pt x="10800" y="0"/>
                </a:cubicBezTo>
              </a:path>
            </a:pathLst>
          </a:custGeom>
          <a:solidFill>
            <a:schemeClr val="bg1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endParaRPr>
              <a:solidFill>
                <a:prstClr val="black"/>
              </a:solidFill>
              <a:latin typeface="Arial" panose="020B0604020202020204" pitchFamily="34" charset="0"/>
              <a:ea typeface="微软雅黑" panose="020B0503020204020204" pitchFamily="34" charset="-122"/>
              <a:cs typeface="思源黑体 CN Regular" panose="020B0500000000000000" charset="-122"/>
              <a:sym typeface="Arial" panose="020B0604020202020204" pitchFamily="34" charset="0"/>
            </a:endParaRPr>
          </a:p>
        </p:txBody>
      </p:sp>
      <p:sp>
        <p:nvSpPr>
          <p:cNvPr id="90" name="文本框 89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SpPr txBox="1"/>
          <p:nvPr/>
        </p:nvSpPr>
        <p:spPr>
          <a:xfrm>
            <a:off x="11088286" y="448734"/>
            <a:ext cx="572593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1050">
                <a:solidFill>
                  <a:schemeClr val="bg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rPr>
              <a:t>LOGO</a:t>
            </a:r>
            <a:endParaRPr lang="zh-CN" altLang="en-US" sz="1050">
              <a:solidFill>
                <a:schemeClr val="bg1"/>
              </a:solidFill>
              <a:latin typeface="Arial" panose="020B0604020202020204" pitchFamily="34" charset="0"/>
              <a:ea typeface="微软雅黑" panose="020B0503020204020204" pitchFamily="34" charset="-122"/>
              <a:cs typeface="思源黑体 CN Regular" panose="020B0500000000000000" charset="-122"/>
              <a:sym typeface="Arial" panose="020B0604020202020204" pitchFamily="34" charset="0"/>
            </a:endParaRPr>
          </a:p>
        </p:txBody>
      </p:sp>
      <p:sp>
        <p:nvSpPr>
          <p:cNvPr id="91" name="Text Placeholder 4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SpPr txBox="1"/>
          <p:nvPr/>
        </p:nvSpPr>
        <p:spPr>
          <a:xfrm>
            <a:off x="4713367" y="537937"/>
            <a:ext cx="2765265" cy="266735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8800" b="0" kern="1200">
                <a:solidFill>
                  <a:schemeClr val="bg1"/>
                </a:solidFill>
                <a:latin typeface="Levenim MT" panose="02010502060101010101" pitchFamily="2" charset="-79"/>
                <a:ea typeface="Yu Gothic" panose="020B0400000000000000" pitchFamily="34" charset="-128"/>
                <a:cs typeface="Levenim MT" panose="02010502060101010101" pitchFamily="2" charset="-79"/>
              </a:defRPr>
            </a:lvl1pPr>
            <a:lvl2pPr marL="742950" indent="-28575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dist"/>
            <a:r>
              <a:rPr lang="en-US" sz="1100" spc="-30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等线" panose="02010600030101010101" charset="-122"/>
                <a:sym typeface="Arial" panose="020B0604020202020204" pitchFamily="34" charset="0"/>
              </a:rPr>
              <a:t>T     H     E               M     O     D     E     R     N               P     R    E     S     E    N     T     A     T     I     O     N</a:t>
            </a:r>
          </a:p>
        </p:txBody>
      </p:sp>
      <p:sp>
        <p:nvSpPr>
          <p:cNvPr id="76" name="e7d195523061f1c0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 hidden="1"/>
          <p:cNvSpPr txBox="1"/>
          <p:nvPr/>
        </p:nvSpPr>
        <p:spPr>
          <a:xfrm>
            <a:off x="-355600" y="1803400"/>
            <a:ext cx="284693" cy="1016000"/>
          </a:xfrm>
          <a:prstGeom prst="rect">
            <a:avLst/>
          </a:prstGeom>
          <a:noFill/>
        </p:spPr>
        <p:txBody>
          <a:bodyPr vert="wordArtVert" rtlCol="0">
            <a:spAutoFit/>
          </a:bodyPr>
          <a:lstStyle/>
          <a:p>
            <a:r>
              <a:rPr lang="en-US" altLang="zh-CN" sz="100"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rPr>
              <a:t>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</a:t>
            </a:r>
            <a:endParaRPr lang="zh-CN" altLang="en-US" sz="100">
              <a:latin typeface="Arial" panose="020B0604020202020204" pitchFamily="34" charset="0"/>
              <a:ea typeface="微软雅黑" panose="020B0503020204020204" pitchFamily="34" charset="-122"/>
              <a:cs typeface="思源黑体 CN Regular" panose="020B0500000000000000" charset="-122"/>
              <a:sym typeface="Arial" panose="020B0604020202020204" pitchFamily="34" charset="0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random/>
      </p:transition>
    </mc:Choice>
    <mc:Fallback xmlns:p159="http://schemas.microsoft.com/office/powerpoint/2015/09/main" xmlns:p15="http://schemas.microsoft.com/office/powerpoint/2012/main" xmlns:a14="http://schemas.microsoft.com/office/drawing/2010/main" xmlns:wp="http://schemas.openxmlformats.org/drawingml/2006/wordprocessingDrawing" xmlns:w="http://schemas.openxmlformats.org/wordprocessingml/2006/main" xmlns:m="http://schemas.openxmlformats.org/officeDocument/2006/math" xmlns="">
      <p:transition spd="slow">
        <p:random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dur="5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8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4" presetClass="entr" presetSubtype="10" dur="5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0" dur="500"/>
                                        <p:tgtEl>
                                          <p:spTgt spid="8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 nodeType="clickPar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2" presetClass="entr" presetSubtype="1" dur="50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9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9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1" dur="5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14" presetClass="entr" presetSubtype="10" dur="5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23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4" presetClass="entr" presetSubtype="10" dur="5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26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4" presetClass="entr" presetSubtype="10" dur="5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29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4" presetClass="entr" presetSubtype="10" dur="5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32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14" presetClass="entr" presetSubtype="10" dur="5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35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14" presetClass="entr" presetSubtype="10" dur="5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38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" presetID="14" presetClass="entr" presetSubtype="10" dur="5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41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4" presetClass="entr" presetSubtype="10" dur="5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44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14" presetClass="entr" presetSubtype="10" dur="5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47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" presetID="14" presetClass="entr" presetSubtype="10" dur="5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50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1" presetID="14" presetClass="entr" presetSubtype="10" dur="5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53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4" presetID="14" presetClass="entr" presetSubtype="10" dur="5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56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7" presetID="14" presetClass="entr" presetSubtype="10" dur="5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59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0" presetID="14" presetClass="entr" presetSubtype="10" dur="5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62" dur="5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3" presetID="14" presetClass="entr" presetSubtype="10" dur="5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65" dur="500"/>
                                        <p:tgtEl>
                                          <p:spTgt spid="8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6" presetID="14" presetClass="entr" presetSubtype="10" dur="5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68" dur="500"/>
                                        <p:tgtEl>
                                          <p:spTgt spid="8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9" presetID="14" presetClass="entr" presetSubtype="10" dur="5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1" dur="500"/>
                                        <p:tgtEl>
                                          <p:spTgt spid="8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2" presetID="14" presetClass="entr" presetSubtype="10" dur="5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4" dur="500"/>
                                        <p:tgtEl>
                                          <p:spTgt spid="8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5" presetID="14" presetClass="entr" presetSubtype="10" dur="5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8" presetID="14" presetClass="entr" presetSubtype="10" dur="5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80" dur="500"/>
                                        <p:tgtEl>
                                          <p:spTgt spid="8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4" grpId="0" build="p"/>
      <p:bldP spid="32" grpId="0" animBg="1"/>
      <p:bldP spid="33" grpId="0" animBg="1"/>
      <p:bldP spid="34" grpId="0" animBg="1"/>
      <p:bldP spid="35" grpId="0" animBg="1"/>
      <p:bldP spid="36" grpId="0" animBg="1"/>
      <p:bldP spid="37" grpId="0" animBg="1"/>
      <p:bldP spid="39" grpId="0"/>
      <p:bldP spid="41" grpId="0"/>
      <p:bldP spid="43" grpId="0"/>
      <p:bldP spid="45" grpId="0"/>
      <p:bldP spid="47" grpId="0"/>
      <p:bldP spid="49" grpId="0"/>
      <p:bldP spid="91" grpId="0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矩形 1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SpPr/>
          <p:nvPr/>
        </p:nvSpPr>
        <p:spPr>
          <a:xfrm>
            <a:off x="0" y="4187952"/>
            <a:ext cx="12192000" cy="279806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latin typeface="Arial" panose="020B0604020202020204" pitchFamily="34" charset="0"/>
              <a:ea typeface="微软雅黑" panose="020B0503020204020204" pitchFamily="34" charset="-122"/>
              <a:cs typeface="思源黑体 CN Regular" panose="020B0500000000000000" charset="-122"/>
              <a:sym typeface="Arial" panose="020B0604020202020204" pitchFamily="34" charset="0"/>
            </a:endParaRPr>
          </a:p>
        </p:txBody>
      </p:sp>
      <p:pic>
        <p:nvPicPr>
          <p:cNvPr id="19" name="图片占位符 18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PicPr>
            <a:picLocks noGrp="1" noChangeAspect="1"/>
          </p:cNvPicPr>
          <p:nvPr>
            <p:ph type="pic" sz="quarter" idx="16"/>
          </p:nvPr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pic>
      <p:pic>
        <p:nvPicPr>
          <p:cNvPr id="5" name="图片占位符 4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PicPr>
            <a:picLocks noGrp="1" noChangeAspect="1"/>
          </p:cNvPicPr>
          <p:nvPr>
            <p:ph type="pic" sz="quarter" idx="13"/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pic>
      <p:pic>
        <p:nvPicPr>
          <p:cNvPr id="16" name="图片占位符 15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PicPr>
            <a:picLocks noGrp="1" noChangeAspect="1"/>
          </p:cNvPicPr>
          <p:nvPr>
            <p:ph type="pic" sz="quarter" idx="14"/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pic>
      <p:pic>
        <p:nvPicPr>
          <p:cNvPr id="17" name="图片占位符 16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PicPr>
            <a:picLocks noGrp="1" noChangeAspect="1"/>
          </p:cNvPicPr>
          <p:nvPr>
            <p:ph type="pic" sz="quarter" idx="15"/>
          </p:nvPr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pic>
      <p:sp>
        <p:nvSpPr>
          <p:cNvPr id="30" name="Rectangle 29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SpPr/>
          <p:nvPr/>
        </p:nvSpPr>
        <p:spPr>
          <a:xfrm>
            <a:off x="1331420" y="4719806"/>
            <a:ext cx="1777341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buClr>
                <a:srgbClr val="E24848"/>
              </a:buClr>
            </a:pPr>
            <a:r>
              <a:rPr lang="en-US" sz="1200" noProof="1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rPr>
              <a:t>Click here to add content, content to match the title. </a:t>
            </a:r>
          </a:p>
        </p:txBody>
      </p:sp>
      <p:sp>
        <p:nvSpPr>
          <p:cNvPr id="37" name="Arc 36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SpPr/>
          <p:nvPr/>
        </p:nvSpPr>
        <p:spPr>
          <a:xfrm>
            <a:off x="1189895" y="2103343"/>
            <a:ext cx="2060540" cy="2060540"/>
          </a:xfrm>
          <a:prstGeom prst="arc">
            <a:avLst>
              <a:gd name="adj1" fmla="val 7846411"/>
              <a:gd name="adj2" fmla="val 3022004"/>
            </a:avLst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>
              <a:latin typeface="Arial" panose="020B0604020202020204" pitchFamily="34" charset="0"/>
              <a:ea typeface="微软雅黑" panose="020B0503020204020204" pitchFamily="34" charset="-122"/>
              <a:cs typeface="思源黑体 CN Regular" panose="020B0500000000000000" charset="-122"/>
              <a:sym typeface="Arial" panose="020B0604020202020204" pitchFamily="34" charset="0"/>
            </a:endParaRPr>
          </a:p>
        </p:txBody>
      </p:sp>
      <p:sp>
        <p:nvSpPr>
          <p:cNvPr id="40" name="Arc 39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SpPr/>
          <p:nvPr/>
        </p:nvSpPr>
        <p:spPr>
          <a:xfrm>
            <a:off x="3703131" y="2103343"/>
            <a:ext cx="2060540" cy="2060540"/>
          </a:xfrm>
          <a:prstGeom prst="arc">
            <a:avLst>
              <a:gd name="adj1" fmla="val 7846411"/>
              <a:gd name="adj2" fmla="val 3022004"/>
            </a:avLst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>
              <a:latin typeface="Arial" panose="020B0604020202020204" pitchFamily="34" charset="0"/>
              <a:ea typeface="微软雅黑" panose="020B0503020204020204" pitchFamily="34" charset="-122"/>
              <a:cs typeface="思源黑体 CN Regular" panose="020B0500000000000000" charset="-122"/>
              <a:sym typeface="Arial" panose="020B0604020202020204" pitchFamily="34" charset="0"/>
            </a:endParaRPr>
          </a:p>
        </p:txBody>
      </p:sp>
      <p:sp>
        <p:nvSpPr>
          <p:cNvPr id="43" name="Arc 42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SpPr/>
          <p:nvPr/>
        </p:nvSpPr>
        <p:spPr>
          <a:xfrm>
            <a:off x="6216370" y="2103343"/>
            <a:ext cx="2060540" cy="2060540"/>
          </a:xfrm>
          <a:prstGeom prst="arc">
            <a:avLst>
              <a:gd name="adj1" fmla="val 7846411"/>
              <a:gd name="adj2" fmla="val 3022004"/>
            </a:avLst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>
              <a:latin typeface="Arial" panose="020B0604020202020204" pitchFamily="34" charset="0"/>
              <a:ea typeface="微软雅黑" panose="020B0503020204020204" pitchFamily="34" charset="-122"/>
              <a:cs typeface="思源黑体 CN Regular" panose="020B0500000000000000" charset="-122"/>
              <a:sym typeface="Arial" panose="020B0604020202020204" pitchFamily="34" charset="0"/>
            </a:endParaRPr>
          </a:p>
        </p:txBody>
      </p:sp>
      <p:sp>
        <p:nvSpPr>
          <p:cNvPr id="46" name="Arc 45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SpPr/>
          <p:nvPr/>
        </p:nvSpPr>
        <p:spPr>
          <a:xfrm>
            <a:off x="8729607" y="2103343"/>
            <a:ext cx="2060540" cy="2060540"/>
          </a:xfrm>
          <a:prstGeom prst="arc">
            <a:avLst>
              <a:gd name="adj1" fmla="val 7846411"/>
              <a:gd name="adj2" fmla="val 3022004"/>
            </a:avLst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>
              <a:latin typeface="Arial" panose="020B0604020202020204" pitchFamily="34" charset="0"/>
              <a:ea typeface="微软雅黑" panose="020B0503020204020204" pitchFamily="34" charset="-122"/>
              <a:cs typeface="思源黑体 CN Regular" panose="020B0500000000000000" charset="-122"/>
              <a:sym typeface="Arial" panose="020B0604020202020204" pitchFamily="34" charset="0"/>
            </a:endParaRPr>
          </a:p>
        </p:txBody>
      </p:sp>
      <p:grpSp>
        <p:nvGrpSpPr>
          <p:cNvPr id="11" name="Group 10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GrpSpPr/>
          <p:nvPr/>
        </p:nvGrpSpPr>
        <p:grpSpPr>
          <a:xfrm>
            <a:off x="1299000" y="2191265"/>
            <a:ext cx="574196" cy="490027"/>
            <a:chOff x="1299000" y="2191265"/>
            <a:chExt cx="574196" cy="490027"/>
          </a:xfrm>
        </p:grpSpPr>
        <p:sp>
          <p:nvSpPr>
            <p:cNvPr id="38" name="Oval 37"/>
            <p:cNvSpPr/>
            <p:nvPr/>
          </p:nvSpPr>
          <p:spPr>
            <a:xfrm>
              <a:off x="1337048" y="2191265"/>
              <a:ext cx="490027" cy="490027"/>
            </a:xfrm>
            <a:prstGeom prst="ellipse">
              <a:avLst/>
            </a:prstGeom>
            <a:gradFill>
              <a:gsLst>
                <a:gs pos="0">
                  <a:srgbClr val="00B0F0">
                    <a:alpha val="70000"/>
                  </a:srgbClr>
                </a:gs>
                <a:gs pos="100000">
                  <a:srgbClr val="4CC1BA">
                    <a:alpha val="85000"/>
                  </a:srgbClr>
                </a:gs>
              </a:gsLst>
              <a:lin ang="81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 b="1"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endParaRPr>
            </a:p>
          </p:txBody>
        </p:sp>
        <p:sp>
          <p:nvSpPr>
            <p:cNvPr id="39" name="Rectangle 38"/>
            <p:cNvSpPr/>
            <p:nvPr/>
          </p:nvSpPr>
          <p:spPr>
            <a:xfrm>
              <a:off x="1299000" y="2291052"/>
              <a:ext cx="574196" cy="30777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en-US" sz="1400" b="1">
                  <a:ln w="31550" cmpd="sng">
                    <a:noFill/>
                    <a:prstDash val="solid"/>
                  </a:ln>
                  <a:solidFill>
                    <a:schemeClr val="bg1"/>
                  </a:solidFill>
                  <a:latin typeface="Arial" panose="020B0604020202020204" pitchFamily="34" charset="0"/>
                  <a:ea typeface="微软雅黑" panose="020B0503020204020204" pitchFamily="34" charset="-122"/>
                  <a:cs typeface="思源黑体 CN Regular" panose="020B0500000000000000" charset="-122"/>
                  <a:sym typeface="Arial" panose="020B0604020202020204" pitchFamily="34" charset="0"/>
                </a:rPr>
                <a:t>CEO</a:t>
              </a:r>
              <a:endParaRPr lang="en-US" sz="1400" b="1">
                <a:solidFill>
                  <a:schemeClr val="bg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endParaRPr>
            </a:p>
          </p:txBody>
        </p:sp>
      </p:grpSp>
      <p:grpSp>
        <p:nvGrpSpPr>
          <p:cNvPr id="12" name="Group 11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GrpSpPr/>
          <p:nvPr/>
        </p:nvGrpSpPr>
        <p:grpSpPr>
          <a:xfrm>
            <a:off x="4502317" y="1889469"/>
            <a:ext cx="490027" cy="490027"/>
            <a:chOff x="4502317" y="1889469"/>
            <a:chExt cx="490027" cy="490027"/>
          </a:xfrm>
        </p:grpSpPr>
        <p:sp>
          <p:nvSpPr>
            <p:cNvPr id="41" name="Oval 40"/>
            <p:cNvSpPr/>
            <p:nvPr/>
          </p:nvSpPr>
          <p:spPr>
            <a:xfrm>
              <a:off x="4502317" y="1889469"/>
              <a:ext cx="490027" cy="490027"/>
            </a:xfrm>
            <a:prstGeom prst="ellipse">
              <a:avLst/>
            </a:prstGeom>
            <a:gradFill>
              <a:gsLst>
                <a:gs pos="0">
                  <a:srgbClr val="00B0F0">
                    <a:alpha val="70000"/>
                  </a:srgbClr>
                </a:gs>
                <a:gs pos="100000">
                  <a:srgbClr val="4CC1BA">
                    <a:alpha val="85000"/>
                  </a:srgbClr>
                </a:gs>
              </a:gsLst>
              <a:lin ang="81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 b="1"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endParaRPr>
            </a:p>
          </p:txBody>
        </p:sp>
        <p:sp>
          <p:nvSpPr>
            <p:cNvPr id="42" name="Rectangle 41"/>
            <p:cNvSpPr/>
            <p:nvPr/>
          </p:nvSpPr>
          <p:spPr>
            <a:xfrm>
              <a:off x="4514764" y="1989257"/>
              <a:ext cx="473206" cy="30777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en-US" sz="1400" b="1">
                  <a:ln w="31550" cmpd="sng">
                    <a:noFill/>
                    <a:prstDash val="solid"/>
                  </a:ln>
                  <a:solidFill>
                    <a:schemeClr val="bg1"/>
                  </a:solidFill>
                  <a:latin typeface="Arial" panose="020B0604020202020204" pitchFamily="34" charset="0"/>
                  <a:ea typeface="微软雅黑" panose="020B0503020204020204" pitchFamily="34" charset="-122"/>
                  <a:cs typeface="思源黑体 CN Regular" panose="020B0500000000000000" charset="-122"/>
                  <a:sym typeface="Arial" panose="020B0604020202020204" pitchFamily="34" charset="0"/>
                </a:rPr>
                <a:t>GM</a:t>
              </a:r>
              <a:endParaRPr lang="en-US" sz="1400" b="1">
                <a:solidFill>
                  <a:schemeClr val="bg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endParaRPr>
            </a:p>
          </p:txBody>
        </p:sp>
      </p:grpSp>
      <p:grpSp>
        <p:nvGrpSpPr>
          <p:cNvPr id="13" name="Group 12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GrpSpPr/>
          <p:nvPr/>
        </p:nvGrpSpPr>
        <p:grpSpPr>
          <a:xfrm>
            <a:off x="7793557" y="2336688"/>
            <a:ext cx="490027" cy="490027"/>
            <a:chOff x="7793557" y="2336688"/>
            <a:chExt cx="490027" cy="490027"/>
          </a:xfrm>
        </p:grpSpPr>
        <p:sp>
          <p:nvSpPr>
            <p:cNvPr id="44" name="Oval 43"/>
            <p:cNvSpPr/>
            <p:nvPr/>
          </p:nvSpPr>
          <p:spPr>
            <a:xfrm>
              <a:off x="7793557" y="2336688"/>
              <a:ext cx="490027" cy="490027"/>
            </a:xfrm>
            <a:prstGeom prst="ellipse">
              <a:avLst/>
            </a:prstGeom>
            <a:gradFill>
              <a:gsLst>
                <a:gs pos="0">
                  <a:srgbClr val="00B0F0">
                    <a:alpha val="70000"/>
                  </a:srgbClr>
                </a:gs>
                <a:gs pos="100000">
                  <a:srgbClr val="4CC1BA">
                    <a:alpha val="85000"/>
                  </a:srgbClr>
                </a:gs>
              </a:gsLst>
              <a:lin ang="81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 b="1"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endParaRPr>
            </a:p>
          </p:txBody>
        </p:sp>
        <p:sp>
          <p:nvSpPr>
            <p:cNvPr id="45" name="Rectangle 44"/>
            <p:cNvSpPr/>
            <p:nvPr/>
          </p:nvSpPr>
          <p:spPr>
            <a:xfrm>
              <a:off x="7815623" y="2436474"/>
              <a:ext cx="453970" cy="30777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en-US" sz="1400" b="1">
                  <a:ln w="31550" cmpd="sng">
                    <a:noFill/>
                    <a:prstDash val="solid"/>
                  </a:ln>
                  <a:solidFill>
                    <a:schemeClr val="bg1"/>
                  </a:solidFill>
                  <a:latin typeface="Arial" panose="020B0604020202020204" pitchFamily="34" charset="0"/>
                  <a:ea typeface="微软雅黑" panose="020B0503020204020204" pitchFamily="34" charset="-122"/>
                  <a:cs typeface="思源黑体 CN Regular" panose="020B0500000000000000" charset="-122"/>
                  <a:sym typeface="Arial" panose="020B0604020202020204" pitchFamily="34" charset="0"/>
                </a:rPr>
                <a:t>DG</a:t>
              </a:r>
              <a:endParaRPr lang="en-US" sz="1400" b="1">
                <a:solidFill>
                  <a:schemeClr val="bg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endParaRPr>
            </a:p>
          </p:txBody>
        </p:sp>
      </p:grpSp>
      <p:grpSp>
        <p:nvGrpSpPr>
          <p:cNvPr id="14" name="Group 13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GrpSpPr/>
          <p:nvPr/>
        </p:nvGrpSpPr>
        <p:grpSpPr>
          <a:xfrm>
            <a:off x="10489205" y="2717645"/>
            <a:ext cx="490027" cy="490027"/>
            <a:chOff x="10489205" y="2717645"/>
            <a:chExt cx="490027" cy="490027"/>
          </a:xfrm>
        </p:grpSpPr>
        <p:sp>
          <p:nvSpPr>
            <p:cNvPr id="47" name="Oval 46"/>
            <p:cNvSpPr/>
            <p:nvPr/>
          </p:nvSpPr>
          <p:spPr>
            <a:xfrm>
              <a:off x="10489205" y="2717645"/>
              <a:ext cx="490027" cy="490027"/>
            </a:xfrm>
            <a:prstGeom prst="ellipse">
              <a:avLst/>
            </a:prstGeom>
            <a:gradFill>
              <a:gsLst>
                <a:gs pos="0">
                  <a:srgbClr val="00B0F0">
                    <a:alpha val="70000"/>
                  </a:srgbClr>
                </a:gs>
                <a:gs pos="100000">
                  <a:srgbClr val="4CC1BA">
                    <a:alpha val="85000"/>
                  </a:srgbClr>
                </a:gs>
              </a:gsLst>
              <a:lin ang="81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 b="1"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endParaRPr>
            </a:p>
          </p:txBody>
        </p:sp>
        <p:sp>
          <p:nvSpPr>
            <p:cNvPr id="48" name="Rectangle 47"/>
            <p:cNvSpPr/>
            <p:nvPr/>
          </p:nvSpPr>
          <p:spPr>
            <a:xfrm>
              <a:off x="10520889" y="2817433"/>
              <a:ext cx="434734" cy="30777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en-US" sz="1400" b="1">
                  <a:ln w="31550" cmpd="sng">
                    <a:noFill/>
                    <a:prstDash val="solid"/>
                  </a:ln>
                  <a:solidFill>
                    <a:schemeClr val="bg1"/>
                  </a:solidFill>
                  <a:latin typeface="Arial" panose="020B0604020202020204" pitchFamily="34" charset="0"/>
                  <a:ea typeface="微软雅黑" panose="020B0503020204020204" pitchFamily="34" charset="-122"/>
                  <a:cs typeface="思源黑体 CN Regular" panose="020B0500000000000000" charset="-122"/>
                  <a:sym typeface="Arial" panose="020B0604020202020204" pitchFamily="34" charset="0"/>
                </a:rPr>
                <a:t>CS</a:t>
              </a:r>
              <a:endParaRPr lang="en-US" sz="1400" b="1">
                <a:solidFill>
                  <a:schemeClr val="bg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endParaRPr>
            </a:p>
          </p:txBody>
        </p:sp>
      </p:grpSp>
      <p:sp>
        <p:nvSpPr>
          <p:cNvPr id="53" name="TextBox 52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SpPr txBox="1"/>
          <p:nvPr/>
        </p:nvSpPr>
        <p:spPr>
          <a:xfrm>
            <a:off x="1318895" y="4264025"/>
            <a:ext cx="1733550" cy="400050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algn="ctr">
              <a:defRPr sz="2000" spc="-150">
                <a:solidFill>
                  <a:schemeClr val="bg1">
                    <a:lumMod val="50000"/>
                  </a:schemeClr>
                </a:solidFill>
                <a:latin typeface="Titillium" charset="0"/>
                <a:ea typeface="Roboto" panose="02000000000000000000" charset="0"/>
                <a:cs typeface="Open Sans Semibold" panose="020B0706030804020204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en-US" altLang="zh-CN" sz="1800" b="1" spc="0">
                <a:gradFill flip="none" rotWithShape="1">
                  <a:gsLst>
                    <a:gs pos="31000">
                      <a:srgbClr val="4CC1BA"/>
                    </a:gs>
                    <a:gs pos="100000">
                      <a:srgbClr val="00B0F0"/>
                    </a:gs>
                  </a:gsLst>
                  <a:lin ang="5400000" scaled="1"/>
                </a:gradFill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rPr>
              <a:t>ENTER YOUR NAME</a:t>
            </a:r>
            <a:endParaRPr lang="id-ID" sz="1800" b="1" spc="0">
              <a:gradFill flip="none" rotWithShape="1">
                <a:gsLst>
                  <a:gs pos="31000">
                    <a:srgbClr val="4CC1BA"/>
                  </a:gs>
                  <a:gs pos="100000">
                    <a:srgbClr val="00B0F0"/>
                  </a:gs>
                </a:gsLst>
                <a:lin ang="5400000" scaled="1"/>
              </a:gradFill>
              <a:latin typeface="Arial" panose="020B0604020202020204" pitchFamily="34" charset="0"/>
              <a:ea typeface="微软雅黑" panose="020B0503020204020204" pitchFamily="34" charset="-122"/>
              <a:cs typeface="思源黑体 CN Regular" panose="020B0500000000000000" charset="-122"/>
              <a:sym typeface="Arial" panose="020B0604020202020204" pitchFamily="34" charset="0"/>
            </a:endParaRPr>
          </a:p>
        </p:txBody>
      </p:sp>
      <p:grpSp>
        <p:nvGrpSpPr>
          <p:cNvPr id="7" name="Group 6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GrpSpPr/>
          <p:nvPr/>
        </p:nvGrpSpPr>
        <p:grpSpPr>
          <a:xfrm>
            <a:off x="1777683" y="5508991"/>
            <a:ext cx="884812" cy="213439"/>
            <a:chOff x="590993" y="1374080"/>
            <a:chExt cx="884812" cy="213438"/>
          </a:xfrm>
          <a:solidFill>
            <a:schemeClr val="bg1">
              <a:lumMod val="65000"/>
            </a:schemeClr>
          </a:solidFill>
        </p:grpSpPr>
        <p:sp>
          <p:nvSpPr>
            <p:cNvPr id="55" name="Freeform 9"/>
            <p:cNvSpPr>
              <a:spLocks noEditPoints="1"/>
            </p:cNvSpPr>
            <p:nvPr/>
          </p:nvSpPr>
          <p:spPr bwMode="auto">
            <a:xfrm>
              <a:off x="590993" y="1374080"/>
              <a:ext cx="209114" cy="209358"/>
            </a:xfrm>
            <a:custGeom>
              <a:avLst/>
              <a:gdLst>
                <a:gd name="T0" fmla="*/ 333 w 360"/>
                <a:gd name="T1" fmla="*/ 0 h 360"/>
                <a:gd name="T2" fmla="*/ 26 w 360"/>
                <a:gd name="T3" fmla="*/ 0 h 360"/>
                <a:gd name="T4" fmla="*/ 0 w 360"/>
                <a:gd name="T5" fmla="*/ 25 h 360"/>
                <a:gd name="T6" fmla="*/ 0 w 360"/>
                <a:gd name="T7" fmla="*/ 334 h 360"/>
                <a:gd name="T8" fmla="*/ 26 w 360"/>
                <a:gd name="T9" fmla="*/ 360 h 360"/>
                <a:gd name="T10" fmla="*/ 333 w 360"/>
                <a:gd name="T11" fmla="*/ 360 h 360"/>
                <a:gd name="T12" fmla="*/ 360 w 360"/>
                <a:gd name="T13" fmla="*/ 334 h 360"/>
                <a:gd name="T14" fmla="*/ 360 w 360"/>
                <a:gd name="T15" fmla="*/ 25 h 360"/>
                <a:gd name="T16" fmla="*/ 333 w 360"/>
                <a:gd name="T17" fmla="*/ 0 h 360"/>
                <a:gd name="T18" fmla="*/ 109 w 360"/>
                <a:gd name="T19" fmla="*/ 301 h 360"/>
                <a:gd name="T20" fmla="*/ 54 w 360"/>
                <a:gd name="T21" fmla="*/ 301 h 360"/>
                <a:gd name="T22" fmla="*/ 54 w 360"/>
                <a:gd name="T23" fmla="*/ 138 h 360"/>
                <a:gd name="T24" fmla="*/ 109 w 360"/>
                <a:gd name="T25" fmla="*/ 138 h 360"/>
                <a:gd name="T26" fmla="*/ 109 w 360"/>
                <a:gd name="T27" fmla="*/ 301 h 360"/>
                <a:gd name="T28" fmla="*/ 82 w 360"/>
                <a:gd name="T29" fmla="*/ 116 h 360"/>
                <a:gd name="T30" fmla="*/ 81 w 360"/>
                <a:gd name="T31" fmla="*/ 116 h 360"/>
                <a:gd name="T32" fmla="*/ 51 w 360"/>
                <a:gd name="T33" fmla="*/ 88 h 360"/>
                <a:gd name="T34" fmla="*/ 82 w 360"/>
                <a:gd name="T35" fmla="*/ 60 h 360"/>
                <a:gd name="T36" fmla="*/ 112 w 360"/>
                <a:gd name="T37" fmla="*/ 88 h 360"/>
                <a:gd name="T38" fmla="*/ 82 w 360"/>
                <a:gd name="T39" fmla="*/ 116 h 360"/>
                <a:gd name="T40" fmla="*/ 305 w 360"/>
                <a:gd name="T41" fmla="*/ 301 h 360"/>
                <a:gd name="T42" fmla="*/ 251 w 360"/>
                <a:gd name="T43" fmla="*/ 301 h 360"/>
                <a:gd name="T44" fmla="*/ 251 w 360"/>
                <a:gd name="T45" fmla="*/ 214 h 360"/>
                <a:gd name="T46" fmla="*/ 223 w 360"/>
                <a:gd name="T47" fmla="*/ 177 h 360"/>
                <a:gd name="T48" fmla="*/ 195 w 360"/>
                <a:gd name="T49" fmla="*/ 197 h 360"/>
                <a:gd name="T50" fmla="*/ 193 w 360"/>
                <a:gd name="T51" fmla="*/ 210 h 360"/>
                <a:gd name="T52" fmla="*/ 193 w 360"/>
                <a:gd name="T53" fmla="*/ 301 h 360"/>
                <a:gd name="T54" fmla="*/ 139 w 360"/>
                <a:gd name="T55" fmla="*/ 301 h 360"/>
                <a:gd name="T56" fmla="*/ 139 w 360"/>
                <a:gd name="T57" fmla="*/ 138 h 360"/>
                <a:gd name="T58" fmla="*/ 193 w 360"/>
                <a:gd name="T59" fmla="*/ 138 h 360"/>
                <a:gd name="T60" fmla="*/ 193 w 360"/>
                <a:gd name="T61" fmla="*/ 161 h 360"/>
                <a:gd name="T62" fmla="*/ 242 w 360"/>
                <a:gd name="T63" fmla="*/ 135 h 360"/>
                <a:gd name="T64" fmla="*/ 305 w 360"/>
                <a:gd name="T65" fmla="*/ 208 h 360"/>
                <a:gd name="T66" fmla="*/ 305 w 360"/>
                <a:gd name="T67" fmla="*/ 301 h 360"/>
                <a:gd name="T68" fmla="*/ 193 w 360"/>
                <a:gd name="T69" fmla="*/ 162 h 360"/>
                <a:gd name="T70" fmla="*/ 193 w 360"/>
                <a:gd name="T71" fmla="*/ 161 h 360"/>
                <a:gd name="T72" fmla="*/ 193 w 360"/>
                <a:gd name="T73" fmla="*/ 162 h 3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360" h="360">
                  <a:moveTo>
                    <a:pt x="333" y="0"/>
                  </a:moveTo>
                  <a:cubicBezTo>
                    <a:pt x="26" y="0"/>
                    <a:pt x="26" y="0"/>
                    <a:pt x="26" y="0"/>
                  </a:cubicBezTo>
                  <a:cubicBezTo>
                    <a:pt x="12" y="0"/>
                    <a:pt x="0" y="11"/>
                    <a:pt x="0" y="25"/>
                  </a:cubicBezTo>
                  <a:cubicBezTo>
                    <a:pt x="0" y="334"/>
                    <a:pt x="0" y="334"/>
                    <a:pt x="0" y="334"/>
                  </a:cubicBezTo>
                  <a:cubicBezTo>
                    <a:pt x="0" y="348"/>
                    <a:pt x="12" y="360"/>
                    <a:pt x="26" y="360"/>
                  </a:cubicBezTo>
                  <a:cubicBezTo>
                    <a:pt x="333" y="360"/>
                    <a:pt x="333" y="360"/>
                    <a:pt x="333" y="360"/>
                  </a:cubicBezTo>
                  <a:cubicBezTo>
                    <a:pt x="348" y="360"/>
                    <a:pt x="360" y="348"/>
                    <a:pt x="360" y="334"/>
                  </a:cubicBezTo>
                  <a:cubicBezTo>
                    <a:pt x="360" y="25"/>
                    <a:pt x="360" y="25"/>
                    <a:pt x="360" y="25"/>
                  </a:cubicBezTo>
                  <a:cubicBezTo>
                    <a:pt x="360" y="11"/>
                    <a:pt x="348" y="0"/>
                    <a:pt x="333" y="0"/>
                  </a:cubicBezTo>
                  <a:close/>
                  <a:moveTo>
                    <a:pt x="109" y="301"/>
                  </a:moveTo>
                  <a:cubicBezTo>
                    <a:pt x="54" y="301"/>
                    <a:pt x="54" y="301"/>
                    <a:pt x="54" y="301"/>
                  </a:cubicBezTo>
                  <a:cubicBezTo>
                    <a:pt x="54" y="138"/>
                    <a:pt x="54" y="138"/>
                    <a:pt x="54" y="138"/>
                  </a:cubicBezTo>
                  <a:cubicBezTo>
                    <a:pt x="109" y="138"/>
                    <a:pt x="109" y="138"/>
                    <a:pt x="109" y="138"/>
                  </a:cubicBezTo>
                  <a:lnTo>
                    <a:pt x="109" y="301"/>
                  </a:lnTo>
                  <a:close/>
                  <a:moveTo>
                    <a:pt x="82" y="116"/>
                  </a:moveTo>
                  <a:cubicBezTo>
                    <a:pt x="81" y="116"/>
                    <a:pt x="81" y="116"/>
                    <a:pt x="81" y="116"/>
                  </a:cubicBezTo>
                  <a:cubicBezTo>
                    <a:pt x="63" y="116"/>
                    <a:pt x="51" y="104"/>
                    <a:pt x="51" y="88"/>
                  </a:cubicBezTo>
                  <a:cubicBezTo>
                    <a:pt x="51" y="72"/>
                    <a:pt x="63" y="60"/>
                    <a:pt x="82" y="60"/>
                  </a:cubicBezTo>
                  <a:cubicBezTo>
                    <a:pt x="101" y="60"/>
                    <a:pt x="112" y="72"/>
                    <a:pt x="112" y="88"/>
                  </a:cubicBezTo>
                  <a:cubicBezTo>
                    <a:pt x="112" y="104"/>
                    <a:pt x="101" y="116"/>
                    <a:pt x="82" y="116"/>
                  </a:cubicBezTo>
                  <a:close/>
                  <a:moveTo>
                    <a:pt x="305" y="301"/>
                  </a:moveTo>
                  <a:cubicBezTo>
                    <a:pt x="251" y="301"/>
                    <a:pt x="251" y="301"/>
                    <a:pt x="251" y="301"/>
                  </a:cubicBezTo>
                  <a:cubicBezTo>
                    <a:pt x="251" y="214"/>
                    <a:pt x="251" y="214"/>
                    <a:pt x="251" y="214"/>
                  </a:cubicBezTo>
                  <a:cubicBezTo>
                    <a:pt x="251" y="192"/>
                    <a:pt x="243" y="177"/>
                    <a:pt x="223" y="177"/>
                  </a:cubicBezTo>
                  <a:cubicBezTo>
                    <a:pt x="208" y="177"/>
                    <a:pt x="199" y="187"/>
                    <a:pt x="195" y="197"/>
                  </a:cubicBezTo>
                  <a:cubicBezTo>
                    <a:pt x="194" y="200"/>
                    <a:pt x="193" y="205"/>
                    <a:pt x="193" y="210"/>
                  </a:cubicBezTo>
                  <a:cubicBezTo>
                    <a:pt x="193" y="301"/>
                    <a:pt x="193" y="301"/>
                    <a:pt x="193" y="301"/>
                  </a:cubicBezTo>
                  <a:cubicBezTo>
                    <a:pt x="139" y="301"/>
                    <a:pt x="139" y="301"/>
                    <a:pt x="139" y="301"/>
                  </a:cubicBezTo>
                  <a:cubicBezTo>
                    <a:pt x="139" y="301"/>
                    <a:pt x="140" y="154"/>
                    <a:pt x="139" y="138"/>
                  </a:cubicBezTo>
                  <a:cubicBezTo>
                    <a:pt x="193" y="138"/>
                    <a:pt x="193" y="138"/>
                    <a:pt x="193" y="138"/>
                  </a:cubicBezTo>
                  <a:cubicBezTo>
                    <a:pt x="193" y="161"/>
                    <a:pt x="193" y="161"/>
                    <a:pt x="193" y="161"/>
                  </a:cubicBezTo>
                  <a:cubicBezTo>
                    <a:pt x="201" y="150"/>
                    <a:pt x="213" y="135"/>
                    <a:pt x="242" y="135"/>
                  </a:cubicBezTo>
                  <a:cubicBezTo>
                    <a:pt x="278" y="135"/>
                    <a:pt x="305" y="158"/>
                    <a:pt x="305" y="208"/>
                  </a:cubicBezTo>
                  <a:lnTo>
                    <a:pt x="305" y="301"/>
                  </a:lnTo>
                  <a:close/>
                  <a:moveTo>
                    <a:pt x="193" y="162"/>
                  </a:moveTo>
                  <a:cubicBezTo>
                    <a:pt x="193" y="162"/>
                    <a:pt x="193" y="162"/>
                    <a:pt x="193" y="161"/>
                  </a:cubicBezTo>
                  <a:cubicBezTo>
                    <a:pt x="193" y="162"/>
                    <a:pt x="193" y="162"/>
                    <a:pt x="193" y="162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d-ID" sz="2000"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endParaRPr>
            </a:p>
          </p:txBody>
        </p:sp>
        <p:sp>
          <p:nvSpPr>
            <p:cNvPr id="56" name="Freeform 13"/>
            <p:cNvSpPr/>
            <p:nvPr/>
          </p:nvSpPr>
          <p:spPr bwMode="auto">
            <a:xfrm>
              <a:off x="896505" y="1382179"/>
              <a:ext cx="201412" cy="201646"/>
            </a:xfrm>
            <a:custGeom>
              <a:avLst/>
              <a:gdLst>
                <a:gd name="T0" fmla="*/ 360 w 360"/>
                <a:gd name="T1" fmla="*/ 60 h 360"/>
                <a:gd name="T2" fmla="*/ 300 w 360"/>
                <a:gd name="T3" fmla="*/ 0 h 360"/>
                <a:gd name="T4" fmla="*/ 60 w 360"/>
                <a:gd name="T5" fmla="*/ 0 h 360"/>
                <a:gd name="T6" fmla="*/ 0 w 360"/>
                <a:gd name="T7" fmla="*/ 60 h 360"/>
                <a:gd name="T8" fmla="*/ 0 w 360"/>
                <a:gd name="T9" fmla="*/ 300 h 360"/>
                <a:gd name="T10" fmla="*/ 60 w 360"/>
                <a:gd name="T11" fmla="*/ 360 h 360"/>
                <a:gd name="T12" fmla="*/ 180 w 360"/>
                <a:gd name="T13" fmla="*/ 360 h 360"/>
                <a:gd name="T14" fmla="*/ 180 w 360"/>
                <a:gd name="T15" fmla="*/ 224 h 360"/>
                <a:gd name="T16" fmla="*/ 136 w 360"/>
                <a:gd name="T17" fmla="*/ 224 h 360"/>
                <a:gd name="T18" fmla="*/ 136 w 360"/>
                <a:gd name="T19" fmla="*/ 164 h 360"/>
                <a:gd name="T20" fmla="*/ 180 w 360"/>
                <a:gd name="T21" fmla="*/ 164 h 360"/>
                <a:gd name="T22" fmla="*/ 180 w 360"/>
                <a:gd name="T23" fmla="*/ 141 h 360"/>
                <a:gd name="T24" fmla="*/ 248 w 360"/>
                <a:gd name="T25" fmla="*/ 64 h 360"/>
                <a:gd name="T26" fmla="*/ 296 w 360"/>
                <a:gd name="T27" fmla="*/ 64 h 360"/>
                <a:gd name="T28" fmla="*/ 296 w 360"/>
                <a:gd name="T29" fmla="*/ 124 h 360"/>
                <a:gd name="T30" fmla="*/ 248 w 360"/>
                <a:gd name="T31" fmla="*/ 124 h 360"/>
                <a:gd name="T32" fmla="*/ 236 w 360"/>
                <a:gd name="T33" fmla="*/ 140 h 360"/>
                <a:gd name="T34" fmla="*/ 236 w 360"/>
                <a:gd name="T35" fmla="*/ 164 h 360"/>
                <a:gd name="T36" fmla="*/ 296 w 360"/>
                <a:gd name="T37" fmla="*/ 164 h 360"/>
                <a:gd name="T38" fmla="*/ 296 w 360"/>
                <a:gd name="T39" fmla="*/ 224 h 360"/>
                <a:gd name="T40" fmla="*/ 236 w 360"/>
                <a:gd name="T41" fmla="*/ 224 h 360"/>
                <a:gd name="T42" fmla="*/ 236 w 360"/>
                <a:gd name="T43" fmla="*/ 360 h 360"/>
                <a:gd name="T44" fmla="*/ 300 w 360"/>
                <a:gd name="T45" fmla="*/ 360 h 360"/>
                <a:gd name="T46" fmla="*/ 360 w 360"/>
                <a:gd name="T47" fmla="*/ 300 h 360"/>
                <a:gd name="T48" fmla="*/ 360 w 360"/>
                <a:gd name="T49" fmla="*/ 60 h 3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360" h="360">
                  <a:moveTo>
                    <a:pt x="360" y="60"/>
                  </a:moveTo>
                  <a:cubicBezTo>
                    <a:pt x="360" y="29"/>
                    <a:pt x="332" y="0"/>
                    <a:pt x="300" y="0"/>
                  </a:cubicBezTo>
                  <a:cubicBezTo>
                    <a:pt x="60" y="0"/>
                    <a:pt x="60" y="0"/>
                    <a:pt x="60" y="0"/>
                  </a:cubicBezTo>
                  <a:cubicBezTo>
                    <a:pt x="28" y="0"/>
                    <a:pt x="0" y="29"/>
                    <a:pt x="0" y="60"/>
                  </a:cubicBezTo>
                  <a:cubicBezTo>
                    <a:pt x="0" y="300"/>
                    <a:pt x="0" y="300"/>
                    <a:pt x="0" y="300"/>
                  </a:cubicBezTo>
                  <a:cubicBezTo>
                    <a:pt x="0" y="332"/>
                    <a:pt x="28" y="360"/>
                    <a:pt x="60" y="360"/>
                  </a:cubicBezTo>
                  <a:cubicBezTo>
                    <a:pt x="180" y="360"/>
                    <a:pt x="180" y="360"/>
                    <a:pt x="180" y="360"/>
                  </a:cubicBezTo>
                  <a:cubicBezTo>
                    <a:pt x="180" y="224"/>
                    <a:pt x="180" y="224"/>
                    <a:pt x="180" y="224"/>
                  </a:cubicBezTo>
                  <a:cubicBezTo>
                    <a:pt x="136" y="224"/>
                    <a:pt x="136" y="224"/>
                    <a:pt x="136" y="224"/>
                  </a:cubicBezTo>
                  <a:cubicBezTo>
                    <a:pt x="136" y="164"/>
                    <a:pt x="136" y="164"/>
                    <a:pt x="136" y="164"/>
                  </a:cubicBezTo>
                  <a:cubicBezTo>
                    <a:pt x="180" y="164"/>
                    <a:pt x="180" y="164"/>
                    <a:pt x="180" y="164"/>
                  </a:cubicBezTo>
                  <a:cubicBezTo>
                    <a:pt x="180" y="141"/>
                    <a:pt x="180" y="141"/>
                    <a:pt x="180" y="141"/>
                  </a:cubicBezTo>
                  <a:cubicBezTo>
                    <a:pt x="180" y="100"/>
                    <a:pt x="210" y="64"/>
                    <a:pt x="248" y="64"/>
                  </a:cubicBezTo>
                  <a:cubicBezTo>
                    <a:pt x="296" y="64"/>
                    <a:pt x="296" y="64"/>
                    <a:pt x="296" y="64"/>
                  </a:cubicBezTo>
                  <a:cubicBezTo>
                    <a:pt x="296" y="124"/>
                    <a:pt x="296" y="124"/>
                    <a:pt x="296" y="124"/>
                  </a:cubicBezTo>
                  <a:cubicBezTo>
                    <a:pt x="248" y="124"/>
                    <a:pt x="248" y="124"/>
                    <a:pt x="248" y="124"/>
                  </a:cubicBezTo>
                  <a:cubicBezTo>
                    <a:pt x="242" y="124"/>
                    <a:pt x="236" y="131"/>
                    <a:pt x="236" y="140"/>
                  </a:cubicBezTo>
                  <a:cubicBezTo>
                    <a:pt x="236" y="164"/>
                    <a:pt x="236" y="164"/>
                    <a:pt x="236" y="164"/>
                  </a:cubicBezTo>
                  <a:cubicBezTo>
                    <a:pt x="296" y="164"/>
                    <a:pt x="296" y="164"/>
                    <a:pt x="296" y="164"/>
                  </a:cubicBezTo>
                  <a:cubicBezTo>
                    <a:pt x="296" y="224"/>
                    <a:pt x="296" y="224"/>
                    <a:pt x="296" y="224"/>
                  </a:cubicBezTo>
                  <a:cubicBezTo>
                    <a:pt x="236" y="224"/>
                    <a:pt x="236" y="224"/>
                    <a:pt x="236" y="224"/>
                  </a:cubicBezTo>
                  <a:cubicBezTo>
                    <a:pt x="236" y="360"/>
                    <a:pt x="236" y="360"/>
                    <a:pt x="236" y="360"/>
                  </a:cubicBezTo>
                  <a:cubicBezTo>
                    <a:pt x="300" y="360"/>
                    <a:pt x="300" y="360"/>
                    <a:pt x="300" y="360"/>
                  </a:cubicBezTo>
                  <a:cubicBezTo>
                    <a:pt x="332" y="360"/>
                    <a:pt x="360" y="332"/>
                    <a:pt x="360" y="300"/>
                  </a:cubicBezTo>
                  <a:lnTo>
                    <a:pt x="360" y="6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d-ID" sz="2000"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endParaRPr>
            </a:p>
          </p:txBody>
        </p:sp>
        <p:sp>
          <p:nvSpPr>
            <p:cNvPr id="57" name="Freeform 16"/>
            <p:cNvSpPr/>
            <p:nvPr/>
          </p:nvSpPr>
          <p:spPr bwMode="auto">
            <a:xfrm>
              <a:off x="1223340" y="1382353"/>
              <a:ext cx="252465" cy="205165"/>
            </a:xfrm>
            <a:custGeom>
              <a:avLst/>
              <a:gdLst>
                <a:gd name="T0" fmla="*/ 368 w 368"/>
                <a:gd name="T1" fmla="*/ 36 h 299"/>
                <a:gd name="T2" fmla="*/ 324 w 368"/>
                <a:gd name="T3" fmla="*/ 48 h 299"/>
                <a:gd name="T4" fmla="*/ 358 w 368"/>
                <a:gd name="T5" fmla="*/ 6 h 299"/>
                <a:gd name="T6" fmla="*/ 310 w 368"/>
                <a:gd name="T7" fmla="*/ 24 h 299"/>
                <a:gd name="T8" fmla="*/ 255 w 368"/>
                <a:gd name="T9" fmla="*/ 0 h 299"/>
                <a:gd name="T10" fmla="*/ 179 w 368"/>
                <a:gd name="T11" fmla="*/ 76 h 299"/>
                <a:gd name="T12" fmla="*/ 181 w 368"/>
                <a:gd name="T13" fmla="*/ 93 h 299"/>
                <a:gd name="T14" fmla="*/ 25 w 368"/>
                <a:gd name="T15" fmla="*/ 14 h 299"/>
                <a:gd name="T16" fmla="*/ 15 w 368"/>
                <a:gd name="T17" fmla="*/ 52 h 299"/>
                <a:gd name="T18" fmla="*/ 49 w 368"/>
                <a:gd name="T19" fmla="*/ 115 h 299"/>
                <a:gd name="T20" fmla="*/ 15 w 368"/>
                <a:gd name="T21" fmla="*/ 106 h 299"/>
                <a:gd name="T22" fmla="*/ 14 w 368"/>
                <a:gd name="T23" fmla="*/ 106 h 299"/>
                <a:gd name="T24" fmla="*/ 75 w 368"/>
                <a:gd name="T25" fmla="*/ 181 h 299"/>
                <a:gd name="T26" fmla="*/ 55 w 368"/>
                <a:gd name="T27" fmla="*/ 183 h 299"/>
                <a:gd name="T28" fmla="*/ 41 w 368"/>
                <a:gd name="T29" fmla="*/ 182 h 299"/>
                <a:gd name="T30" fmla="*/ 111 w 368"/>
                <a:gd name="T31" fmla="*/ 234 h 299"/>
                <a:gd name="T32" fmla="*/ 18 w 368"/>
                <a:gd name="T33" fmla="*/ 267 h 299"/>
                <a:gd name="T34" fmla="*/ 0 w 368"/>
                <a:gd name="T35" fmla="*/ 265 h 299"/>
                <a:gd name="T36" fmla="*/ 115 w 368"/>
                <a:gd name="T37" fmla="*/ 299 h 299"/>
                <a:gd name="T38" fmla="*/ 330 w 368"/>
                <a:gd name="T39" fmla="*/ 85 h 299"/>
                <a:gd name="T40" fmla="*/ 330 w 368"/>
                <a:gd name="T41" fmla="*/ 75 h 299"/>
                <a:gd name="T42" fmla="*/ 368 w 368"/>
                <a:gd name="T43" fmla="*/ 36 h 2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368" h="299">
                  <a:moveTo>
                    <a:pt x="368" y="36"/>
                  </a:moveTo>
                  <a:cubicBezTo>
                    <a:pt x="354" y="42"/>
                    <a:pt x="340" y="46"/>
                    <a:pt x="324" y="48"/>
                  </a:cubicBezTo>
                  <a:cubicBezTo>
                    <a:pt x="340" y="38"/>
                    <a:pt x="352" y="24"/>
                    <a:pt x="358" y="6"/>
                  </a:cubicBezTo>
                  <a:cubicBezTo>
                    <a:pt x="343" y="15"/>
                    <a:pt x="327" y="21"/>
                    <a:pt x="310" y="24"/>
                  </a:cubicBezTo>
                  <a:cubicBezTo>
                    <a:pt x="296" y="10"/>
                    <a:pt x="276" y="0"/>
                    <a:pt x="255" y="0"/>
                  </a:cubicBezTo>
                  <a:cubicBezTo>
                    <a:pt x="213" y="0"/>
                    <a:pt x="179" y="34"/>
                    <a:pt x="179" y="76"/>
                  </a:cubicBezTo>
                  <a:cubicBezTo>
                    <a:pt x="179" y="82"/>
                    <a:pt x="180" y="88"/>
                    <a:pt x="181" y="93"/>
                  </a:cubicBezTo>
                  <a:cubicBezTo>
                    <a:pt x="118" y="90"/>
                    <a:pt x="63" y="60"/>
                    <a:pt x="25" y="14"/>
                  </a:cubicBezTo>
                  <a:cubicBezTo>
                    <a:pt x="19" y="25"/>
                    <a:pt x="15" y="38"/>
                    <a:pt x="15" y="52"/>
                  </a:cubicBezTo>
                  <a:cubicBezTo>
                    <a:pt x="15" y="78"/>
                    <a:pt x="28" y="101"/>
                    <a:pt x="49" y="115"/>
                  </a:cubicBezTo>
                  <a:cubicBezTo>
                    <a:pt x="36" y="115"/>
                    <a:pt x="25" y="111"/>
                    <a:pt x="15" y="106"/>
                  </a:cubicBezTo>
                  <a:cubicBezTo>
                    <a:pt x="14" y="106"/>
                    <a:pt x="14" y="106"/>
                    <a:pt x="14" y="106"/>
                  </a:cubicBezTo>
                  <a:cubicBezTo>
                    <a:pt x="14" y="143"/>
                    <a:pt x="41" y="174"/>
                    <a:pt x="75" y="181"/>
                  </a:cubicBezTo>
                  <a:cubicBezTo>
                    <a:pt x="69" y="182"/>
                    <a:pt x="62" y="183"/>
                    <a:pt x="55" y="183"/>
                  </a:cubicBezTo>
                  <a:cubicBezTo>
                    <a:pt x="50" y="183"/>
                    <a:pt x="46" y="183"/>
                    <a:pt x="41" y="182"/>
                  </a:cubicBezTo>
                  <a:cubicBezTo>
                    <a:pt x="51" y="212"/>
                    <a:pt x="78" y="234"/>
                    <a:pt x="111" y="234"/>
                  </a:cubicBezTo>
                  <a:cubicBezTo>
                    <a:pt x="86" y="254"/>
                    <a:pt x="53" y="267"/>
                    <a:pt x="18" y="267"/>
                  </a:cubicBezTo>
                  <a:cubicBezTo>
                    <a:pt x="12" y="267"/>
                    <a:pt x="6" y="266"/>
                    <a:pt x="0" y="265"/>
                  </a:cubicBezTo>
                  <a:cubicBezTo>
                    <a:pt x="33" y="287"/>
                    <a:pt x="73" y="299"/>
                    <a:pt x="115" y="299"/>
                  </a:cubicBezTo>
                  <a:cubicBezTo>
                    <a:pt x="254" y="299"/>
                    <a:pt x="330" y="184"/>
                    <a:pt x="330" y="85"/>
                  </a:cubicBezTo>
                  <a:cubicBezTo>
                    <a:pt x="330" y="81"/>
                    <a:pt x="330" y="78"/>
                    <a:pt x="330" y="75"/>
                  </a:cubicBezTo>
                  <a:cubicBezTo>
                    <a:pt x="345" y="64"/>
                    <a:pt x="358" y="51"/>
                    <a:pt x="368" y="36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000"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endParaRPr>
            </a:p>
          </p:txBody>
        </p:sp>
      </p:grpSp>
      <p:sp>
        <p:nvSpPr>
          <p:cNvPr id="59" name="Rectangle 58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SpPr/>
          <p:nvPr/>
        </p:nvSpPr>
        <p:spPr>
          <a:xfrm>
            <a:off x="3837780" y="4719806"/>
            <a:ext cx="1777341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buClr>
                <a:srgbClr val="E24848"/>
              </a:buClr>
            </a:pPr>
            <a:r>
              <a:rPr lang="en-US" sz="1200" noProof="1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rPr>
              <a:t>Click here to add content, content to match the title. </a:t>
            </a:r>
          </a:p>
        </p:txBody>
      </p:sp>
      <p:sp>
        <p:nvSpPr>
          <p:cNvPr id="60" name="TextBox 59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SpPr txBox="1"/>
          <p:nvPr/>
        </p:nvSpPr>
        <p:spPr>
          <a:xfrm>
            <a:off x="3837940" y="4263390"/>
            <a:ext cx="1849120" cy="400050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algn="ctr">
              <a:defRPr sz="2000" spc="-150">
                <a:solidFill>
                  <a:schemeClr val="bg1">
                    <a:lumMod val="50000"/>
                  </a:schemeClr>
                </a:solidFill>
                <a:latin typeface="Titillium" charset="0"/>
                <a:ea typeface="Roboto" panose="02000000000000000000" charset="0"/>
                <a:cs typeface="Open Sans Semibold" panose="020B0706030804020204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en-US" altLang="zh-CN" sz="1800" b="1" spc="0">
                <a:gradFill flip="none" rotWithShape="1">
                  <a:gsLst>
                    <a:gs pos="31000">
                      <a:srgbClr val="4CC1BA"/>
                    </a:gs>
                    <a:gs pos="100000">
                      <a:srgbClr val="00B0F0"/>
                    </a:gs>
                  </a:gsLst>
                  <a:lin ang="5400000" scaled="1"/>
                </a:gradFill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rPr>
              <a:t>ENTER YOUR NAME</a:t>
            </a:r>
            <a:endParaRPr lang="id-ID" altLang="zh-CN" sz="1800" b="1" spc="0">
              <a:gradFill flip="none" rotWithShape="1">
                <a:gsLst>
                  <a:gs pos="31000">
                    <a:srgbClr val="4CC1BA"/>
                  </a:gs>
                  <a:gs pos="100000">
                    <a:srgbClr val="00B0F0"/>
                  </a:gs>
                </a:gsLst>
                <a:lin ang="5400000" scaled="1"/>
              </a:gradFill>
              <a:latin typeface="Arial" panose="020B0604020202020204" pitchFamily="34" charset="0"/>
              <a:ea typeface="微软雅黑" panose="020B0503020204020204" pitchFamily="34" charset="-122"/>
              <a:cs typeface="思源黑体 CN Regular" panose="020B0500000000000000" charset="-122"/>
              <a:sym typeface="Arial" panose="020B0604020202020204" pitchFamily="34" charset="0"/>
            </a:endParaRPr>
          </a:p>
        </p:txBody>
      </p:sp>
      <p:grpSp>
        <p:nvGrpSpPr>
          <p:cNvPr id="61" name="Group 60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GrpSpPr/>
          <p:nvPr/>
        </p:nvGrpSpPr>
        <p:grpSpPr>
          <a:xfrm>
            <a:off x="4284046" y="5508991"/>
            <a:ext cx="884812" cy="213439"/>
            <a:chOff x="590993" y="1374080"/>
            <a:chExt cx="884812" cy="213438"/>
          </a:xfrm>
          <a:solidFill>
            <a:schemeClr val="bg1">
              <a:lumMod val="65000"/>
            </a:schemeClr>
          </a:solidFill>
        </p:grpSpPr>
        <p:sp>
          <p:nvSpPr>
            <p:cNvPr id="62" name="Freeform 9"/>
            <p:cNvSpPr>
              <a:spLocks noEditPoints="1"/>
            </p:cNvSpPr>
            <p:nvPr/>
          </p:nvSpPr>
          <p:spPr bwMode="auto">
            <a:xfrm>
              <a:off x="590993" y="1374080"/>
              <a:ext cx="209114" cy="209358"/>
            </a:xfrm>
            <a:custGeom>
              <a:avLst/>
              <a:gdLst>
                <a:gd name="T0" fmla="*/ 333 w 360"/>
                <a:gd name="T1" fmla="*/ 0 h 360"/>
                <a:gd name="T2" fmla="*/ 26 w 360"/>
                <a:gd name="T3" fmla="*/ 0 h 360"/>
                <a:gd name="T4" fmla="*/ 0 w 360"/>
                <a:gd name="T5" fmla="*/ 25 h 360"/>
                <a:gd name="T6" fmla="*/ 0 w 360"/>
                <a:gd name="T7" fmla="*/ 334 h 360"/>
                <a:gd name="T8" fmla="*/ 26 w 360"/>
                <a:gd name="T9" fmla="*/ 360 h 360"/>
                <a:gd name="T10" fmla="*/ 333 w 360"/>
                <a:gd name="T11" fmla="*/ 360 h 360"/>
                <a:gd name="T12" fmla="*/ 360 w 360"/>
                <a:gd name="T13" fmla="*/ 334 h 360"/>
                <a:gd name="T14" fmla="*/ 360 w 360"/>
                <a:gd name="T15" fmla="*/ 25 h 360"/>
                <a:gd name="T16" fmla="*/ 333 w 360"/>
                <a:gd name="T17" fmla="*/ 0 h 360"/>
                <a:gd name="T18" fmla="*/ 109 w 360"/>
                <a:gd name="T19" fmla="*/ 301 h 360"/>
                <a:gd name="T20" fmla="*/ 54 w 360"/>
                <a:gd name="T21" fmla="*/ 301 h 360"/>
                <a:gd name="T22" fmla="*/ 54 w 360"/>
                <a:gd name="T23" fmla="*/ 138 h 360"/>
                <a:gd name="T24" fmla="*/ 109 w 360"/>
                <a:gd name="T25" fmla="*/ 138 h 360"/>
                <a:gd name="T26" fmla="*/ 109 w 360"/>
                <a:gd name="T27" fmla="*/ 301 h 360"/>
                <a:gd name="T28" fmla="*/ 82 w 360"/>
                <a:gd name="T29" fmla="*/ 116 h 360"/>
                <a:gd name="T30" fmla="*/ 81 w 360"/>
                <a:gd name="T31" fmla="*/ 116 h 360"/>
                <a:gd name="T32" fmla="*/ 51 w 360"/>
                <a:gd name="T33" fmla="*/ 88 h 360"/>
                <a:gd name="T34" fmla="*/ 82 w 360"/>
                <a:gd name="T35" fmla="*/ 60 h 360"/>
                <a:gd name="T36" fmla="*/ 112 w 360"/>
                <a:gd name="T37" fmla="*/ 88 h 360"/>
                <a:gd name="T38" fmla="*/ 82 w 360"/>
                <a:gd name="T39" fmla="*/ 116 h 360"/>
                <a:gd name="T40" fmla="*/ 305 w 360"/>
                <a:gd name="T41" fmla="*/ 301 h 360"/>
                <a:gd name="T42" fmla="*/ 251 w 360"/>
                <a:gd name="T43" fmla="*/ 301 h 360"/>
                <a:gd name="T44" fmla="*/ 251 w 360"/>
                <a:gd name="T45" fmla="*/ 214 h 360"/>
                <a:gd name="T46" fmla="*/ 223 w 360"/>
                <a:gd name="T47" fmla="*/ 177 h 360"/>
                <a:gd name="T48" fmla="*/ 195 w 360"/>
                <a:gd name="T49" fmla="*/ 197 h 360"/>
                <a:gd name="T50" fmla="*/ 193 w 360"/>
                <a:gd name="T51" fmla="*/ 210 h 360"/>
                <a:gd name="T52" fmla="*/ 193 w 360"/>
                <a:gd name="T53" fmla="*/ 301 h 360"/>
                <a:gd name="T54" fmla="*/ 139 w 360"/>
                <a:gd name="T55" fmla="*/ 301 h 360"/>
                <a:gd name="T56" fmla="*/ 139 w 360"/>
                <a:gd name="T57" fmla="*/ 138 h 360"/>
                <a:gd name="T58" fmla="*/ 193 w 360"/>
                <a:gd name="T59" fmla="*/ 138 h 360"/>
                <a:gd name="T60" fmla="*/ 193 w 360"/>
                <a:gd name="T61" fmla="*/ 161 h 360"/>
                <a:gd name="T62" fmla="*/ 242 w 360"/>
                <a:gd name="T63" fmla="*/ 135 h 360"/>
                <a:gd name="T64" fmla="*/ 305 w 360"/>
                <a:gd name="T65" fmla="*/ 208 h 360"/>
                <a:gd name="T66" fmla="*/ 305 w 360"/>
                <a:gd name="T67" fmla="*/ 301 h 360"/>
                <a:gd name="T68" fmla="*/ 193 w 360"/>
                <a:gd name="T69" fmla="*/ 162 h 360"/>
                <a:gd name="T70" fmla="*/ 193 w 360"/>
                <a:gd name="T71" fmla="*/ 161 h 360"/>
                <a:gd name="T72" fmla="*/ 193 w 360"/>
                <a:gd name="T73" fmla="*/ 162 h 3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360" h="360">
                  <a:moveTo>
                    <a:pt x="333" y="0"/>
                  </a:moveTo>
                  <a:cubicBezTo>
                    <a:pt x="26" y="0"/>
                    <a:pt x="26" y="0"/>
                    <a:pt x="26" y="0"/>
                  </a:cubicBezTo>
                  <a:cubicBezTo>
                    <a:pt x="12" y="0"/>
                    <a:pt x="0" y="11"/>
                    <a:pt x="0" y="25"/>
                  </a:cubicBezTo>
                  <a:cubicBezTo>
                    <a:pt x="0" y="334"/>
                    <a:pt x="0" y="334"/>
                    <a:pt x="0" y="334"/>
                  </a:cubicBezTo>
                  <a:cubicBezTo>
                    <a:pt x="0" y="348"/>
                    <a:pt x="12" y="360"/>
                    <a:pt x="26" y="360"/>
                  </a:cubicBezTo>
                  <a:cubicBezTo>
                    <a:pt x="333" y="360"/>
                    <a:pt x="333" y="360"/>
                    <a:pt x="333" y="360"/>
                  </a:cubicBezTo>
                  <a:cubicBezTo>
                    <a:pt x="348" y="360"/>
                    <a:pt x="360" y="348"/>
                    <a:pt x="360" y="334"/>
                  </a:cubicBezTo>
                  <a:cubicBezTo>
                    <a:pt x="360" y="25"/>
                    <a:pt x="360" y="25"/>
                    <a:pt x="360" y="25"/>
                  </a:cubicBezTo>
                  <a:cubicBezTo>
                    <a:pt x="360" y="11"/>
                    <a:pt x="348" y="0"/>
                    <a:pt x="333" y="0"/>
                  </a:cubicBezTo>
                  <a:close/>
                  <a:moveTo>
                    <a:pt x="109" y="301"/>
                  </a:moveTo>
                  <a:cubicBezTo>
                    <a:pt x="54" y="301"/>
                    <a:pt x="54" y="301"/>
                    <a:pt x="54" y="301"/>
                  </a:cubicBezTo>
                  <a:cubicBezTo>
                    <a:pt x="54" y="138"/>
                    <a:pt x="54" y="138"/>
                    <a:pt x="54" y="138"/>
                  </a:cubicBezTo>
                  <a:cubicBezTo>
                    <a:pt x="109" y="138"/>
                    <a:pt x="109" y="138"/>
                    <a:pt x="109" y="138"/>
                  </a:cubicBezTo>
                  <a:lnTo>
                    <a:pt x="109" y="301"/>
                  </a:lnTo>
                  <a:close/>
                  <a:moveTo>
                    <a:pt x="82" y="116"/>
                  </a:moveTo>
                  <a:cubicBezTo>
                    <a:pt x="81" y="116"/>
                    <a:pt x="81" y="116"/>
                    <a:pt x="81" y="116"/>
                  </a:cubicBezTo>
                  <a:cubicBezTo>
                    <a:pt x="63" y="116"/>
                    <a:pt x="51" y="104"/>
                    <a:pt x="51" y="88"/>
                  </a:cubicBezTo>
                  <a:cubicBezTo>
                    <a:pt x="51" y="72"/>
                    <a:pt x="63" y="60"/>
                    <a:pt x="82" y="60"/>
                  </a:cubicBezTo>
                  <a:cubicBezTo>
                    <a:pt x="101" y="60"/>
                    <a:pt x="112" y="72"/>
                    <a:pt x="112" y="88"/>
                  </a:cubicBezTo>
                  <a:cubicBezTo>
                    <a:pt x="112" y="104"/>
                    <a:pt x="101" y="116"/>
                    <a:pt x="82" y="116"/>
                  </a:cubicBezTo>
                  <a:close/>
                  <a:moveTo>
                    <a:pt x="305" y="301"/>
                  </a:moveTo>
                  <a:cubicBezTo>
                    <a:pt x="251" y="301"/>
                    <a:pt x="251" y="301"/>
                    <a:pt x="251" y="301"/>
                  </a:cubicBezTo>
                  <a:cubicBezTo>
                    <a:pt x="251" y="214"/>
                    <a:pt x="251" y="214"/>
                    <a:pt x="251" y="214"/>
                  </a:cubicBezTo>
                  <a:cubicBezTo>
                    <a:pt x="251" y="192"/>
                    <a:pt x="243" y="177"/>
                    <a:pt x="223" y="177"/>
                  </a:cubicBezTo>
                  <a:cubicBezTo>
                    <a:pt x="208" y="177"/>
                    <a:pt x="199" y="187"/>
                    <a:pt x="195" y="197"/>
                  </a:cubicBezTo>
                  <a:cubicBezTo>
                    <a:pt x="194" y="200"/>
                    <a:pt x="193" y="205"/>
                    <a:pt x="193" y="210"/>
                  </a:cubicBezTo>
                  <a:cubicBezTo>
                    <a:pt x="193" y="301"/>
                    <a:pt x="193" y="301"/>
                    <a:pt x="193" y="301"/>
                  </a:cubicBezTo>
                  <a:cubicBezTo>
                    <a:pt x="139" y="301"/>
                    <a:pt x="139" y="301"/>
                    <a:pt x="139" y="301"/>
                  </a:cubicBezTo>
                  <a:cubicBezTo>
                    <a:pt x="139" y="301"/>
                    <a:pt x="140" y="154"/>
                    <a:pt x="139" y="138"/>
                  </a:cubicBezTo>
                  <a:cubicBezTo>
                    <a:pt x="193" y="138"/>
                    <a:pt x="193" y="138"/>
                    <a:pt x="193" y="138"/>
                  </a:cubicBezTo>
                  <a:cubicBezTo>
                    <a:pt x="193" y="161"/>
                    <a:pt x="193" y="161"/>
                    <a:pt x="193" y="161"/>
                  </a:cubicBezTo>
                  <a:cubicBezTo>
                    <a:pt x="201" y="150"/>
                    <a:pt x="213" y="135"/>
                    <a:pt x="242" y="135"/>
                  </a:cubicBezTo>
                  <a:cubicBezTo>
                    <a:pt x="278" y="135"/>
                    <a:pt x="305" y="158"/>
                    <a:pt x="305" y="208"/>
                  </a:cubicBezTo>
                  <a:lnTo>
                    <a:pt x="305" y="301"/>
                  </a:lnTo>
                  <a:close/>
                  <a:moveTo>
                    <a:pt x="193" y="162"/>
                  </a:moveTo>
                  <a:cubicBezTo>
                    <a:pt x="193" y="162"/>
                    <a:pt x="193" y="162"/>
                    <a:pt x="193" y="161"/>
                  </a:cubicBezTo>
                  <a:cubicBezTo>
                    <a:pt x="193" y="162"/>
                    <a:pt x="193" y="162"/>
                    <a:pt x="193" y="162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d-ID" sz="2000"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endParaRPr>
            </a:p>
          </p:txBody>
        </p:sp>
        <p:sp>
          <p:nvSpPr>
            <p:cNvPr id="63" name="Freeform 13"/>
            <p:cNvSpPr/>
            <p:nvPr/>
          </p:nvSpPr>
          <p:spPr bwMode="auto">
            <a:xfrm>
              <a:off x="896505" y="1382179"/>
              <a:ext cx="201412" cy="201646"/>
            </a:xfrm>
            <a:custGeom>
              <a:avLst/>
              <a:gdLst>
                <a:gd name="T0" fmla="*/ 360 w 360"/>
                <a:gd name="T1" fmla="*/ 60 h 360"/>
                <a:gd name="T2" fmla="*/ 300 w 360"/>
                <a:gd name="T3" fmla="*/ 0 h 360"/>
                <a:gd name="T4" fmla="*/ 60 w 360"/>
                <a:gd name="T5" fmla="*/ 0 h 360"/>
                <a:gd name="T6" fmla="*/ 0 w 360"/>
                <a:gd name="T7" fmla="*/ 60 h 360"/>
                <a:gd name="T8" fmla="*/ 0 w 360"/>
                <a:gd name="T9" fmla="*/ 300 h 360"/>
                <a:gd name="T10" fmla="*/ 60 w 360"/>
                <a:gd name="T11" fmla="*/ 360 h 360"/>
                <a:gd name="T12" fmla="*/ 180 w 360"/>
                <a:gd name="T13" fmla="*/ 360 h 360"/>
                <a:gd name="T14" fmla="*/ 180 w 360"/>
                <a:gd name="T15" fmla="*/ 224 h 360"/>
                <a:gd name="T16" fmla="*/ 136 w 360"/>
                <a:gd name="T17" fmla="*/ 224 h 360"/>
                <a:gd name="T18" fmla="*/ 136 w 360"/>
                <a:gd name="T19" fmla="*/ 164 h 360"/>
                <a:gd name="T20" fmla="*/ 180 w 360"/>
                <a:gd name="T21" fmla="*/ 164 h 360"/>
                <a:gd name="T22" fmla="*/ 180 w 360"/>
                <a:gd name="T23" fmla="*/ 141 h 360"/>
                <a:gd name="T24" fmla="*/ 248 w 360"/>
                <a:gd name="T25" fmla="*/ 64 h 360"/>
                <a:gd name="T26" fmla="*/ 296 w 360"/>
                <a:gd name="T27" fmla="*/ 64 h 360"/>
                <a:gd name="T28" fmla="*/ 296 w 360"/>
                <a:gd name="T29" fmla="*/ 124 h 360"/>
                <a:gd name="T30" fmla="*/ 248 w 360"/>
                <a:gd name="T31" fmla="*/ 124 h 360"/>
                <a:gd name="T32" fmla="*/ 236 w 360"/>
                <a:gd name="T33" fmla="*/ 140 h 360"/>
                <a:gd name="T34" fmla="*/ 236 w 360"/>
                <a:gd name="T35" fmla="*/ 164 h 360"/>
                <a:gd name="T36" fmla="*/ 296 w 360"/>
                <a:gd name="T37" fmla="*/ 164 h 360"/>
                <a:gd name="T38" fmla="*/ 296 w 360"/>
                <a:gd name="T39" fmla="*/ 224 h 360"/>
                <a:gd name="T40" fmla="*/ 236 w 360"/>
                <a:gd name="T41" fmla="*/ 224 h 360"/>
                <a:gd name="T42" fmla="*/ 236 w 360"/>
                <a:gd name="T43" fmla="*/ 360 h 360"/>
                <a:gd name="T44" fmla="*/ 300 w 360"/>
                <a:gd name="T45" fmla="*/ 360 h 360"/>
                <a:gd name="T46" fmla="*/ 360 w 360"/>
                <a:gd name="T47" fmla="*/ 300 h 360"/>
                <a:gd name="T48" fmla="*/ 360 w 360"/>
                <a:gd name="T49" fmla="*/ 60 h 3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360" h="360">
                  <a:moveTo>
                    <a:pt x="360" y="60"/>
                  </a:moveTo>
                  <a:cubicBezTo>
                    <a:pt x="360" y="29"/>
                    <a:pt x="332" y="0"/>
                    <a:pt x="300" y="0"/>
                  </a:cubicBezTo>
                  <a:cubicBezTo>
                    <a:pt x="60" y="0"/>
                    <a:pt x="60" y="0"/>
                    <a:pt x="60" y="0"/>
                  </a:cubicBezTo>
                  <a:cubicBezTo>
                    <a:pt x="28" y="0"/>
                    <a:pt x="0" y="29"/>
                    <a:pt x="0" y="60"/>
                  </a:cubicBezTo>
                  <a:cubicBezTo>
                    <a:pt x="0" y="300"/>
                    <a:pt x="0" y="300"/>
                    <a:pt x="0" y="300"/>
                  </a:cubicBezTo>
                  <a:cubicBezTo>
                    <a:pt x="0" y="332"/>
                    <a:pt x="28" y="360"/>
                    <a:pt x="60" y="360"/>
                  </a:cubicBezTo>
                  <a:cubicBezTo>
                    <a:pt x="180" y="360"/>
                    <a:pt x="180" y="360"/>
                    <a:pt x="180" y="360"/>
                  </a:cubicBezTo>
                  <a:cubicBezTo>
                    <a:pt x="180" y="224"/>
                    <a:pt x="180" y="224"/>
                    <a:pt x="180" y="224"/>
                  </a:cubicBezTo>
                  <a:cubicBezTo>
                    <a:pt x="136" y="224"/>
                    <a:pt x="136" y="224"/>
                    <a:pt x="136" y="224"/>
                  </a:cubicBezTo>
                  <a:cubicBezTo>
                    <a:pt x="136" y="164"/>
                    <a:pt x="136" y="164"/>
                    <a:pt x="136" y="164"/>
                  </a:cubicBezTo>
                  <a:cubicBezTo>
                    <a:pt x="180" y="164"/>
                    <a:pt x="180" y="164"/>
                    <a:pt x="180" y="164"/>
                  </a:cubicBezTo>
                  <a:cubicBezTo>
                    <a:pt x="180" y="141"/>
                    <a:pt x="180" y="141"/>
                    <a:pt x="180" y="141"/>
                  </a:cubicBezTo>
                  <a:cubicBezTo>
                    <a:pt x="180" y="100"/>
                    <a:pt x="210" y="64"/>
                    <a:pt x="248" y="64"/>
                  </a:cubicBezTo>
                  <a:cubicBezTo>
                    <a:pt x="296" y="64"/>
                    <a:pt x="296" y="64"/>
                    <a:pt x="296" y="64"/>
                  </a:cubicBezTo>
                  <a:cubicBezTo>
                    <a:pt x="296" y="124"/>
                    <a:pt x="296" y="124"/>
                    <a:pt x="296" y="124"/>
                  </a:cubicBezTo>
                  <a:cubicBezTo>
                    <a:pt x="248" y="124"/>
                    <a:pt x="248" y="124"/>
                    <a:pt x="248" y="124"/>
                  </a:cubicBezTo>
                  <a:cubicBezTo>
                    <a:pt x="242" y="124"/>
                    <a:pt x="236" y="131"/>
                    <a:pt x="236" y="140"/>
                  </a:cubicBezTo>
                  <a:cubicBezTo>
                    <a:pt x="236" y="164"/>
                    <a:pt x="236" y="164"/>
                    <a:pt x="236" y="164"/>
                  </a:cubicBezTo>
                  <a:cubicBezTo>
                    <a:pt x="296" y="164"/>
                    <a:pt x="296" y="164"/>
                    <a:pt x="296" y="164"/>
                  </a:cubicBezTo>
                  <a:cubicBezTo>
                    <a:pt x="296" y="224"/>
                    <a:pt x="296" y="224"/>
                    <a:pt x="296" y="224"/>
                  </a:cubicBezTo>
                  <a:cubicBezTo>
                    <a:pt x="236" y="224"/>
                    <a:pt x="236" y="224"/>
                    <a:pt x="236" y="224"/>
                  </a:cubicBezTo>
                  <a:cubicBezTo>
                    <a:pt x="236" y="360"/>
                    <a:pt x="236" y="360"/>
                    <a:pt x="236" y="360"/>
                  </a:cubicBezTo>
                  <a:cubicBezTo>
                    <a:pt x="300" y="360"/>
                    <a:pt x="300" y="360"/>
                    <a:pt x="300" y="360"/>
                  </a:cubicBezTo>
                  <a:cubicBezTo>
                    <a:pt x="332" y="360"/>
                    <a:pt x="360" y="332"/>
                    <a:pt x="360" y="300"/>
                  </a:cubicBezTo>
                  <a:lnTo>
                    <a:pt x="360" y="6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d-ID" sz="2000"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endParaRPr>
            </a:p>
          </p:txBody>
        </p:sp>
        <p:sp>
          <p:nvSpPr>
            <p:cNvPr id="64" name="Freeform 16"/>
            <p:cNvSpPr/>
            <p:nvPr/>
          </p:nvSpPr>
          <p:spPr bwMode="auto">
            <a:xfrm>
              <a:off x="1223340" y="1382353"/>
              <a:ext cx="252465" cy="205165"/>
            </a:xfrm>
            <a:custGeom>
              <a:avLst/>
              <a:gdLst>
                <a:gd name="T0" fmla="*/ 368 w 368"/>
                <a:gd name="T1" fmla="*/ 36 h 299"/>
                <a:gd name="T2" fmla="*/ 324 w 368"/>
                <a:gd name="T3" fmla="*/ 48 h 299"/>
                <a:gd name="T4" fmla="*/ 358 w 368"/>
                <a:gd name="T5" fmla="*/ 6 h 299"/>
                <a:gd name="T6" fmla="*/ 310 w 368"/>
                <a:gd name="T7" fmla="*/ 24 h 299"/>
                <a:gd name="T8" fmla="*/ 255 w 368"/>
                <a:gd name="T9" fmla="*/ 0 h 299"/>
                <a:gd name="T10" fmla="*/ 179 w 368"/>
                <a:gd name="T11" fmla="*/ 76 h 299"/>
                <a:gd name="T12" fmla="*/ 181 w 368"/>
                <a:gd name="T13" fmla="*/ 93 h 299"/>
                <a:gd name="T14" fmla="*/ 25 w 368"/>
                <a:gd name="T15" fmla="*/ 14 h 299"/>
                <a:gd name="T16" fmla="*/ 15 w 368"/>
                <a:gd name="T17" fmla="*/ 52 h 299"/>
                <a:gd name="T18" fmla="*/ 49 w 368"/>
                <a:gd name="T19" fmla="*/ 115 h 299"/>
                <a:gd name="T20" fmla="*/ 15 w 368"/>
                <a:gd name="T21" fmla="*/ 106 h 299"/>
                <a:gd name="T22" fmla="*/ 14 w 368"/>
                <a:gd name="T23" fmla="*/ 106 h 299"/>
                <a:gd name="T24" fmla="*/ 75 w 368"/>
                <a:gd name="T25" fmla="*/ 181 h 299"/>
                <a:gd name="T26" fmla="*/ 55 w 368"/>
                <a:gd name="T27" fmla="*/ 183 h 299"/>
                <a:gd name="T28" fmla="*/ 41 w 368"/>
                <a:gd name="T29" fmla="*/ 182 h 299"/>
                <a:gd name="T30" fmla="*/ 111 w 368"/>
                <a:gd name="T31" fmla="*/ 234 h 299"/>
                <a:gd name="T32" fmla="*/ 18 w 368"/>
                <a:gd name="T33" fmla="*/ 267 h 299"/>
                <a:gd name="T34" fmla="*/ 0 w 368"/>
                <a:gd name="T35" fmla="*/ 265 h 299"/>
                <a:gd name="T36" fmla="*/ 115 w 368"/>
                <a:gd name="T37" fmla="*/ 299 h 299"/>
                <a:gd name="T38" fmla="*/ 330 w 368"/>
                <a:gd name="T39" fmla="*/ 85 h 299"/>
                <a:gd name="T40" fmla="*/ 330 w 368"/>
                <a:gd name="T41" fmla="*/ 75 h 299"/>
                <a:gd name="T42" fmla="*/ 368 w 368"/>
                <a:gd name="T43" fmla="*/ 36 h 2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368" h="299">
                  <a:moveTo>
                    <a:pt x="368" y="36"/>
                  </a:moveTo>
                  <a:cubicBezTo>
                    <a:pt x="354" y="42"/>
                    <a:pt x="340" y="46"/>
                    <a:pt x="324" y="48"/>
                  </a:cubicBezTo>
                  <a:cubicBezTo>
                    <a:pt x="340" y="38"/>
                    <a:pt x="352" y="24"/>
                    <a:pt x="358" y="6"/>
                  </a:cubicBezTo>
                  <a:cubicBezTo>
                    <a:pt x="343" y="15"/>
                    <a:pt x="327" y="21"/>
                    <a:pt x="310" y="24"/>
                  </a:cubicBezTo>
                  <a:cubicBezTo>
                    <a:pt x="296" y="10"/>
                    <a:pt x="276" y="0"/>
                    <a:pt x="255" y="0"/>
                  </a:cubicBezTo>
                  <a:cubicBezTo>
                    <a:pt x="213" y="0"/>
                    <a:pt x="179" y="34"/>
                    <a:pt x="179" y="76"/>
                  </a:cubicBezTo>
                  <a:cubicBezTo>
                    <a:pt x="179" y="82"/>
                    <a:pt x="180" y="88"/>
                    <a:pt x="181" y="93"/>
                  </a:cubicBezTo>
                  <a:cubicBezTo>
                    <a:pt x="118" y="90"/>
                    <a:pt x="63" y="60"/>
                    <a:pt x="25" y="14"/>
                  </a:cubicBezTo>
                  <a:cubicBezTo>
                    <a:pt x="19" y="25"/>
                    <a:pt x="15" y="38"/>
                    <a:pt x="15" y="52"/>
                  </a:cubicBezTo>
                  <a:cubicBezTo>
                    <a:pt x="15" y="78"/>
                    <a:pt x="28" y="101"/>
                    <a:pt x="49" y="115"/>
                  </a:cubicBezTo>
                  <a:cubicBezTo>
                    <a:pt x="36" y="115"/>
                    <a:pt x="25" y="111"/>
                    <a:pt x="15" y="106"/>
                  </a:cubicBezTo>
                  <a:cubicBezTo>
                    <a:pt x="14" y="106"/>
                    <a:pt x="14" y="106"/>
                    <a:pt x="14" y="106"/>
                  </a:cubicBezTo>
                  <a:cubicBezTo>
                    <a:pt x="14" y="143"/>
                    <a:pt x="41" y="174"/>
                    <a:pt x="75" y="181"/>
                  </a:cubicBezTo>
                  <a:cubicBezTo>
                    <a:pt x="69" y="182"/>
                    <a:pt x="62" y="183"/>
                    <a:pt x="55" y="183"/>
                  </a:cubicBezTo>
                  <a:cubicBezTo>
                    <a:pt x="50" y="183"/>
                    <a:pt x="46" y="183"/>
                    <a:pt x="41" y="182"/>
                  </a:cubicBezTo>
                  <a:cubicBezTo>
                    <a:pt x="51" y="212"/>
                    <a:pt x="78" y="234"/>
                    <a:pt x="111" y="234"/>
                  </a:cubicBezTo>
                  <a:cubicBezTo>
                    <a:pt x="86" y="254"/>
                    <a:pt x="53" y="267"/>
                    <a:pt x="18" y="267"/>
                  </a:cubicBezTo>
                  <a:cubicBezTo>
                    <a:pt x="12" y="267"/>
                    <a:pt x="6" y="266"/>
                    <a:pt x="0" y="265"/>
                  </a:cubicBezTo>
                  <a:cubicBezTo>
                    <a:pt x="33" y="287"/>
                    <a:pt x="73" y="299"/>
                    <a:pt x="115" y="299"/>
                  </a:cubicBezTo>
                  <a:cubicBezTo>
                    <a:pt x="254" y="299"/>
                    <a:pt x="330" y="184"/>
                    <a:pt x="330" y="85"/>
                  </a:cubicBezTo>
                  <a:cubicBezTo>
                    <a:pt x="330" y="81"/>
                    <a:pt x="330" y="78"/>
                    <a:pt x="330" y="75"/>
                  </a:cubicBezTo>
                  <a:cubicBezTo>
                    <a:pt x="345" y="64"/>
                    <a:pt x="358" y="51"/>
                    <a:pt x="368" y="36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000"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endParaRPr>
            </a:p>
          </p:txBody>
        </p:sp>
      </p:grpSp>
      <p:sp>
        <p:nvSpPr>
          <p:cNvPr id="65" name="Rectangle 64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SpPr/>
          <p:nvPr/>
        </p:nvSpPr>
        <p:spPr>
          <a:xfrm>
            <a:off x="6344140" y="4719806"/>
            <a:ext cx="1777341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buClr>
                <a:srgbClr val="E24848"/>
              </a:buClr>
            </a:pPr>
            <a:r>
              <a:rPr lang="en-US" sz="1200" noProof="1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rPr>
              <a:t>Click here to add content, content to match the title. </a:t>
            </a:r>
          </a:p>
        </p:txBody>
      </p:sp>
      <p:sp>
        <p:nvSpPr>
          <p:cNvPr id="66" name="TextBox 65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SpPr txBox="1"/>
          <p:nvPr/>
        </p:nvSpPr>
        <p:spPr>
          <a:xfrm>
            <a:off x="6450330" y="4263390"/>
            <a:ext cx="1671320" cy="400050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algn="ctr">
              <a:defRPr sz="2000" spc="-150">
                <a:solidFill>
                  <a:schemeClr val="bg1">
                    <a:lumMod val="50000"/>
                  </a:schemeClr>
                </a:solidFill>
                <a:latin typeface="Titillium" charset="0"/>
                <a:ea typeface="Roboto" panose="02000000000000000000" charset="0"/>
                <a:cs typeface="Open Sans Semibold" panose="020B0706030804020204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en-US" sz="1800" b="1" spc="0">
                <a:gradFill flip="none" rotWithShape="1">
                  <a:gsLst>
                    <a:gs pos="31000">
                      <a:srgbClr val="4CC1BA"/>
                    </a:gs>
                    <a:gs pos="100000">
                      <a:srgbClr val="00B0F0"/>
                    </a:gs>
                  </a:gsLst>
                  <a:lin ang="5400000" scaled="1"/>
                </a:gradFill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rPr>
              <a:t>ENTER YOUR NAME</a:t>
            </a:r>
            <a:endParaRPr lang="id-ID" sz="1800" b="1" spc="0">
              <a:gradFill flip="none" rotWithShape="1">
                <a:gsLst>
                  <a:gs pos="31000">
                    <a:srgbClr val="4CC1BA"/>
                  </a:gs>
                  <a:gs pos="100000">
                    <a:srgbClr val="00B0F0"/>
                  </a:gs>
                </a:gsLst>
                <a:lin ang="5400000" scaled="1"/>
              </a:gradFill>
              <a:latin typeface="Arial" panose="020B0604020202020204" pitchFamily="34" charset="0"/>
              <a:ea typeface="微软雅黑" panose="020B0503020204020204" pitchFamily="34" charset="-122"/>
              <a:cs typeface="思源黑体 CN Regular" panose="020B0500000000000000" charset="-122"/>
              <a:sym typeface="Arial" panose="020B0604020202020204" pitchFamily="34" charset="0"/>
            </a:endParaRPr>
          </a:p>
        </p:txBody>
      </p:sp>
      <p:grpSp>
        <p:nvGrpSpPr>
          <p:cNvPr id="67" name="Group 66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GrpSpPr/>
          <p:nvPr/>
        </p:nvGrpSpPr>
        <p:grpSpPr>
          <a:xfrm>
            <a:off x="6790406" y="5508991"/>
            <a:ext cx="884812" cy="213439"/>
            <a:chOff x="590993" y="1374080"/>
            <a:chExt cx="884812" cy="213438"/>
          </a:xfrm>
          <a:solidFill>
            <a:schemeClr val="bg1">
              <a:lumMod val="65000"/>
            </a:schemeClr>
          </a:solidFill>
        </p:grpSpPr>
        <p:sp>
          <p:nvSpPr>
            <p:cNvPr id="68" name="Freeform 9"/>
            <p:cNvSpPr>
              <a:spLocks noEditPoints="1"/>
            </p:cNvSpPr>
            <p:nvPr/>
          </p:nvSpPr>
          <p:spPr bwMode="auto">
            <a:xfrm>
              <a:off x="590993" y="1374080"/>
              <a:ext cx="209114" cy="209358"/>
            </a:xfrm>
            <a:custGeom>
              <a:avLst/>
              <a:gdLst>
                <a:gd name="T0" fmla="*/ 333 w 360"/>
                <a:gd name="T1" fmla="*/ 0 h 360"/>
                <a:gd name="T2" fmla="*/ 26 w 360"/>
                <a:gd name="T3" fmla="*/ 0 h 360"/>
                <a:gd name="T4" fmla="*/ 0 w 360"/>
                <a:gd name="T5" fmla="*/ 25 h 360"/>
                <a:gd name="T6" fmla="*/ 0 w 360"/>
                <a:gd name="T7" fmla="*/ 334 h 360"/>
                <a:gd name="T8" fmla="*/ 26 w 360"/>
                <a:gd name="T9" fmla="*/ 360 h 360"/>
                <a:gd name="T10" fmla="*/ 333 w 360"/>
                <a:gd name="T11" fmla="*/ 360 h 360"/>
                <a:gd name="T12" fmla="*/ 360 w 360"/>
                <a:gd name="T13" fmla="*/ 334 h 360"/>
                <a:gd name="T14" fmla="*/ 360 w 360"/>
                <a:gd name="T15" fmla="*/ 25 h 360"/>
                <a:gd name="T16" fmla="*/ 333 w 360"/>
                <a:gd name="T17" fmla="*/ 0 h 360"/>
                <a:gd name="T18" fmla="*/ 109 w 360"/>
                <a:gd name="T19" fmla="*/ 301 h 360"/>
                <a:gd name="T20" fmla="*/ 54 w 360"/>
                <a:gd name="T21" fmla="*/ 301 h 360"/>
                <a:gd name="T22" fmla="*/ 54 w 360"/>
                <a:gd name="T23" fmla="*/ 138 h 360"/>
                <a:gd name="T24" fmla="*/ 109 w 360"/>
                <a:gd name="T25" fmla="*/ 138 h 360"/>
                <a:gd name="T26" fmla="*/ 109 w 360"/>
                <a:gd name="T27" fmla="*/ 301 h 360"/>
                <a:gd name="T28" fmla="*/ 82 w 360"/>
                <a:gd name="T29" fmla="*/ 116 h 360"/>
                <a:gd name="T30" fmla="*/ 81 w 360"/>
                <a:gd name="T31" fmla="*/ 116 h 360"/>
                <a:gd name="T32" fmla="*/ 51 w 360"/>
                <a:gd name="T33" fmla="*/ 88 h 360"/>
                <a:gd name="T34" fmla="*/ 82 w 360"/>
                <a:gd name="T35" fmla="*/ 60 h 360"/>
                <a:gd name="T36" fmla="*/ 112 w 360"/>
                <a:gd name="T37" fmla="*/ 88 h 360"/>
                <a:gd name="T38" fmla="*/ 82 w 360"/>
                <a:gd name="T39" fmla="*/ 116 h 360"/>
                <a:gd name="T40" fmla="*/ 305 w 360"/>
                <a:gd name="T41" fmla="*/ 301 h 360"/>
                <a:gd name="T42" fmla="*/ 251 w 360"/>
                <a:gd name="T43" fmla="*/ 301 h 360"/>
                <a:gd name="T44" fmla="*/ 251 w 360"/>
                <a:gd name="T45" fmla="*/ 214 h 360"/>
                <a:gd name="T46" fmla="*/ 223 w 360"/>
                <a:gd name="T47" fmla="*/ 177 h 360"/>
                <a:gd name="T48" fmla="*/ 195 w 360"/>
                <a:gd name="T49" fmla="*/ 197 h 360"/>
                <a:gd name="T50" fmla="*/ 193 w 360"/>
                <a:gd name="T51" fmla="*/ 210 h 360"/>
                <a:gd name="T52" fmla="*/ 193 w 360"/>
                <a:gd name="T53" fmla="*/ 301 h 360"/>
                <a:gd name="T54" fmla="*/ 139 w 360"/>
                <a:gd name="T55" fmla="*/ 301 h 360"/>
                <a:gd name="T56" fmla="*/ 139 w 360"/>
                <a:gd name="T57" fmla="*/ 138 h 360"/>
                <a:gd name="T58" fmla="*/ 193 w 360"/>
                <a:gd name="T59" fmla="*/ 138 h 360"/>
                <a:gd name="T60" fmla="*/ 193 w 360"/>
                <a:gd name="T61" fmla="*/ 161 h 360"/>
                <a:gd name="T62" fmla="*/ 242 w 360"/>
                <a:gd name="T63" fmla="*/ 135 h 360"/>
                <a:gd name="T64" fmla="*/ 305 w 360"/>
                <a:gd name="T65" fmla="*/ 208 h 360"/>
                <a:gd name="T66" fmla="*/ 305 w 360"/>
                <a:gd name="T67" fmla="*/ 301 h 360"/>
                <a:gd name="T68" fmla="*/ 193 w 360"/>
                <a:gd name="T69" fmla="*/ 162 h 360"/>
                <a:gd name="T70" fmla="*/ 193 w 360"/>
                <a:gd name="T71" fmla="*/ 161 h 360"/>
                <a:gd name="T72" fmla="*/ 193 w 360"/>
                <a:gd name="T73" fmla="*/ 162 h 3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360" h="360">
                  <a:moveTo>
                    <a:pt x="333" y="0"/>
                  </a:moveTo>
                  <a:cubicBezTo>
                    <a:pt x="26" y="0"/>
                    <a:pt x="26" y="0"/>
                    <a:pt x="26" y="0"/>
                  </a:cubicBezTo>
                  <a:cubicBezTo>
                    <a:pt x="12" y="0"/>
                    <a:pt x="0" y="11"/>
                    <a:pt x="0" y="25"/>
                  </a:cubicBezTo>
                  <a:cubicBezTo>
                    <a:pt x="0" y="334"/>
                    <a:pt x="0" y="334"/>
                    <a:pt x="0" y="334"/>
                  </a:cubicBezTo>
                  <a:cubicBezTo>
                    <a:pt x="0" y="348"/>
                    <a:pt x="12" y="360"/>
                    <a:pt x="26" y="360"/>
                  </a:cubicBezTo>
                  <a:cubicBezTo>
                    <a:pt x="333" y="360"/>
                    <a:pt x="333" y="360"/>
                    <a:pt x="333" y="360"/>
                  </a:cubicBezTo>
                  <a:cubicBezTo>
                    <a:pt x="348" y="360"/>
                    <a:pt x="360" y="348"/>
                    <a:pt x="360" y="334"/>
                  </a:cubicBezTo>
                  <a:cubicBezTo>
                    <a:pt x="360" y="25"/>
                    <a:pt x="360" y="25"/>
                    <a:pt x="360" y="25"/>
                  </a:cubicBezTo>
                  <a:cubicBezTo>
                    <a:pt x="360" y="11"/>
                    <a:pt x="348" y="0"/>
                    <a:pt x="333" y="0"/>
                  </a:cubicBezTo>
                  <a:close/>
                  <a:moveTo>
                    <a:pt x="109" y="301"/>
                  </a:moveTo>
                  <a:cubicBezTo>
                    <a:pt x="54" y="301"/>
                    <a:pt x="54" y="301"/>
                    <a:pt x="54" y="301"/>
                  </a:cubicBezTo>
                  <a:cubicBezTo>
                    <a:pt x="54" y="138"/>
                    <a:pt x="54" y="138"/>
                    <a:pt x="54" y="138"/>
                  </a:cubicBezTo>
                  <a:cubicBezTo>
                    <a:pt x="109" y="138"/>
                    <a:pt x="109" y="138"/>
                    <a:pt x="109" y="138"/>
                  </a:cubicBezTo>
                  <a:lnTo>
                    <a:pt x="109" y="301"/>
                  </a:lnTo>
                  <a:close/>
                  <a:moveTo>
                    <a:pt x="82" y="116"/>
                  </a:moveTo>
                  <a:cubicBezTo>
                    <a:pt x="81" y="116"/>
                    <a:pt x="81" y="116"/>
                    <a:pt x="81" y="116"/>
                  </a:cubicBezTo>
                  <a:cubicBezTo>
                    <a:pt x="63" y="116"/>
                    <a:pt x="51" y="104"/>
                    <a:pt x="51" y="88"/>
                  </a:cubicBezTo>
                  <a:cubicBezTo>
                    <a:pt x="51" y="72"/>
                    <a:pt x="63" y="60"/>
                    <a:pt x="82" y="60"/>
                  </a:cubicBezTo>
                  <a:cubicBezTo>
                    <a:pt x="101" y="60"/>
                    <a:pt x="112" y="72"/>
                    <a:pt x="112" y="88"/>
                  </a:cubicBezTo>
                  <a:cubicBezTo>
                    <a:pt x="112" y="104"/>
                    <a:pt x="101" y="116"/>
                    <a:pt x="82" y="116"/>
                  </a:cubicBezTo>
                  <a:close/>
                  <a:moveTo>
                    <a:pt x="305" y="301"/>
                  </a:moveTo>
                  <a:cubicBezTo>
                    <a:pt x="251" y="301"/>
                    <a:pt x="251" y="301"/>
                    <a:pt x="251" y="301"/>
                  </a:cubicBezTo>
                  <a:cubicBezTo>
                    <a:pt x="251" y="214"/>
                    <a:pt x="251" y="214"/>
                    <a:pt x="251" y="214"/>
                  </a:cubicBezTo>
                  <a:cubicBezTo>
                    <a:pt x="251" y="192"/>
                    <a:pt x="243" y="177"/>
                    <a:pt x="223" y="177"/>
                  </a:cubicBezTo>
                  <a:cubicBezTo>
                    <a:pt x="208" y="177"/>
                    <a:pt x="199" y="187"/>
                    <a:pt x="195" y="197"/>
                  </a:cubicBezTo>
                  <a:cubicBezTo>
                    <a:pt x="194" y="200"/>
                    <a:pt x="193" y="205"/>
                    <a:pt x="193" y="210"/>
                  </a:cubicBezTo>
                  <a:cubicBezTo>
                    <a:pt x="193" y="301"/>
                    <a:pt x="193" y="301"/>
                    <a:pt x="193" y="301"/>
                  </a:cubicBezTo>
                  <a:cubicBezTo>
                    <a:pt x="139" y="301"/>
                    <a:pt x="139" y="301"/>
                    <a:pt x="139" y="301"/>
                  </a:cubicBezTo>
                  <a:cubicBezTo>
                    <a:pt x="139" y="301"/>
                    <a:pt x="140" y="154"/>
                    <a:pt x="139" y="138"/>
                  </a:cubicBezTo>
                  <a:cubicBezTo>
                    <a:pt x="193" y="138"/>
                    <a:pt x="193" y="138"/>
                    <a:pt x="193" y="138"/>
                  </a:cubicBezTo>
                  <a:cubicBezTo>
                    <a:pt x="193" y="161"/>
                    <a:pt x="193" y="161"/>
                    <a:pt x="193" y="161"/>
                  </a:cubicBezTo>
                  <a:cubicBezTo>
                    <a:pt x="201" y="150"/>
                    <a:pt x="213" y="135"/>
                    <a:pt x="242" y="135"/>
                  </a:cubicBezTo>
                  <a:cubicBezTo>
                    <a:pt x="278" y="135"/>
                    <a:pt x="305" y="158"/>
                    <a:pt x="305" y="208"/>
                  </a:cubicBezTo>
                  <a:lnTo>
                    <a:pt x="305" y="301"/>
                  </a:lnTo>
                  <a:close/>
                  <a:moveTo>
                    <a:pt x="193" y="162"/>
                  </a:moveTo>
                  <a:cubicBezTo>
                    <a:pt x="193" y="162"/>
                    <a:pt x="193" y="162"/>
                    <a:pt x="193" y="161"/>
                  </a:cubicBezTo>
                  <a:cubicBezTo>
                    <a:pt x="193" y="162"/>
                    <a:pt x="193" y="162"/>
                    <a:pt x="193" y="162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d-ID" sz="2000"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endParaRPr>
            </a:p>
          </p:txBody>
        </p:sp>
        <p:sp>
          <p:nvSpPr>
            <p:cNvPr id="69" name="Freeform 13"/>
            <p:cNvSpPr/>
            <p:nvPr/>
          </p:nvSpPr>
          <p:spPr bwMode="auto">
            <a:xfrm>
              <a:off x="896505" y="1382179"/>
              <a:ext cx="201412" cy="201646"/>
            </a:xfrm>
            <a:custGeom>
              <a:avLst/>
              <a:gdLst>
                <a:gd name="T0" fmla="*/ 360 w 360"/>
                <a:gd name="T1" fmla="*/ 60 h 360"/>
                <a:gd name="T2" fmla="*/ 300 w 360"/>
                <a:gd name="T3" fmla="*/ 0 h 360"/>
                <a:gd name="T4" fmla="*/ 60 w 360"/>
                <a:gd name="T5" fmla="*/ 0 h 360"/>
                <a:gd name="T6" fmla="*/ 0 w 360"/>
                <a:gd name="T7" fmla="*/ 60 h 360"/>
                <a:gd name="T8" fmla="*/ 0 w 360"/>
                <a:gd name="T9" fmla="*/ 300 h 360"/>
                <a:gd name="T10" fmla="*/ 60 w 360"/>
                <a:gd name="T11" fmla="*/ 360 h 360"/>
                <a:gd name="T12" fmla="*/ 180 w 360"/>
                <a:gd name="T13" fmla="*/ 360 h 360"/>
                <a:gd name="T14" fmla="*/ 180 w 360"/>
                <a:gd name="T15" fmla="*/ 224 h 360"/>
                <a:gd name="T16" fmla="*/ 136 w 360"/>
                <a:gd name="T17" fmla="*/ 224 h 360"/>
                <a:gd name="T18" fmla="*/ 136 w 360"/>
                <a:gd name="T19" fmla="*/ 164 h 360"/>
                <a:gd name="T20" fmla="*/ 180 w 360"/>
                <a:gd name="T21" fmla="*/ 164 h 360"/>
                <a:gd name="T22" fmla="*/ 180 w 360"/>
                <a:gd name="T23" fmla="*/ 141 h 360"/>
                <a:gd name="T24" fmla="*/ 248 w 360"/>
                <a:gd name="T25" fmla="*/ 64 h 360"/>
                <a:gd name="T26" fmla="*/ 296 w 360"/>
                <a:gd name="T27" fmla="*/ 64 h 360"/>
                <a:gd name="T28" fmla="*/ 296 w 360"/>
                <a:gd name="T29" fmla="*/ 124 h 360"/>
                <a:gd name="T30" fmla="*/ 248 w 360"/>
                <a:gd name="T31" fmla="*/ 124 h 360"/>
                <a:gd name="T32" fmla="*/ 236 w 360"/>
                <a:gd name="T33" fmla="*/ 140 h 360"/>
                <a:gd name="T34" fmla="*/ 236 w 360"/>
                <a:gd name="T35" fmla="*/ 164 h 360"/>
                <a:gd name="T36" fmla="*/ 296 w 360"/>
                <a:gd name="T37" fmla="*/ 164 h 360"/>
                <a:gd name="T38" fmla="*/ 296 w 360"/>
                <a:gd name="T39" fmla="*/ 224 h 360"/>
                <a:gd name="T40" fmla="*/ 236 w 360"/>
                <a:gd name="T41" fmla="*/ 224 h 360"/>
                <a:gd name="T42" fmla="*/ 236 w 360"/>
                <a:gd name="T43" fmla="*/ 360 h 360"/>
                <a:gd name="T44" fmla="*/ 300 w 360"/>
                <a:gd name="T45" fmla="*/ 360 h 360"/>
                <a:gd name="T46" fmla="*/ 360 w 360"/>
                <a:gd name="T47" fmla="*/ 300 h 360"/>
                <a:gd name="T48" fmla="*/ 360 w 360"/>
                <a:gd name="T49" fmla="*/ 60 h 3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360" h="360">
                  <a:moveTo>
                    <a:pt x="360" y="60"/>
                  </a:moveTo>
                  <a:cubicBezTo>
                    <a:pt x="360" y="29"/>
                    <a:pt x="332" y="0"/>
                    <a:pt x="300" y="0"/>
                  </a:cubicBezTo>
                  <a:cubicBezTo>
                    <a:pt x="60" y="0"/>
                    <a:pt x="60" y="0"/>
                    <a:pt x="60" y="0"/>
                  </a:cubicBezTo>
                  <a:cubicBezTo>
                    <a:pt x="28" y="0"/>
                    <a:pt x="0" y="29"/>
                    <a:pt x="0" y="60"/>
                  </a:cubicBezTo>
                  <a:cubicBezTo>
                    <a:pt x="0" y="300"/>
                    <a:pt x="0" y="300"/>
                    <a:pt x="0" y="300"/>
                  </a:cubicBezTo>
                  <a:cubicBezTo>
                    <a:pt x="0" y="332"/>
                    <a:pt x="28" y="360"/>
                    <a:pt x="60" y="360"/>
                  </a:cubicBezTo>
                  <a:cubicBezTo>
                    <a:pt x="180" y="360"/>
                    <a:pt x="180" y="360"/>
                    <a:pt x="180" y="360"/>
                  </a:cubicBezTo>
                  <a:cubicBezTo>
                    <a:pt x="180" y="224"/>
                    <a:pt x="180" y="224"/>
                    <a:pt x="180" y="224"/>
                  </a:cubicBezTo>
                  <a:cubicBezTo>
                    <a:pt x="136" y="224"/>
                    <a:pt x="136" y="224"/>
                    <a:pt x="136" y="224"/>
                  </a:cubicBezTo>
                  <a:cubicBezTo>
                    <a:pt x="136" y="164"/>
                    <a:pt x="136" y="164"/>
                    <a:pt x="136" y="164"/>
                  </a:cubicBezTo>
                  <a:cubicBezTo>
                    <a:pt x="180" y="164"/>
                    <a:pt x="180" y="164"/>
                    <a:pt x="180" y="164"/>
                  </a:cubicBezTo>
                  <a:cubicBezTo>
                    <a:pt x="180" y="141"/>
                    <a:pt x="180" y="141"/>
                    <a:pt x="180" y="141"/>
                  </a:cubicBezTo>
                  <a:cubicBezTo>
                    <a:pt x="180" y="100"/>
                    <a:pt x="210" y="64"/>
                    <a:pt x="248" y="64"/>
                  </a:cubicBezTo>
                  <a:cubicBezTo>
                    <a:pt x="296" y="64"/>
                    <a:pt x="296" y="64"/>
                    <a:pt x="296" y="64"/>
                  </a:cubicBezTo>
                  <a:cubicBezTo>
                    <a:pt x="296" y="124"/>
                    <a:pt x="296" y="124"/>
                    <a:pt x="296" y="124"/>
                  </a:cubicBezTo>
                  <a:cubicBezTo>
                    <a:pt x="248" y="124"/>
                    <a:pt x="248" y="124"/>
                    <a:pt x="248" y="124"/>
                  </a:cubicBezTo>
                  <a:cubicBezTo>
                    <a:pt x="242" y="124"/>
                    <a:pt x="236" y="131"/>
                    <a:pt x="236" y="140"/>
                  </a:cubicBezTo>
                  <a:cubicBezTo>
                    <a:pt x="236" y="164"/>
                    <a:pt x="236" y="164"/>
                    <a:pt x="236" y="164"/>
                  </a:cubicBezTo>
                  <a:cubicBezTo>
                    <a:pt x="296" y="164"/>
                    <a:pt x="296" y="164"/>
                    <a:pt x="296" y="164"/>
                  </a:cubicBezTo>
                  <a:cubicBezTo>
                    <a:pt x="296" y="224"/>
                    <a:pt x="296" y="224"/>
                    <a:pt x="296" y="224"/>
                  </a:cubicBezTo>
                  <a:cubicBezTo>
                    <a:pt x="236" y="224"/>
                    <a:pt x="236" y="224"/>
                    <a:pt x="236" y="224"/>
                  </a:cubicBezTo>
                  <a:cubicBezTo>
                    <a:pt x="236" y="360"/>
                    <a:pt x="236" y="360"/>
                    <a:pt x="236" y="360"/>
                  </a:cubicBezTo>
                  <a:cubicBezTo>
                    <a:pt x="300" y="360"/>
                    <a:pt x="300" y="360"/>
                    <a:pt x="300" y="360"/>
                  </a:cubicBezTo>
                  <a:cubicBezTo>
                    <a:pt x="332" y="360"/>
                    <a:pt x="360" y="332"/>
                    <a:pt x="360" y="300"/>
                  </a:cubicBezTo>
                  <a:lnTo>
                    <a:pt x="360" y="6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d-ID" sz="2000"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endParaRPr>
            </a:p>
          </p:txBody>
        </p:sp>
        <p:sp>
          <p:nvSpPr>
            <p:cNvPr id="70" name="Freeform 16"/>
            <p:cNvSpPr/>
            <p:nvPr/>
          </p:nvSpPr>
          <p:spPr bwMode="auto">
            <a:xfrm>
              <a:off x="1223340" y="1382353"/>
              <a:ext cx="252465" cy="205165"/>
            </a:xfrm>
            <a:custGeom>
              <a:avLst/>
              <a:gdLst>
                <a:gd name="T0" fmla="*/ 368 w 368"/>
                <a:gd name="T1" fmla="*/ 36 h 299"/>
                <a:gd name="T2" fmla="*/ 324 w 368"/>
                <a:gd name="T3" fmla="*/ 48 h 299"/>
                <a:gd name="T4" fmla="*/ 358 w 368"/>
                <a:gd name="T5" fmla="*/ 6 h 299"/>
                <a:gd name="T6" fmla="*/ 310 w 368"/>
                <a:gd name="T7" fmla="*/ 24 h 299"/>
                <a:gd name="T8" fmla="*/ 255 w 368"/>
                <a:gd name="T9" fmla="*/ 0 h 299"/>
                <a:gd name="T10" fmla="*/ 179 w 368"/>
                <a:gd name="T11" fmla="*/ 76 h 299"/>
                <a:gd name="T12" fmla="*/ 181 w 368"/>
                <a:gd name="T13" fmla="*/ 93 h 299"/>
                <a:gd name="T14" fmla="*/ 25 w 368"/>
                <a:gd name="T15" fmla="*/ 14 h 299"/>
                <a:gd name="T16" fmla="*/ 15 w 368"/>
                <a:gd name="T17" fmla="*/ 52 h 299"/>
                <a:gd name="T18" fmla="*/ 49 w 368"/>
                <a:gd name="T19" fmla="*/ 115 h 299"/>
                <a:gd name="T20" fmla="*/ 15 w 368"/>
                <a:gd name="T21" fmla="*/ 106 h 299"/>
                <a:gd name="T22" fmla="*/ 14 w 368"/>
                <a:gd name="T23" fmla="*/ 106 h 299"/>
                <a:gd name="T24" fmla="*/ 75 w 368"/>
                <a:gd name="T25" fmla="*/ 181 h 299"/>
                <a:gd name="T26" fmla="*/ 55 w 368"/>
                <a:gd name="T27" fmla="*/ 183 h 299"/>
                <a:gd name="T28" fmla="*/ 41 w 368"/>
                <a:gd name="T29" fmla="*/ 182 h 299"/>
                <a:gd name="T30" fmla="*/ 111 w 368"/>
                <a:gd name="T31" fmla="*/ 234 h 299"/>
                <a:gd name="T32" fmla="*/ 18 w 368"/>
                <a:gd name="T33" fmla="*/ 267 h 299"/>
                <a:gd name="T34" fmla="*/ 0 w 368"/>
                <a:gd name="T35" fmla="*/ 265 h 299"/>
                <a:gd name="T36" fmla="*/ 115 w 368"/>
                <a:gd name="T37" fmla="*/ 299 h 299"/>
                <a:gd name="T38" fmla="*/ 330 w 368"/>
                <a:gd name="T39" fmla="*/ 85 h 299"/>
                <a:gd name="T40" fmla="*/ 330 w 368"/>
                <a:gd name="T41" fmla="*/ 75 h 299"/>
                <a:gd name="T42" fmla="*/ 368 w 368"/>
                <a:gd name="T43" fmla="*/ 36 h 2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368" h="299">
                  <a:moveTo>
                    <a:pt x="368" y="36"/>
                  </a:moveTo>
                  <a:cubicBezTo>
                    <a:pt x="354" y="42"/>
                    <a:pt x="340" y="46"/>
                    <a:pt x="324" y="48"/>
                  </a:cubicBezTo>
                  <a:cubicBezTo>
                    <a:pt x="340" y="38"/>
                    <a:pt x="352" y="24"/>
                    <a:pt x="358" y="6"/>
                  </a:cubicBezTo>
                  <a:cubicBezTo>
                    <a:pt x="343" y="15"/>
                    <a:pt x="327" y="21"/>
                    <a:pt x="310" y="24"/>
                  </a:cubicBezTo>
                  <a:cubicBezTo>
                    <a:pt x="296" y="10"/>
                    <a:pt x="276" y="0"/>
                    <a:pt x="255" y="0"/>
                  </a:cubicBezTo>
                  <a:cubicBezTo>
                    <a:pt x="213" y="0"/>
                    <a:pt x="179" y="34"/>
                    <a:pt x="179" y="76"/>
                  </a:cubicBezTo>
                  <a:cubicBezTo>
                    <a:pt x="179" y="82"/>
                    <a:pt x="180" y="88"/>
                    <a:pt x="181" y="93"/>
                  </a:cubicBezTo>
                  <a:cubicBezTo>
                    <a:pt x="118" y="90"/>
                    <a:pt x="63" y="60"/>
                    <a:pt x="25" y="14"/>
                  </a:cubicBezTo>
                  <a:cubicBezTo>
                    <a:pt x="19" y="25"/>
                    <a:pt x="15" y="38"/>
                    <a:pt x="15" y="52"/>
                  </a:cubicBezTo>
                  <a:cubicBezTo>
                    <a:pt x="15" y="78"/>
                    <a:pt x="28" y="101"/>
                    <a:pt x="49" y="115"/>
                  </a:cubicBezTo>
                  <a:cubicBezTo>
                    <a:pt x="36" y="115"/>
                    <a:pt x="25" y="111"/>
                    <a:pt x="15" y="106"/>
                  </a:cubicBezTo>
                  <a:cubicBezTo>
                    <a:pt x="14" y="106"/>
                    <a:pt x="14" y="106"/>
                    <a:pt x="14" y="106"/>
                  </a:cubicBezTo>
                  <a:cubicBezTo>
                    <a:pt x="14" y="143"/>
                    <a:pt x="41" y="174"/>
                    <a:pt x="75" y="181"/>
                  </a:cubicBezTo>
                  <a:cubicBezTo>
                    <a:pt x="69" y="182"/>
                    <a:pt x="62" y="183"/>
                    <a:pt x="55" y="183"/>
                  </a:cubicBezTo>
                  <a:cubicBezTo>
                    <a:pt x="50" y="183"/>
                    <a:pt x="46" y="183"/>
                    <a:pt x="41" y="182"/>
                  </a:cubicBezTo>
                  <a:cubicBezTo>
                    <a:pt x="51" y="212"/>
                    <a:pt x="78" y="234"/>
                    <a:pt x="111" y="234"/>
                  </a:cubicBezTo>
                  <a:cubicBezTo>
                    <a:pt x="86" y="254"/>
                    <a:pt x="53" y="267"/>
                    <a:pt x="18" y="267"/>
                  </a:cubicBezTo>
                  <a:cubicBezTo>
                    <a:pt x="12" y="267"/>
                    <a:pt x="6" y="266"/>
                    <a:pt x="0" y="265"/>
                  </a:cubicBezTo>
                  <a:cubicBezTo>
                    <a:pt x="33" y="287"/>
                    <a:pt x="73" y="299"/>
                    <a:pt x="115" y="299"/>
                  </a:cubicBezTo>
                  <a:cubicBezTo>
                    <a:pt x="254" y="299"/>
                    <a:pt x="330" y="184"/>
                    <a:pt x="330" y="85"/>
                  </a:cubicBezTo>
                  <a:cubicBezTo>
                    <a:pt x="330" y="81"/>
                    <a:pt x="330" y="78"/>
                    <a:pt x="330" y="75"/>
                  </a:cubicBezTo>
                  <a:cubicBezTo>
                    <a:pt x="345" y="64"/>
                    <a:pt x="358" y="51"/>
                    <a:pt x="368" y="36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000"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endParaRPr>
            </a:p>
          </p:txBody>
        </p:sp>
      </p:grpSp>
      <p:sp>
        <p:nvSpPr>
          <p:cNvPr id="71" name="Rectangle 70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SpPr/>
          <p:nvPr/>
        </p:nvSpPr>
        <p:spPr>
          <a:xfrm>
            <a:off x="8889372" y="4719806"/>
            <a:ext cx="1777341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buClr>
                <a:srgbClr val="E24848"/>
              </a:buClr>
            </a:pPr>
            <a:r>
              <a:rPr lang="en-US" sz="1200" noProof="1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rPr>
              <a:t>Click here to add content, content to match the title. </a:t>
            </a:r>
          </a:p>
        </p:txBody>
      </p:sp>
      <p:sp>
        <p:nvSpPr>
          <p:cNvPr id="72" name="TextBox 71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SpPr txBox="1"/>
          <p:nvPr/>
        </p:nvSpPr>
        <p:spPr>
          <a:xfrm>
            <a:off x="8985885" y="4264025"/>
            <a:ext cx="1680845" cy="400050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algn="ctr">
              <a:defRPr sz="2000" spc="-150">
                <a:solidFill>
                  <a:schemeClr val="bg1">
                    <a:lumMod val="50000"/>
                  </a:schemeClr>
                </a:solidFill>
                <a:latin typeface="Titillium" charset="0"/>
                <a:ea typeface="Roboto" panose="02000000000000000000" charset="0"/>
                <a:cs typeface="Open Sans Semibold" panose="020B0706030804020204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en-US" sz="1800" b="1" spc="0">
                <a:gradFill flip="none" rotWithShape="1">
                  <a:gsLst>
                    <a:gs pos="31000">
                      <a:srgbClr val="4CC1BA"/>
                    </a:gs>
                    <a:gs pos="100000">
                      <a:srgbClr val="00B0F0"/>
                    </a:gs>
                  </a:gsLst>
                  <a:lin ang="5400000" scaled="1"/>
                </a:gradFill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rPr>
              <a:t>ENTER YOUR NAME</a:t>
            </a:r>
            <a:endParaRPr lang="id-ID" sz="1800" b="1" spc="0">
              <a:gradFill flip="none" rotWithShape="1">
                <a:gsLst>
                  <a:gs pos="31000">
                    <a:srgbClr val="4CC1BA"/>
                  </a:gs>
                  <a:gs pos="100000">
                    <a:srgbClr val="00B0F0"/>
                  </a:gs>
                </a:gsLst>
                <a:lin ang="5400000" scaled="1"/>
              </a:gradFill>
              <a:latin typeface="Arial" panose="020B0604020202020204" pitchFamily="34" charset="0"/>
              <a:ea typeface="微软雅黑" panose="020B0503020204020204" pitchFamily="34" charset="-122"/>
              <a:cs typeface="思源黑体 CN Regular" panose="020B0500000000000000" charset="-122"/>
              <a:sym typeface="Arial" panose="020B0604020202020204" pitchFamily="34" charset="0"/>
            </a:endParaRPr>
          </a:p>
        </p:txBody>
      </p:sp>
      <p:grpSp>
        <p:nvGrpSpPr>
          <p:cNvPr id="73" name="Group 72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GrpSpPr/>
          <p:nvPr/>
        </p:nvGrpSpPr>
        <p:grpSpPr>
          <a:xfrm>
            <a:off x="9335635" y="5508991"/>
            <a:ext cx="884812" cy="213439"/>
            <a:chOff x="590993" y="1374080"/>
            <a:chExt cx="884812" cy="213438"/>
          </a:xfrm>
          <a:solidFill>
            <a:schemeClr val="bg1">
              <a:lumMod val="65000"/>
            </a:schemeClr>
          </a:solidFill>
        </p:grpSpPr>
        <p:sp>
          <p:nvSpPr>
            <p:cNvPr id="74" name="Freeform 9"/>
            <p:cNvSpPr>
              <a:spLocks noEditPoints="1"/>
            </p:cNvSpPr>
            <p:nvPr/>
          </p:nvSpPr>
          <p:spPr bwMode="auto">
            <a:xfrm>
              <a:off x="590993" y="1374080"/>
              <a:ext cx="209114" cy="209358"/>
            </a:xfrm>
            <a:custGeom>
              <a:avLst/>
              <a:gdLst>
                <a:gd name="T0" fmla="*/ 333 w 360"/>
                <a:gd name="T1" fmla="*/ 0 h 360"/>
                <a:gd name="T2" fmla="*/ 26 w 360"/>
                <a:gd name="T3" fmla="*/ 0 h 360"/>
                <a:gd name="T4" fmla="*/ 0 w 360"/>
                <a:gd name="T5" fmla="*/ 25 h 360"/>
                <a:gd name="T6" fmla="*/ 0 w 360"/>
                <a:gd name="T7" fmla="*/ 334 h 360"/>
                <a:gd name="T8" fmla="*/ 26 w 360"/>
                <a:gd name="T9" fmla="*/ 360 h 360"/>
                <a:gd name="T10" fmla="*/ 333 w 360"/>
                <a:gd name="T11" fmla="*/ 360 h 360"/>
                <a:gd name="T12" fmla="*/ 360 w 360"/>
                <a:gd name="T13" fmla="*/ 334 h 360"/>
                <a:gd name="T14" fmla="*/ 360 w 360"/>
                <a:gd name="T15" fmla="*/ 25 h 360"/>
                <a:gd name="T16" fmla="*/ 333 w 360"/>
                <a:gd name="T17" fmla="*/ 0 h 360"/>
                <a:gd name="T18" fmla="*/ 109 w 360"/>
                <a:gd name="T19" fmla="*/ 301 h 360"/>
                <a:gd name="T20" fmla="*/ 54 w 360"/>
                <a:gd name="T21" fmla="*/ 301 h 360"/>
                <a:gd name="T22" fmla="*/ 54 w 360"/>
                <a:gd name="T23" fmla="*/ 138 h 360"/>
                <a:gd name="T24" fmla="*/ 109 w 360"/>
                <a:gd name="T25" fmla="*/ 138 h 360"/>
                <a:gd name="T26" fmla="*/ 109 w 360"/>
                <a:gd name="T27" fmla="*/ 301 h 360"/>
                <a:gd name="T28" fmla="*/ 82 w 360"/>
                <a:gd name="T29" fmla="*/ 116 h 360"/>
                <a:gd name="T30" fmla="*/ 81 w 360"/>
                <a:gd name="T31" fmla="*/ 116 h 360"/>
                <a:gd name="T32" fmla="*/ 51 w 360"/>
                <a:gd name="T33" fmla="*/ 88 h 360"/>
                <a:gd name="T34" fmla="*/ 82 w 360"/>
                <a:gd name="T35" fmla="*/ 60 h 360"/>
                <a:gd name="T36" fmla="*/ 112 w 360"/>
                <a:gd name="T37" fmla="*/ 88 h 360"/>
                <a:gd name="T38" fmla="*/ 82 w 360"/>
                <a:gd name="T39" fmla="*/ 116 h 360"/>
                <a:gd name="T40" fmla="*/ 305 w 360"/>
                <a:gd name="T41" fmla="*/ 301 h 360"/>
                <a:gd name="T42" fmla="*/ 251 w 360"/>
                <a:gd name="T43" fmla="*/ 301 h 360"/>
                <a:gd name="T44" fmla="*/ 251 w 360"/>
                <a:gd name="T45" fmla="*/ 214 h 360"/>
                <a:gd name="T46" fmla="*/ 223 w 360"/>
                <a:gd name="T47" fmla="*/ 177 h 360"/>
                <a:gd name="T48" fmla="*/ 195 w 360"/>
                <a:gd name="T49" fmla="*/ 197 h 360"/>
                <a:gd name="T50" fmla="*/ 193 w 360"/>
                <a:gd name="T51" fmla="*/ 210 h 360"/>
                <a:gd name="T52" fmla="*/ 193 w 360"/>
                <a:gd name="T53" fmla="*/ 301 h 360"/>
                <a:gd name="T54" fmla="*/ 139 w 360"/>
                <a:gd name="T55" fmla="*/ 301 h 360"/>
                <a:gd name="T56" fmla="*/ 139 w 360"/>
                <a:gd name="T57" fmla="*/ 138 h 360"/>
                <a:gd name="T58" fmla="*/ 193 w 360"/>
                <a:gd name="T59" fmla="*/ 138 h 360"/>
                <a:gd name="T60" fmla="*/ 193 w 360"/>
                <a:gd name="T61" fmla="*/ 161 h 360"/>
                <a:gd name="T62" fmla="*/ 242 w 360"/>
                <a:gd name="T63" fmla="*/ 135 h 360"/>
                <a:gd name="T64" fmla="*/ 305 w 360"/>
                <a:gd name="T65" fmla="*/ 208 h 360"/>
                <a:gd name="T66" fmla="*/ 305 w 360"/>
                <a:gd name="T67" fmla="*/ 301 h 360"/>
                <a:gd name="T68" fmla="*/ 193 w 360"/>
                <a:gd name="T69" fmla="*/ 162 h 360"/>
                <a:gd name="T70" fmla="*/ 193 w 360"/>
                <a:gd name="T71" fmla="*/ 161 h 360"/>
                <a:gd name="T72" fmla="*/ 193 w 360"/>
                <a:gd name="T73" fmla="*/ 162 h 3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360" h="360">
                  <a:moveTo>
                    <a:pt x="333" y="0"/>
                  </a:moveTo>
                  <a:cubicBezTo>
                    <a:pt x="26" y="0"/>
                    <a:pt x="26" y="0"/>
                    <a:pt x="26" y="0"/>
                  </a:cubicBezTo>
                  <a:cubicBezTo>
                    <a:pt x="12" y="0"/>
                    <a:pt x="0" y="11"/>
                    <a:pt x="0" y="25"/>
                  </a:cubicBezTo>
                  <a:cubicBezTo>
                    <a:pt x="0" y="334"/>
                    <a:pt x="0" y="334"/>
                    <a:pt x="0" y="334"/>
                  </a:cubicBezTo>
                  <a:cubicBezTo>
                    <a:pt x="0" y="348"/>
                    <a:pt x="12" y="360"/>
                    <a:pt x="26" y="360"/>
                  </a:cubicBezTo>
                  <a:cubicBezTo>
                    <a:pt x="333" y="360"/>
                    <a:pt x="333" y="360"/>
                    <a:pt x="333" y="360"/>
                  </a:cubicBezTo>
                  <a:cubicBezTo>
                    <a:pt x="348" y="360"/>
                    <a:pt x="360" y="348"/>
                    <a:pt x="360" y="334"/>
                  </a:cubicBezTo>
                  <a:cubicBezTo>
                    <a:pt x="360" y="25"/>
                    <a:pt x="360" y="25"/>
                    <a:pt x="360" y="25"/>
                  </a:cubicBezTo>
                  <a:cubicBezTo>
                    <a:pt x="360" y="11"/>
                    <a:pt x="348" y="0"/>
                    <a:pt x="333" y="0"/>
                  </a:cubicBezTo>
                  <a:close/>
                  <a:moveTo>
                    <a:pt x="109" y="301"/>
                  </a:moveTo>
                  <a:cubicBezTo>
                    <a:pt x="54" y="301"/>
                    <a:pt x="54" y="301"/>
                    <a:pt x="54" y="301"/>
                  </a:cubicBezTo>
                  <a:cubicBezTo>
                    <a:pt x="54" y="138"/>
                    <a:pt x="54" y="138"/>
                    <a:pt x="54" y="138"/>
                  </a:cubicBezTo>
                  <a:cubicBezTo>
                    <a:pt x="109" y="138"/>
                    <a:pt x="109" y="138"/>
                    <a:pt x="109" y="138"/>
                  </a:cubicBezTo>
                  <a:lnTo>
                    <a:pt x="109" y="301"/>
                  </a:lnTo>
                  <a:close/>
                  <a:moveTo>
                    <a:pt x="82" y="116"/>
                  </a:moveTo>
                  <a:cubicBezTo>
                    <a:pt x="81" y="116"/>
                    <a:pt x="81" y="116"/>
                    <a:pt x="81" y="116"/>
                  </a:cubicBezTo>
                  <a:cubicBezTo>
                    <a:pt x="63" y="116"/>
                    <a:pt x="51" y="104"/>
                    <a:pt x="51" y="88"/>
                  </a:cubicBezTo>
                  <a:cubicBezTo>
                    <a:pt x="51" y="72"/>
                    <a:pt x="63" y="60"/>
                    <a:pt x="82" y="60"/>
                  </a:cubicBezTo>
                  <a:cubicBezTo>
                    <a:pt x="101" y="60"/>
                    <a:pt x="112" y="72"/>
                    <a:pt x="112" y="88"/>
                  </a:cubicBezTo>
                  <a:cubicBezTo>
                    <a:pt x="112" y="104"/>
                    <a:pt x="101" y="116"/>
                    <a:pt x="82" y="116"/>
                  </a:cubicBezTo>
                  <a:close/>
                  <a:moveTo>
                    <a:pt x="305" y="301"/>
                  </a:moveTo>
                  <a:cubicBezTo>
                    <a:pt x="251" y="301"/>
                    <a:pt x="251" y="301"/>
                    <a:pt x="251" y="301"/>
                  </a:cubicBezTo>
                  <a:cubicBezTo>
                    <a:pt x="251" y="214"/>
                    <a:pt x="251" y="214"/>
                    <a:pt x="251" y="214"/>
                  </a:cubicBezTo>
                  <a:cubicBezTo>
                    <a:pt x="251" y="192"/>
                    <a:pt x="243" y="177"/>
                    <a:pt x="223" y="177"/>
                  </a:cubicBezTo>
                  <a:cubicBezTo>
                    <a:pt x="208" y="177"/>
                    <a:pt x="199" y="187"/>
                    <a:pt x="195" y="197"/>
                  </a:cubicBezTo>
                  <a:cubicBezTo>
                    <a:pt x="194" y="200"/>
                    <a:pt x="193" y="205"/>
                    <a:pt x="193" y="210"/>
                  </a:cubicBezTo>
                  <a:cubicBezTo>
                    <a:pt x="193" y="301"/>
                    <a:pt x="193" y="301"/>
                    <a:pt x="193" y="301"/>
                  </a:cubicBezTo>
                  <a:cubicBezTo>
                    <a:pt x="139" y="301"/>
                    <a:pt x="139" y="301"/>
                    <a:pt x="139" y="301"/>
                  </a:cubicBezTo>
                  <a:cubicBezTo>
                    <a:pt x="139" y="301"/>
                    <a:pt x="140" y="154"/>
                    <a:pt x="139" y="138"/>
                  </a:cubicBezTo>
                  <a:cubicBezTo>
                    <a:pt x="193" y="138"/>
                    <a:pt x="193" y="138"/>
                    <a:pt x="193" y="138"/>
                  </a:cubicBezTo>
                  <a:cubicBezTo>
                    <a:pt x="193" y="161"/>
                    <a:pt x="193" y="161"/>
                    <a:pt x="193" y="161"/>
                  </a:cubicBezTo>
                  <a:cubicBezTo>
                    <a:pt x="201" y="150"/>
                    <a:pt x="213" y="135"/>
                    <a:pt x="242" y="135"/>
                  </a:cubicBezTo>
                  <a:cubicBezTo>
                    <a:pt x="278" y="135"/>
                    <a:pt x="305" y="158"/>
                    <a:pt x="305" y="208"/>
                  </a:cubicBezTo>
                  <a:lnTo>
                    <a:pt x="305" y="301"/>
                  </a:lnTo>
                  <a:close/>
                  <a:moveTo>
                    <a:pt x="193" y="162"/>
                  </a:moveTo>
                  <a:cubicBezTo>
                    <a:pt x="193" y="162"/>
                    <a:pt x="193" y="162"/>
                    <a:pt x="193" y="161"/>
                  </a:cubicBezTo>
                  <a:cubicBezTo>
                    <a:pt x="193" y="162"/>
                    <a:pt x="193" y="162"/>
                    <a:pt x="193" y="162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d-ID" sz="2000"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endParaRPr>
            </a:p>
          </p:txBody>
        </p:sp>
        <p:sp>
          <p:nvSpPr>
            <p:cNvPr id="75" name="Freeform 13"/>
            <p:cNvSpPr/>
            <p:nvPr/>
          </p:nvSpPr>
          <p:spPr bwMode="auto">
            <a:xfrm>
              <a:off x="896505" y="1382179"/>
              <a:ext cx="201412" cy="201646"/>
            </a:xfrm>
            <a:custGeom>
              <a:avLst/>
              <a:gdLst>
                <a:gd name="T0" fmla="*/ 360 w 360"/>
                <a:gd name="T1" fmla="*/ 60 h 360"/>
                <a:gd name="T2" fmla="*/ 300 w 360"/>
                <a:gd name="T3" fmla="*/ 0 h 360"/>
                <a:gd name="T4" fmla="*/ 60 w 360"/>
                <a:gd name="T5" fmla="*/ 0 h 360"/>
                <a:gd name="T6" fmla="*/ 0 w 360"/>
                <a:gd name="T7" fmla="*/ 60 h 360"/>
                <a:gd name="T8" fmla="*/ 0 w 360"/>
                <a:gd name="T9" fmla="*/ 300 h 360"/>
                <a:gd name="T10" fmla="*/ 60 w 360"/>
                <a:gd name="T11" fmla="*/ 360 h 360"/>
                <a:gd name="T12" fmla="*/ 180 w 360"/>
                <a:gd name="T13" fmla="*/ 360 h 360"/>
                <a:gd name="T14" fmla="*/ 180 w 360"/>
                <a:gd name="T15" fmla="*/ 224 h 360"/>
                <a:gd name="T16" fmla="*/ 136 w 360"/>
                <a:gd name="T17" fmla="*/ 224 h 360"/>
                <a:gd name="T18" fmla="*/ 136 w 360"/>
                <a:gd name="T19" fmla="*/ 164 h 360"/>
                <a:gd name="T20" fmla="*/ 180 w 360"/>
                <a:gd name="T21" fmla="*/ 164 h 360"/>
                <a:gd name="T22" fmla="*/ 180 w 360"/>
                <a:gd name="T23" fmla="*/ 141 h 360"/>
                <a:gd name="T24" fmla="*/ 248 w 360"/>
                <a:gd name="T25" fmla="*/ 64 h 360"/>
                <a:gd name="T26" fmla="*/ 296 w 360"/>
                <a:gd name="T27" fmla="*/ 64 h 360"/>
                <a:gd name="T28" fmla="*/ 296 w 360"/>
                <a:gd name="T29" fmla="*/ 124 h 360"/>
                <a:gd name="T30" fmla="*/ 248 w 360"/>
                <a:gd name="T31" fmla="*/ 124 h 360"/>
                <a:gd name="T32" fmla="*/ 236 w 360"/>
                <a:gd name="T33" fmla="*/ 140 h 360"/>
                <a:gd name="T34" fmla="*/ 236 w 360"/>
                <a:gd name="T35" fmla="*/ 164 h 360"/>
                <a:gd name="T36" fmla="*/ 296 w 360"/>
                <a:gd name="T37" fmla="*/ 164 h 360"/>
                <a:gd name="T38" fmla="*/ 296 w 360"/>
                <a:gd name="T39" fmla="*/ 224 h 360"/>
                <a:gd name="T40" fmla="*/ 236 w 360"/>
                <a:gd name="T41" fmla="*/ 224 h 360"/>
                <a:gd name="T42" fmla="*/ 236 w 360"/>
                <a:gd name="T43" fmla="*/ 360 h 360"/>
                <a:gd name="T44" fmla="*/ 300 w 360"/>
                <a:gd name="T45" fmla="*/ 360 h 360"/>
                <a:gd name="T46" fmla="*/ 360 w 360"/>
                <a:gd name="T47" fmla="*/ 300 h 360"/>
                <a:gd name="T48" fmla="*/ 360 w 360"/>
                <a:gd name="T49" fmla="*/ 60 h 3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360" h="360">
                  <a:moveTo>
                    <a:pt x="360" y="60"/>
                  </a:moveTo>
                  <a:cubicBezTo>
                    <a:pt x="360" y="29"/>
                    <a:pt x="332" y="0"/>
                    <a:pt x="300" y="0"/>
                  </a:cubicBezTo>
                  <a:cubicBezTo>
                    <a:pt x="60" y="0"/>
                    <a:pt x="60" y="0"/>
                    <a:pt x="60" y="0"/>
                  </a:cubicBezTo>
                  <a:cubicBezTo>
                    <a:pt x="28" y="0"/>
                    <a:pt x="0" y="29"/>
                    <a:pt x="0" y="60"/>
                  </a:cubicBezTo>
                  <a:cubicBezTo>
                    <a:pt x="0" y="300"/>
                    <a:pt x="0" y="300"/>
                    <a:pt x="0" y="300"/>
                  </a:cubicBezTo>
                  <a:cubicBezTo>
                    <a:pt x="0" y="332"/>
                    <a:pt x="28" y="360"/>
                    <a:pt x="60" y="360"/>
                  </a:cubicBezTo>
                  <a:cubicBezTo>
                    <a:pt x="180" y="360"/>
                    <a:pt x="180" y="360"/>
                    <a:pt x="180" y="360"/>
                  </a:cubicBezTo>
                  <a:cubicBezTo>
                    <a:pt x="180" y="224"/>
                    <a:pt x="180" y="224"/>
                    <a:pt x="180" y="224"/>
                  </a:cubicBezTo>
                  <a:cubicBezTo>
                    <a:pt x="136" y="224"/>
                    <a:pt x="136" y="224"/>
                    <a:pt x="136" y="224"/>
                  </a:cubicBezTo>
                  <a:cubicBezTo>
                    <a:pt x="136" y="164"/>
                    <a:pt x="136" y="164"/>
                    <a:pt x="136" y="164"/>
                  </a:cubicBezTo>
                  <a:cubicBezTo>
                    <a:pt x="180" y="164"/>
                    <a:pt x="180" y="164"/>
                    <a:pt x="180" y="164"/>
                  </a:cubicBezTo>
                  <a:cubicBezTo>
                    <a:pt x="180" y="141"/>
                    <a:pt x="180" y="141"/>
                    <a:pt x="180" y="141"/>
                  </a:cubicBezTo>
                  <a:cubicBezTo>
                    <a:pt x="180" y="100"/>
                    <a:pt x="210" y="64"/>
                    <a:pt x="248" y="64"/>
                  </a:cubicBezTo>
                  <a:cubicBezTo>
                    <a:pt x="296" y="64"/>
                    <a:pt x="296" y="64"/>
                    <a:pt x="296" y="64"/>
                  </a:cubicBezTo>
                  <a:cubicBezTo>
                    <a:pt x="296" y="124"/>
                    <a:pt x="296" y="124"/>
                    <a:pt x="296" y="124"/>
                  </a:cubicBezTo>
                  <a:cubicBezTo>
                    <a:pt x="248" y="124"/>
                    <a:pt x="248" y="124"/>
                    <a:pt x="248" y="124"/>
                  </a:cubicBezTo>
                  <a:cubicBezTo>
                    <a:pt x="242" y="124"/>
                    <a:pt x="236" y="131"/>
                    <a:pt x="236" y="140"/>
                  </a:cubicBezTo>
                  <a:cubicBezTo>
                    <a:pt x="236" y="164"/>
                    <a:pt x="236" y="164"/>
                    <a:pt x="236" y="164"/>
                  </a:cubicBezTo>
                  <a:cubicBezTo>
                    <a:pt x="296" y="164"/>
                    <a:pt x="296" y="164"/>
                    <a:pt x="296" y="164"/>
                  </a:cubicBezTo>
                  <a:cubicBezTo>
                    <a:pt x="296" y="224"/>
                    <a:pt x="296" y="224"/>
                    <a:pt x="296" y="224"/>
                  </a:cubicBezTo>
                  <a:cubicBezTo>
                    <a:pt x="236" y="224"/>
                    <a:pt x="236" y="224"/>
                    <a:pt x="236" y="224"/>
                  </a:cubicBezTo>
                  <a:cubicBezTo>
                    <a:pt x="236" y="360"/>
                    <a:pt x="236" y="360"/>
                    <a:pt x="236" y="360"/>
                  </a:cubicBezTo>
                  <a:cubicBezTo>
                    <a:pt x="300" y="360"/>
                    <a:pt x="300" y="360"/>
                    <a:pt x="300" y="360"/>
                  </a:cubicBezTo>
                  <a:cubicBezTo>
                    <a:pt x="332" y="360"/>
                    <a:pt x="360" y="332"/>
                    <a:pt x="360" y="300"/>
                  </a:cubicBezTo>
                  <a:lnTo>
                    <a:pt x="360" y="6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d-ID" sz="2000"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endParaRPr>
            </a:p>
          </p:txBody>
        </p:sp>
        <p:sp>
          <p:nvSpPr>
            <p:cNvPr id="76" name="Freeform 16"/>
            <p:cNvSpPr/>
            <p:nvPr/>
          </p:nvSpPr>
          <p:spPr bwMode="auto">
            <a:xfrm>
              <a:off x="1223340" y="1382353"/>
              <a:ext cx="252465" cy="205165"/>
            </a:xfrm>
            <a:custGeom>
              <a:avLst/>
              <a:gdLst>
                <a:gd name="T0" fmla="*/ 368 w 368"/>
                <a:gd name="T1" fmla="*/ 36 h 299"/>
                <a:gd name="T2" fmla="*/ 324 w 368"/>
                <a:gd name="T3" fmla="*/ 48 h 299"/>
                <a:gd name="T4" fmla="*/ 358 w 368"/>
                <a:gd name="T5" fmla="*/ 6 h 299"/>
                <a:gd name="T6" fmla="*/ 310 w 368"/>
                <a:gd name="T7" fmla="*/ 24 h 299"/>
                <a:gd name="T8" fmla="*/ 255 w 368"/>
                <a:gd name="T9" fmla="*/ 0 h 299"/>
                <a:gd name="T10" fmla="*/ 179 w 368"/>
                <a:gd name="T11" fmla="*/ 76 h 299"/>
                <a:gd name="T12" fmla="*/ 181 w 368"/>
                <a:gd name="T13" fmla="*/ 93 h 299"/>
                <a:gd name="T14" fmla="*/ 25 w 368"/>
                <a:gd name="T15" fmla="*/ 14 h 299"/>
                <a:gd name="T16" fmla="*/ 15 w 368"/>
                <a:gd name="T17" fmla="*/ 52 h 299"/>
                <a:gd name="T18" fmla="*/ 49 w 368"/>
                <a:gd name="T19" fmla="*/ 115 h 299"/>
                <a:gd name="T20" fmla="*/ 15 w 368"/>
                <a:gd name="T21" fmla="*/ 106 h 299"/>
                <a:gd name="T22" fmla="*/ 14 w 368"/>
                <a:gd name="T23" fmla="*/ 106 h 299"/>
                <a:gd name="T24" fmla="*/ 75 w 368"/>
                <a:gd name="T25" fmla="*/ 181 h 299"/>
                <a:gd name="T26" fmla="*/ 55 w 368"/>
                <a:gd name="T27" fmla="*/ 183 h 299"/>
                <a:gd name="T28" fmla="*/ 41 w 368"/>
                <a:gd name="T29" fmla="*/ 182 h 299"/>
                <a:gd name="T30" fmla="*/ 111 w 368"/>
                <a:gd name="T31" fmla="*/ 234 h 299"/>
                <a:gd name="T32" fmla="*/ 18 w 368"/>
                <a:gd name="T33" fmla="*/ 267 h 299"/>
                <a:gd name="T34" fmla="*/ 0 w 368"/>
                <a:gd name="T35" fmla="*/ 265 h 299"/>
                <a:gd name="T36" fmla="*/ 115 w 368"/>
                <a:gd name="T37" fmla="*/ 299 h 299"/>
                <a:gd name="T38" fmla="*/ 330 w 368"/>
                <a:gd name="T39" fmla="*/ 85 h 299"/>
                <a:gd name="T40" fmla="*/ 330 w 368"/>
                <a:gd name="T41" fmla="*/ 75 h 299"/>
                <a:gd name="T42" fmla="*/ 368 w 368"/>
                <a:gd name="T43" fmla="*/ 36 h 2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368" h="299">
                  <a:moveTo>
                    <a:pt x="368" y="36"/>
                  </a:moveTo>
                  <a:cubicBezTo>
                    <a:pt x="354" y="42"/>
                    <a:pt x="340" y="46"/>
                    <a:pt x="324" y="48"/>
                  </a:cubicBezTo>
                  <a:cubicBezTo>
                    <a:pt x="340" y="38"/>
                    <a:pt x="352" y="24"/>
                    <a:pt x="358" y="6"/>
                  </a:cubicBezTo>
                  <a:cubicBezTo>
                    <a:pt x="343" y="15"/>
                    <a:pt x="327" y="21"/>
                    <a:pt x="310" y="24"/>
                  </a:cubicBezTo>
                  <a:cubicBezTo>
                    <a:pt x="296" y="10"/>
                    <a:pt x="276" y="0"/>
                    <a:pt x="255" y="0"/>
                  </a:cubicBezTo>
                  <a:cubicBezTo>
                    <a:pt x="213" y="0"/>
                    <a:pt x="179" y="34"/>
                    <a:pt x="179" y="76"/>
                  </a:cubicBezTo>
                  <a:cubicBezTo>
                    <a:pt x="179" y="82"/>
                    <a:pt x="180" y="88"/>
                    <a:pt x="181" y="93"/>
                  </a:cubicBezTo>
                  <a:cubicBezTo>
                    <a:pt x="118" y="90"/>
                    <a:pt x="63" y="60"/>
                    <a:pt x="25" y="14"/>
                  </a:cubicBezTo>
                  <a:cubicBezTo>
                    <a:pt x="19" y="25"/>
                    <a:pt x="15" y="38"/>
                    <a:pt x="15" y="52"/>
                  </a:cubicBezTo>
                  <a:cubicBezTo>
                    <a:pt x="15" y="78"/>
                    <a:pt x="28" y="101"/>
                    <a:pt x="49" y="115"/>
                  </a:cubicBezTo>
                  <a:cubicBezTo>
                    <a:pt x="36" y="115"/>
                    <a:pt x="25" y="111"/>
                    <a:pt x="15" y="106"/>
                  </a:cubicBezTo>
                  <a:cubicBezTo>
                    <a:pt x="14" y="106"/>
                    <a:pt x="14" y="106"/>
                    <a:pt x="14" y="106"/>
                  </a:cubicBezTo>
                  <a:cubicBezTo>
                    <a:pt x="14" y="143"/>
                    <a:pt x="41" y="174"/>
                    <a:pt x="75" y="181"/>
                  </a:cubicBezTo>
                  <a:cubicBezTo>
                    <a:pt x="69" y="182"/>
                    <a:pt x="62" y="183"/>
                    <a:pt x="55" y="183"/>
                  </a:cubicBezTo>
                  <a:cubicBezTo>
                    <a:pt x="50" y="183"/>
                    <a:pt x="46" y="183"/>
                    <a:pt x="41" y="182"/>
                  </a:cubicBezTo>
                  <a:cubicBezTo>
                    <a:pt x="51" y="212"/>
                    <a:pt x="78" y="234"/>
                    <a:pt x="111" y="234"/>
                  </a:cubicBezTo>
                  <a:cubicBezTo>
                    <a:pt x="86" y="254"/>
                    <a:pt x="53" y="267"/>
                    <a:pt x="18" y="267"/>
                  </a:cubicBezTo>
                  <a:cubicBezTo>
                    <a:pt x="12" y="267"/>
                    <a:pt x="6" y="266"/>
                    <a:pt x="0" y="265"/>
                  </a:cubicBezTo>
                  <a:cubicBezTo>
                    <a:pt x="33" y="287"/>
                    <a:pt x="73" y="299"/>
                    <a:pt x="115" y="299"/>
                  </a:cubicBezTo>
                  <a:cubicBezTo>
                    <a:pt x="254" y="299"/>
                    <a:pt x="330" y="184"/>
                    <a:pt x="330" y="85"/>
                  </a:cubicBezTo>
                  <a:cubicBezTo>
                    <a:pt x="330" y="81"/>
                    <a:pt x="330" y="78"/>
                    <a:pt x="330" y="75"/>
                  </a:cubicBezTo>
                  <a:cubicBezTo>
                    <a:pt x="345" y="64"/>
                    <a:pt x="358" y="51"/>
                    <a:pt x="368" y="36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000"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endParaRPr>
            </a:p>
          </p:txBody>
        </p:sp>
      </p:grpSp>
      <p:sp>
        <p:nvSpPr>
          <p:cNvPr id="49" name="Rectangle 3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SpPr/>
          <p:nvPr>
            <p:custDataLst>
              <p:tags r:id="rId1"/>
            </p:custDataLst>
          </p:nvPr>
        </p:nvSpPr>
        <p:spPr>
          <a:xfrm>
            <a:off x="1765300" y="769998"/>
            <a:ext cx="8661400" cy="701731"/>
          </a:xfrm>
          <a:prstGeom prst="rect">
            <a:avLst/>
          </a:prstGeom>
          <a:noFill/>
        </p:spPr>
        <p:txBody>
          <a:bodyPr vert="horz" wrap="square" lIns="0" tIns="91440" rIns="0" bIns="0" rtlCol="0" anchor="ctr" anchorCtr="0">
            <a:spAutoFit/>
          </a:bodyPr>
          <a:lstStyle/>
          <a:p>
            <a:pPr marL="228600" indent="-228600" algn="ctr">
              <a:lnSpc>
                <a:spcPct val="90000"/>
              </a:lnSpc>
              <a:spcBef>
                <a:spcPts val="1000"/>
              </a:spcBef>
              <a:buFont typeface="思源黑体 CN Regular" panose="020B0500000000000000" charset="-122"/>
              <a:buNone/>
            </a:pPr>
            <a:r>
              <a:rPr lang="en-US" altLang="zh-CN" sz="4400" b="1" spc="-10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  <a:sym typeface="Arial" panose="020B0604020202020204" pitchFamily="34" charset="0"/>
              </a:rPr>
              <a:t>OUR TEAM</a:t>
            </a:r>
            <a:endParaRPr lang="en-US" sz="4400" b="1" spc="-100">
              <a:solidFill>
                <a:schemeClr val="tx1"/>
              </a:solidFill>
              <a:latin typeface="Arial" panose="020B0604020202020204" pitchFamily="34" charset="0"/>
              <a:ea typeface="微软雅黑" panose="020B0503020204020204" pitchFamily="34" charset="-122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cxnSp>
        <p:nvCxnSpPr>
          <p:cNvPr id="79" name="Straight Connector 19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CxnSpPr/>
          <p:nvPr/>
        </p:nvCxnSpPr>
        <p:spPr>
          <a:xfrm>
            <a:off x="0" y="1209529"/>
            <a:ext cx="4403859" cy="0"/>
          </a:xfrm>
          <a:prstGeom prst="line">
            <a:avLst/>
          </a:prstGeom>
          <a:noFill/>
          <a:ln w="28575" cap="flat">
            <a:solidFill>
              <a:schemeClr val="tx2"/>
            </a:solidFill>
            <a:prstDash val="solid"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83" name="Straight Connector 19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CxnSpPr/>
          <p:nvPr/>
        </p:nvCxnSpPr>
        <p:spPr>
          <a:xfrm>
            <a:off x="7788141" y="1209529"/>
            <a:ext cx="4403859" cy="0"/>
          </a:xfrm>
          <a:prstGeom prst="line">
            <a:avLst/>
          </a:prstGeom>
          <a:noFill/>
          <a:ln w="28575" cap="flat">
            <a:solidFill>
              <a:schemeClr val="tx2"/>
            </a:solidFill>
            <a:prstDash val="solid"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84" name="Text Placeholder 4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SpPr txBox="1"/>
          <p:nvPr/>
        </p:nvSpPr>
        <p:spPr>
          <a:xfrm>
            <a:off x="4713367" y="537937"/>
            <a:ext cx="2765265" cy="266735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8800" b="0" kern="1200">
                <a:solidFill>
                  <a:schemeClr val="bg1"/>
                </a:solidFill>
                <a:latin typeface="Levenim MT" panose="02010502060101010101" pitchFamily="2" charset="-79"/>
                <a:ea typeface="Yu Gothic" panose="020B0400000000000000" pitchFamily="34" charset="-128"/>
                <a:cs typeface="Levenim MT" panose="02010502060101010101" pitchFamily="2" charset="-79"/>
              </a:defRPr>
            </a:lvl1pPr>
            <a:lvl2pPr marL="742950" indent="-28575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dist"/>
            <a:r>
              <a:rPr lang="en-US" sz="1100" spc="-30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等线" panose="02010600030101010101" charset="-122"/>
                <a:sym typeface="Arial" panose="020B0604020202020204" pitchFamily="34" charset="0"/>
              </a:rPr>
              <a:t>T     H     E               M     O     D     E     R     N               P     R    E     S     E    N     T     A     T     I     O     N</a:t>
            </a:r>
          </a:p>
        </p:txBody>
      </p:sp>
      <p:sp>
        <p:nvSpPr>
          <p:cNvPr id="85" name="矩形 84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SpPr/>
          <p:nvPr/>
        </p:nvSpPr>
        <p:spPr>
          <a:xfrm>
            <a:off x="11071352" y="0"/>
            <a:ext cx="596900" cy="723900"/>
          </a:xfrm>
          <a:prstGeom prst="rect">
            <a:avLst/>
          </a:prstGeom>
          <a:solidFill>
            <a:srgbClr val="002BF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latin typeface="Arial" panose="020B0604020202020204" pitchFamily="34" charset="0"/>
              <a:ea typeface="微软雅黑" panose="020B0503020204020204" pitchFamily="34" charset="-122"/>
              <a:cs typeface="思源黑体 CN Regular" panose="020B0500000000000000" charset="-122"/>
              <a:sym typeface="Arial" panose="020B0604020202020204" pitchFamily="34" charset="0"/>
            </a:endParaRPr>
          </a:p>
        </p:txBody>
      </p:sp>
      <p:sp>
        <p:nvSpPr>
          <p:cNvPr id="86" name="Shape 3891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SpPr/>
          <p:nvPr/>
        </p:nvSpPr>
        <p:spPr>
          <a:xfrm>
            <a:off x="11232845" y="162829"/>
            <a:ext cx="279033" cy="279033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8429" y="14128"/>
                </a:moveTo>
                <a:cubicBezTo>
                  <a:pt x="17041" y="13430"/>
                  <a:pt x="15777" y="12523"/>
                  <a:pt x="14684" y="11440"/>
                </a:cubicBezTo>
                <a:cubicBezTo>
                  <a:pt x="15214" y="10618"/>
                  <a:pt x="15664" y="9739"/>
                  <a:pt x="16034" y="8820"/>
                </a:cubicBezTo>
                <a:cubicBezTo>
                  <a:pt x="16089" y="8826"/>
                  <a:pt x="16143" y="8836"/>
                  <a:pt x="16200" y="8836"/>
                </a:cubicBezTo>
                <a:cubicBezTo>
                  <a:pt x="17013" y="8836"/>
                  <a:pt x="17673" y="8178"/>
                  <a:pt x="17673" y="7364"/>
                </a:cubicBezTo>
                <a:cubicBezTo>
                  <a:pt x="17673" y="6787"/>
                  <a:pt x="17339" y="6295"/>
                  <a:pt x="16856" y="6052"/>
                </a:cubicBezTo>
                <a:cubicBezTo>
                  <a:pt x="17033" y="5170"/>
                  <a:pt x="17144" y="4264"/>
                  <a:pt x="17167" y="3336"/>
                </a:cubicBezTo>
                <a:cubicBezTo>
                  <a:pt x="19277" y="5136"/>
                  <a:pt x="20618" y="7809"/>
                  <a:pt x="20618" y="10800"/>
                </a:cubicBezTo>
                <a:cubicBezTo>
                  <a:pt x="20618" y="11764"/>
                  <a:pt x="20469" y="12690"/>
                  <a:pt x="20209" y="13568"/>
                </a:cubicBezTo>
                <a:cubicBezTo>
                  <a:pt x="19628" y="13783"/>
                  <a:pt x="19034" y="13971"/>
                  <a:pt x="18429" y="14128"/>
                </a:cubicBezTo>
                <a:moveTo>
                  <a:pt x="10800" y="20618"/>
                </a:moveTo>
                <a:cubicBezTo>
                  <a:pt x="8406" y="20618"/>
                  <a:pt x="6213" y="19759"/>
                  <a:pt x="4509" y="18335"/>
                </a:cubicBezTo>
                <a:cubicBezTo>
                  <a:pt x="6552" y="17934"/>
                  <a:pt x="8450" y="17135"/>
                  <a:pt x="10128" y="16031"/>
                </a:cubicBezTo>
                <a:cubicBezTo>
                  <a:pt x="10330" y="16136"/>
                  <a:pt x="10556" y="16200"/>
                  <a:pt x="10800" y="16200"/>
                </a:cubicBezTo>
                <a:cubicBezTo>
                  <a:pt x="11273" y="16200"/>
                  <a:pt x="11689" y="15974"/>
                  <a:pt x="11959" y="15627"/>
                </a:cubicBezTo>
                <a:cubicBezTo>
                  <a:pt x="12547" y="15680"/>
                  <a:pt x="13142" y="15709"/>
                  <a:pt x="13745" y="15709"/>
                </a:cubicBezTo>
                <a:cubicBezTo>
                  <a:pt x="15323" y="15709"/>
                  <a:pt x="16852" y="15508"/>
                  <a:pt x="18322" y="15156"/>
                </a:cubicBezTo>
                <a:cubicBezTo>
                  <a:pt x="18660" y="15317"/>
                  <a:pt x="18998" y="15480"/>
                  <a:pt x="19350" y="15618"/>
                </a:cubicBezTo>
                <a:cubicBezTo>
                  <a:pt x="17665" y="18601"/>
                  <a:pt x="14470" y="20618"/>
                  <a:pt x="10800" y="20618"/>
                </a:cubicBezTo>
                <a:moveTo>
                  <a:pt x="3539" y="17393"/>
                </a:moveTo>
                <a:cubicBezTo>
                  <a:pt x="3476" y="16840"/>
                  <a:pt x="3436" y="16280"/>
                  <a:pt x="3436" y="15709"/>
                </a:cubicBezTo>
                <a:cubicBezTo>
                  <a:pt x="3436" y="14764"/>
                  <a:pt x="3536" y="13842"/>
                  <a:pt x="3707" y="12946"/>
                </a:cubicBezTo>
                <a:cubicBezTo>
                  <a:pt x="5455" y="13988"/>
                  <a:pt x="7377" y="14767"/>
                  <a:pt x="9421" y="15227"/>
                </a:cubicBezTo>
                <a:cubicBezTo>
                  <a:pt x="9431" y="15254"/>
                  <a:pt x="9436" y="15282"/>
                  <a:pt x="9447" y="15308"/>
                </a:cubicBezTo>
                <a:cubicBezTo>
                  <a:pt x="7724" y="16421"/>
                  <a:pt x="5761" y="17193"/>
                  <a:pt x="3643" y="17507"/>
                </a:cubicBezTo>
                <a:cubicBezTo>
                  <a:pt x="3608" y="17469"/>
                  <a:pt x="3573" y="17430"/>
                  <a:pt x="3539" y="17393"/>
                </a:cubicBezTo>
                <a:moveTo>
                  <a:pt x="3075" y="11369"/>
                </a:moveTo>
                <a:cubicBezTo>
                  <a:pt x="2361" y="10869"/>
                  <a:pt x="1683" y="10322"/>
                  <a:pt x="1046" y="9729"/>
                </a:cubicBezTo>
                <a:cubicBezTo>
                  <a:pt x="1528" y="5299"/>
                  <a:pt x="4955" y="1762"/>
                  <a:pt x="9331" y="1104"/>
                </a:cubicBezTo>
                <a:cubicBezTo>
                  <a:pt x="9335" y="1629"/>
                  <a:pt x="9363" y="2148"/>
                  <a:pt x="9417" y="2660"/>
                </a:cubicBezTo>
                <a:cubicBezTo>
                  <a:pt x="8572" y="3227"/>
                  <a:pt x="7787" y="3879"/>
                  <a:pt x="7069" y="4597"/>
                </a:cubicBezTo>
                <a:cubicBezTo>
                  <a:pt x="6863" y="4486"/>
                  <a:pt x="6632" y="4418"/>
                  <a:pt x="6382" y="4418"/>
                </a:cubicBezTo>
                <a:cubicBezTo>
                  <a:pt x="5569" y="4418"/>
                  <a:pt x="4909" y="5078"/>
                  <a:pt x="4909" y="5891"/>
                </a:cubicBezTo>
                <a:cubicBezTo>
                  <a:pt x="4909" y="6236"/>
                  <a:pt x="5033" y="6549"/>
                  <a:pt x="5231" y="6800"/>
                </a:cubicBezTo>
                <a:cubicBezTo>
                  <a:pt x="4279" y="8179"/>
                  <a:pt x="3550" y="9719"/>
                  <a:pt x="3075" y="11369"/>
                </a:cubicBezTo>
                <a:moveTo>
                  <a:pt x="2466" y="15973"/>
                </a:moveTo>
                <a:cubicBezTo>
                  <a:pt x="1563" y="14521"/>
                  <a:pt x="1025" y="12821"/>
                  <a:pt x="989" y="10995"/>
                </a:cubicBezTo>
                <a:cubicBezTo>
                  <a:pt x="1570" y="11492"/>
                  <a:pt x="2180" y="11955"/>
                  <a:pt x="2817" y="12383"/>
                </a:cubicBezTo>
                <a:cubicBezTo>
                  <a:pt x="2585" y="13456"/>
                  <a:pt x="2455" y="14567"/>
                  <a:pt x="2455" y="15709"/>
                </a:cubicBezTo>
                <a:cubicBezTo>
                  <a:pt x="2455" y="15798"/>
                  <a:pt x="2464" y="15885"/>
                  <a:pt x="2466" y="15973"/>
                </a:cubicBezTo>
                <a:moveTo>
                  <a:pt x="13428" y="11540"/>
                </a:moveTo>
                <a:cubicBezTo>
                  <a:pt x="12907" y="12264"/>
                  <a:pt x="12315" y="12931"/>
                  <a:pt x="11674" y="13548"/>
                </a:cubicBezTo>
                <a:cubicBezTo>
                  <a:pt x="11429" y="13366"/>
                  <a:pt x="11129" y="13255"/>
                  <a:pt x="10800" y="13255"/>
                </a:cubicBezTo>
                <a:cubicBezTo>
                  <a:pt x="10166" y="13255"/>
                  <a:pt x="9631" y="13657"/>
                  <a:pt x="9423" y="14218"/>
                </a:cubicBezTo>
                <a:cubicBezTo>
                  <a:pt x="7455" y="13751"/>
                  <a:pt x="5607" y="12974"/>
                  <a:pt x="3936" y="11937"/>
                </a:cubicBezTo>
                <a:cubicBezTo>
                  <a:pt x="4379" y="10266"/>
                  <a:pt x="5100" y="8709"/>
                  <a:pt x="6060" y="7326"/>
                </a:cubicBezTo>
                <a:cubicBezTo>
                  <a:pt x="6164" y="7349"/>
                  <a:pt x="6271" y="7364"/>
                  <a:pt x="6382" y="7364"/>
                </a:cubicBezTo>
                <a:cubicBezTo>
                  <a:pt x="7195" y="7364"/>
                  <a:pt x="7855" y="6705"/>
                  <a:pt x="7855" y="5891"/>
                </a:cubicBezTo>
                <a:cubicBezTo>
                  <a:pt x="7855" y="5688"/>
                  <a:pt x="7813" y="5494"/>
                  <a:pt x="7739" y="5318"/>
                </a:cubicBezTo>
                <a:cubicBezTo>
                  <a:pt x="8307" y="4747"/>
                  <a:pt x="8920" y="4221"/>
                  <a:pt x="9575" y="3749"/>
                </a:cubicBezTo>
                <a:cubicBezTo>
                  <a:pt x="10104" y="6723"/>
                  <a:pt x="11479" y="9397"/>
                  <a:pt x="13428" y="11540"/>
                </a:cubicBezTo>
                <a:moveTo>
                  <a:pt x="10800" y="982"/>
                </a:moveTo>
                <a:cubicBezTo>
                  <a:pt x="11347" y="982"/>
                  <a:pt x="11881" y="1038"/>
                  <a:pt x="12403" y="1125"/>
                </a:cubicBezTo>
                <a:cubicBezTo>
                  <a:pt x="11696" y="1401"/>
                  <a:pt x="11005" y="1708"/>
                  <a:pt x="10354" y="2082"/>
                </a:cubicBezTo>
                <a:cubicBezTo>
                  <a:pt x="10328" y="1726"/>
                  <a:pt x="10311" y="1368"/>
                  <a:pt x="10310" y="1007"/>
                </a:cubicBezTo>
                <a:cubicBezTo>
                  <a:pt x="10474" y="999"/>
                  <a:pt x="10635" y="982"/>
                  <a:pt x="10800" y="982"/>
                </a:cubicBezTo>
                <a:moveTo>
                  <a:pt x="14120" y="12262"/>
                </a:moveTo>
                <a:cubicBezTo>
                  <a:pt x="14982" y="13097"/>
                  <a:pt x="15950" y="13819"/>
                  <a:pt x="16986" y="14440"/>
                </a:cubicBezTo>
                <a:cubicBezTo>
                  <a:pt x="15933" y="14626"/>
                  <a:pt x="14852" y="14727"/>
                  <a:pt x="13745" y="14727"/>
                </a:cubicBezTo>
                <a:cubicBezTo>
                  <a:pt x="13246" y="14727"/>
                  <a:pt x="12754" y="14702"/>
                  <a:pt x="12265" y="14664"/>
                </a:cubicBezTo>
                <a:cubicBezTo>
                  <a:pt x="12259" y="14569"/>
                  <a:pt x="12250" y="14475"/>
                  <a:pt x="12229" y="14386"/>
                </a:cubicBezTo>
                <a:cubicBezTo>
                  <a:pt x="12921" y="13737"/>
                  <a:pt x="13555" y="13027"/>
                  <a:pt x="14120" y="12262"/>
                </a:cubicBezTo>
                <a:moveTo>
                  <a:pt x="16188" y="2597"/>
                </a:moveTo>
                <a:cubicBezTo>
                  <a:pt x="16191" y="2713"/>
                  <a:pt x="16200" y="2828"/>
                  <a:pt x="16200" y="2945"/>
                </a:cubicBezTo>
                <a:cubicBezTo>
                  <a:pt x="16200" y="3967"/>
                  <a:pt x="16092" y="4962"/>
                  <a:pt x="15894" y="5924"/>
                </a:cubicBezTo>
                <a:cubicBezTo>
                  <a:pt x="15227" y="6065"/>
                  <a:pt x="14727" y="6656"/>
                  <a:pt x="14727" y="7364"/>
                </a:cubicBezTo>
                <a:cubicBezTo>
                  <a:pt x="14727" y="7765"/>
                  <a:pt x="14888" y="8128"/>
                  <a:pt x="15149" y="8393"/>
                </a:cubicBezTo>
                <a:cubicBezTo>
                  <a:pt x="14827" y="9199"/>
                  <a:pt x="14443" y="9974"/>
                  <a:pt x="13991" y="10701"/>
                </a:cubicBezTo>
                <a:cubicBezTo>
                  <a:pt x="12159" y="8620"/>
                  <a:pt x="10894" y="6025"/>
                  <a:pt x="10469" y="3152"/>
                </a:cubicBezTo>
                <a:cubicBezTo>
                  <a:pt x="11590" y="2463"/>
                  <a:pt x="12813" y="1934"/>
                  <a:pt x="14106" y="1565"/>
                </a:cubicBezTo>
                <a:cubicBezTo>
                  <a:pt x="14844" y="1829"/>
                  <a:pt x="15544" y="2174"/>
                  <a:pt x="16188" y="2597"/>
                </a:cubicBezTo>
                <a:moveTo>
                  <a:pt x="10800" y="0"/>
                </a:moveTo>
                <a:cubicBezTo>
                  <a:pt x="4835" y="0"/>
                  <a:pt x="0" y="4835"/>
                  <a:pt x="0" y="10800"/>
                </a:cubicBezTo>
                <a:cubicBezTo>
                  <a:pt x="0" y="16765"/>
                  <a:pt x="4835" y="21600"/>
                  <a:pt x="10800" y="21600"/>
                </a:cubicBezTo>
                <a:cubicBezTo>
                  <a:pt x="16765" y="21600"/>
                  <a:pt x="21600" y="16765"/>
                  <a:pt x="21600" y="10800"/>
                </a:cubicBezTo>
                <a:cubicBezTo>
                  <a:pt x="21600" y="4835"/>
                  <a:pt x="16765" y="0"/>
                  <a:pt x="10800" y="0"/>
                </a:cubicBezTo>
              </a:path>
            </a:pathLst>
          </a:custGeom>
          <a:solidFill>
            <a:schemeClr val="bg1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endParaRPr>
              <a:solidFill>
                <a:prstClr val="black"/>
              </a:solidFill>
              <a:latin typeface="Arial" panose="020B0604020202020204" pitchFamily="34" charset="0"/>
              <a:ea typeface="微软雅黑" panose="020B0503020204020204" pitchFamily="34" charset="-122"/>
              <a:cs typeface="思源黑体 CN Regular" panose="020B0500000000000000" charset="-122"/>
              <a:sym typeface="Arial" panose="020B0604020202020204" pitchFamily="34" charset="0"/>
            </a:endParaRPr>
          </a:p>
        </p:txBody>
      </p:sp>
      <p:sp>
        <p:nvSpPr>
          <p:cNvPr id="87" name="文本框 86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SpPr txBox="1"/>
          <p:nvPr/>
        </p:nvSpPr>
        <p:spPr>
          <a:xfrm>
            <a:off x="11088286" y="448734"/>
            <a:ext cx="572593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1050">
                <a:solidFill>
                  <a:schemeClr val="bg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rPr>
              <a:t>LOGO</a:t>
            </a:r>
            <a:endParaRPr lang="zh-CN" altLang="en-US" sz="1050">
              <a:solidFill>
                <a:schemeClr val="bg1"/>
              </a:solidFill>
              <a:latin typeface="Arial" panose="020B0604020202020204" pitchFamily="34" charset="0"/>
              <a:ea typeface="微软雅黑" panose="020B0503020204020204" pitchFamily="34" charset="-122"/>
              <a:cs typeface="思源黑体 CN Regular" panose="020B0500000000000000" charset="-122"/>
              <a:sym typeface="Arial" panose="020B0604020202020204" pitchFamily="34" charset="0"/>
            </a:endParaRPr>
          </a:p>
        </p:txBody>
      </p:sp>
      <p:cxnSp>
        <p:nvCxnSpPr>
          <p:cNvPr id="4" name="直接连接符 3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CxnSpPr/>
          <p:nvPr/>
        </p:nvCxnSpPr>
        <p:spPr>
          <a:xfrm flipV="1">
            <a:off x="0" y="6583680"/>
            <a:ext cx="12192000" cy="36576"/>
          </a:xfrm>
          <a:prstGeom prst="line">
            <a:avLst/>
          </a:prstGeom>
          <a:ln w="1270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e7d195523061f1c0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 hidden="1"/>
          <p:cNvSpPr txBox="1"/>
          <p:nvPr/>
        </p:nvSpPr>
        <p:spPr>
          <a:xfrm>
            <a:off x="-355600" y="1803400"/>
            <a:ext cx="284693" cy="1016000"/>
          </a:xfrm>
          <a:prstGeom prst="rect">
            <a:avLst/>
          </a:prstGeom>
          <a:noFill/>
        </p:spPr>
        <p:txBody>
          <a:bodyPr vert="wordArtVert" rtlCol="0">
            <a:spAutoFit/>
          </a:bodyPr>
          <a:lstStyle/>
          <a:p>
            <a:r>
              <a:rPr lang="en-US" altLang="zh-CN" sz="100"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rPr>
              <a:t>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</a:t>
            </a:r>
            <a:endParaRPr lang="zh-CN" altLang="en-US" sz="100">
              <a:latin typeface="Arial" panose="020B0604020202020204" pitchFamily="34" charset="0"/>
              <a:ea typeface="微软雅黑" panose="020B0503020204020204" pitchFamily="34" charset="-122"/>
              <a:cs typeface="思源黑体 CN Regular" panose="020B0500000000000000" charset="-122"/>
              <a:sym typeface="Arial" panose="020B0604020202020204" pitchFamily="34" charset="0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random/>
      </p:transition>
    </mc:Choice>
    <mc:Fallback xmlns:p159="http://schemas.microsoft.com/office/powerpoint/2015/09/main" xmlns:p15="http://schemas.microsoft.com/office/powerpoint/2012/main" xmlns:a14="http://schemas.microsoft.com/office/drawing/2010/main" xmlns:wp="http://schemas.openxmlformats.org/drawingml/2006/wordprocessingDrawing" xmlns:w="http://schemas.openxmlformats.org/wordprocessingml/2006/main" xmlns:m="http://schemas.openxmlformats.org/officeDocument/2006/math" xmlns="">
      <p:transition spd="slow">
        <p:random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6" presetClass="entr" presetSubtype="0" dur="200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8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822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664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664" tmFilter="0, 0; 0.125,0.2665; 0.25,0.4; 0.375,0.465; 0.5,0.5;  0.625,0.535; 0.75,0.6; 0.875,0.7335; 1,1">
                                          <p:stCondLst>
                                            <p:cond delay="664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" dur="332" tmFilter="0, 0; 0.125,0.2665; 0.25,0.4; 0.375,0.465; 0.5,0.5;  0.625,0.535; 0.75,0.6; 0.875,0.7335; 1,1">
                                          <p:stCondLst>
                                            <p:cond delay="1324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164" tmFilter="0, 0; 0.125,0.2665; 0.25,0.4; 0.375,0.465; 0.5,0.5;  0.625,0.535; 0.75,0.6; 0.875,0.7335; 1,1">
                                          <p:stCondLst>
                                            <p:cond delay="1656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13" dur="26">
                                          <p:stCondLst>
                                            <p:cond delay="65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14" dur="166" decel="50000">
                                          <p:stCondLst>
                                            <p:cond delay="676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5" dur="26">
                                          <p:stCondLst>
                                            <p:cond delay="1312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16" dur="166" decel="50000">
                                          <p:stCondLst>
                                            <p:cond delay="1338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7" dur="26">
                                          <p:stCondLst>
                                            <p:cond delay="1642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18" dur="166" decel="50000">
                                          <p:stCondLst>
                                            <p:cond delay="1668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9" dur="26">
                                          <p:stCondLst>
                                            <p:cond delay="1808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20" dur="166" decel="50000">
                                          <p:stCondLst>
                                            <p:cond delay="1834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21" presetID="26" presetClass="entr" presetSubtype="0" dur="2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3" dur="58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4" dur="1822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5" dur="664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664" tmFilter="0, 0; 0.125,0.2665; 0.25,0.4; 0.375,0.465; 0.5,0.5;  0.625,0.535; 0.75,0.6; 0.875,0.7335; 1,1">
                                          <p:stCondLst>
                                            <p:cond delay="664"/>
                                          </p:stCondLst>
                                        </p:cTn>
                                        <p:tgtEl>
                                          <p:spTgt spid="7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332" tmFilter="0, 0; 0.125,0.2665; 0.25,0.4; 0.375,0.465; 0.5,0.5;  0.625,0.535; 0.75,0.6; 0.875,0.7335; 1,1">
                                          <p:stCondLst>
                                            <p:cond delay="1324"/>
                                          </p:stCondLst>
                                        </p:cTn>
                                        <p:tgtEl>
                                          <p:spTgt spid="7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164" tmFilter="0, 0; 0.125,0.2665; 0.25,0.4; 0.375,0.465; 0.5,0.5;  0.625,0.535; 0.75,0.6; 0.875,0.7335; 1,1">
                                          <p:stCondLst>
                                            <p:cond delay="1656"/>
                                          </p:stCondLst>
                                        </p:cTn>
                                        <p:tgtEl>
                                          <p:spTgt spid="7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29" dur="26">
                                          <p:stCondLst>
                                            <p:cond delay="650"/>
                                          </p:stCondLst>
                                        </p:cTn>
                                        <p:tgtEl>
                                          <p:spTgt spid="79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30" dur="166" decel="50000">
                                          <p:stCondLst>
                                            <p:cond delay="676"/>
                                          </p:stCondLst>
                                        </p:cTn>
                                        <p:tgtEl>
                                          <p:spTgt spid="79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31" dur="26">
                                          <p:stCondLst>
                                            <p:cond delay="1312"/>
                                          </p:stCondLst>
                                        </p:cTn>
                                        <p:tgtEl>
                                          <p:spTgt spid="79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32" dur="166" decel="50000">
                                          <p:stCondLst>
                                            <p:cond delay="1338"/>
                                          </p:stCondLst>
                                        </p:cTn>
                                        <p:tgtEl>
                                          <p:spTgt spid="79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33" dur="26">
                                          <p:stCondLst>
                                            <p:cond delay="1642"/>
                                          </p:stCondLst>
                                        </p:cTn>
                                        <p:tgtEl>
                                          <p:spTgt spid="79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34" dur="166" decel="50000">
                                          <p:stCondLst>
                                            <p:cond delay="1668"/>
                                          </p:stCondLst>
                                        </p:cTn>
                                        <p:tgtEl>
                                          <p:spTgt spid="79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35" dur="26">
                                          <p:stCondLst>
                                            <p:cond delay="1808"/>
                                          </p:stCondLst>
                                        </p:cTn>
                                        <p:tgtEl>
                                          <p:spTgt spid="79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36" dur="166" decel="50000">
                                          <p:stCondLst>
                                            <p:cond delay="1834"/>
                                          </p:stCondLst>
                                        </p:cTn>
                                        <p:tgtEl>
                                          <p:spTgt spid="79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37" presetID="26" presetClass="entr" presetSubtype="0" dur="2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9" dur="58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0" dur="1822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1" dur="664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2" dur="664" tmFilter="0, 0; 0.125,0.2665; 0.25,0.4; 0.375,0.465; 0.5,0.5;  0.625,0.535; 0.75,0.6; 0.875,0.7335; 1,1">
                                          <p:stCondLst>
                                            <p:cond delay="664"/>
                                          </p:stCondLst>
                                        </p:cTn>
                                        <p:tgtEl>
                                          <p:spTgt spid="8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3" dur="332" tmFilter="0, 0; 0.125,0.2665; 0.25,0.4; 0.375,0.465; 0.5,0.5;  0.625,0.535; 0.75,0.6; 0.875,0.7335; 1,1">
                                          <p:stCondLst>
                                            <p:cond delay="1324"/>
                                          </p:stCondLst>
                                        </p:cTn>
                                        <p:tgtEl>
                                          <p:spTgt spid="8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4" dur="164" tmFilter="0, 0; 0.125,0.2665; 0.25,0.4; 0.375,0.465; 0.5,0.5;  0.625,0.535; 0.75,0.6; 0.875,0.7335; 1,1">
                                          <p:stCondLst>
                                            <p:cond delay="1656"/>
                                          </p:stCondLst>
                                        </p:cTn>
                                        <p:tgtEl>
                                          <p:spTgt spid="8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45" dur="26">
                                          <p:stCondLst>
                                            <p:cond delay="650"/>
                                          </p:stCondLst>
                                        </p:cTn>
                                        <p:tgtEl>
                                          <p:spTgt spid="83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46" dur="166" decel="50000">
                                          <p:stCondLst>
                                            <p:cond delay="676"/>
                                          </p:stCondLst>
                                        </p:cTn>
                                        <p:tgtEl>
                                          <p:spTgt spid="83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47" dur="26">
                                          <p:stCondLst>
                                            <p:cond delay="1312"/>
                                          </p:stCondLst>
                                        </p:cTn>
                                        <p:tgtEl>
                                          <p:spTgt spid="83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48" dur="166" decel="50000">
                                          <p:stCondLst>
                                            <p:cond delay="1338"/>
                                          </p:stCondLst>
                                        </p:cTn>
                                        <p:tgtEl>
                                          <p:spTgt spid="83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49" dur="26">
                                          <p:stCondLst>
                                            <p:cond delay="1642"/>
                                          </p:stCondLst>
                                        </p:cTn>
                                        <p:tgtEl>
                                          <p:spTgt spid="83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50" dur="166" decel="50000">
                                          <p:stCondLst>
                                            <p:cond delay="1668"/>
                                          </p:stCondLst>
                                        </p:cTn>
                                        <p:tgtEl>
                                          <p:spTgt spid="83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51" dur="26">
                                          <p:stCondLst>
                                            <p:cond delay="1808"/>
                                          </p:stCondLst>
                                        </p:cTn>
                                        <p:tgtEl>
                                          <p:spTgt spid="83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52" dur="166" decel="50000">
                                          <p:stCondLst>
                                            <p:cond delay="1834"/>
                                          </p:stCondLst>
                                        </p:cTn>
                                        <p:tgtEl>
                                          <p:spTgt spid="83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53" presetID="26" presetClass="entr" presetSubtype="0" dur="2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5" dur="58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6" dur="1822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7" dur="664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8" dur="664" tmFilter="0, 0; 0.125,0.2665; 0.25,0.4; 0.375,0.465; 0.5,0.5;  0.625,0.535; 0.75,0.6; 0.875,0.7335; 1,1">
                                          <p:stCondLst>
                                            <p:cond delay="664"/>
                                          </p:stCondLst>
                                        </p:cTn>
                                        <p:tgtEl>
                                          <p:spTgt spid="8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9" dur="332" tmFilter="0, 0; 0.125,0.2665; 0.25,0.4; 0.375,0.465; 0.5,0.5;  0.625,0.535; 0.75,0.6; 0.875,0.7335; 1,1">
                                          <p:stCondLst>
                                            <p:cond delay="1324"/>
                                          </p:stCondLst>
                                        </p:cTn>
                                        <p:tgtEl>
                                          <p:spTgt spid="8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0" dur="164" tmFilter="0, 0; 0.125,0.2665; 0.25,0.4; 0.375,0.465; 0.5,0.5;  0.625,0.535; 0.75,0.6; 0.875,0.7335; 1,1">
                                          <p:stCondLst>
                                            <p:cond delay="1656"/>
                                          </p:stCondLst>
                                        </p:cTn>
                                        <p:tgtEl>
                                          <p:spTgt spid="8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61" dur="26">
                                          <p:stCondLst>
                                            <p:cond delay="650"/>
                                          </p:stCondLst>
                                        </p:cTn>
                                        <p:tgtEl>
                                          <p:spTgt spid="84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62" dur="166" decel="50000">
                                          <p:stCondLst>
                                            <p:cond delay="676"/>
                                          </p:stCondLst>
                                        </p:cTn>
                                        <p:tgtEl>
                                          <p:spTgt spid="84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63" dur="26">
                                          <p:stCondLst>
                                            <p:cond delay="1312"/>
                                          </p:stCondLst>
                                        </p:cTn>
                                        <p:tgtEl>
                                          <p:spTgt spid="84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64" dur="166" decel="50000">
                                          <p:stCondLst>
                                            <p:cond delay="1338"/>
                                          </p:stCondLst>
                                        </p:cTn>
                                        <p:tgtEl>
                                          <p:spTgt spid="84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65" dur="26">
                                          <p:stCondLst>
                                            <p:cond delay="1642"/>
                                          </p:stCondLst>
                                        </p:cTn>
                                        <p:tgtEl>
                                          <p:spTgt spid="84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66" dur="166" decel="50000">
                                          <p:stCondLst>
                                            <p:cond delay="1668"/>
                                          </p:stCondLst>
                                        </p:cTn>
                                        <p:tgtEl>
                                          <p:spTgt spid="84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67" dur="26">
                                          <p:stCondLst>
                                            <p:cond delay="1808"/>
                                          </p:stCondLst>
                                        </p:cTn>
                                        <p:tgtEl>
                                          <p:spTgt spid="84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68" dur="166" decel="50000">
                                          <p:stCondLst>
                                            <p:cond delay="1834"/>
                                          </p:stCondLst>
                                        </p:cTn>
                                        <p:tgtEl>
                                          <p:spTgt spid="84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9" fill="hold" nodeType="clickPar">
                      <p:stCondLst>
                        <p:cond delay="indefinite"/>
                      </p:stCondLst>
                      <p:childTnLst>
                        <p:par>
                          <p:cTn id="70" fill="hold">
                            <p:stCondLst>
                              <p:cond delay="0"/>
                            </p:stCondLst>
                            <p:childTnLst>
                              <p:par>
                                <p:cTn id="71" presetID="53" presetClass="entr" presetSubtype="16" dur="5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3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4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75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6" presetID="53" presetClass="entr" presetSubtype="16" dur="5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8" dur="5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9" dur="5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80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1" presetID="53" presetClass="entr" presetSubtype="16" dur="5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83" dur="5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4" dur="5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85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6" presetID="53" presetClass="entr" presetSubtype="16" dur="5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88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9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0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1" presetID="53" presetClass="entr" presetSubtype="16" dur="5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93" dur="500" fill="hold"/>
                                        <p:tgtEl>
                                          <p:spTgt spid="5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4" dur="500" fill="hold"/>
                                        <p:tgtEl>
                                          <p:spTgt spid="5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5" dur="5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6" presetID="53" presetClass="entr" presetSubtype="16" dur="5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98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9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00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1" fill="hold" nodeType="clickPar">
                      <p:stCondLst>
                        <p:cond delay="indefinite"/>
                      </p:stCondLst>
                      <p:childTnLst>
                        <p:par>
                          <p:cTn id="102" fill="hold">
                            <p:stCondLst>
                              <p:cond delay="0"/>
                            </p:stCondLst>
                            <p:childTnLst>
                              <p:par>
                                <p:cTn id="103" presetID="53" presetClass="entr" presetSubtype="16" dur="5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05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6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0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8" presetID="53" presetClass="entr" presetSubtype="16" dur="5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0" dur="5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1" dur="5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12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3" presetID="53" presetClass="entr" presetSubtype="16" dur="5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5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6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17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8" presetID="53" presetClass="entr" presetSubtype="16" dur="5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0" dur="500" fill="hold"/>
                                        <p:tgtEl>
                                          <p:spTgt spid="5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1" dur="500" fill="hold"/>
                                        <p:tgtEl>
                                          <p:spTgt spid="5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22" dur="500"/>
                                        <p:tgtEl>
                                          <p:spTgt spid="5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3" presetID="53" presetClass="entr" presetSubtype="16" dur="5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5" dur="500" fill="hold"/>
                                        <p:tgtEl>
                                          <p:spTgt spid="6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6" dur="500" fill="hold"/>
                                        <p:tgtEl>
                                          <p:spTgt spid="6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27" dur="500"/>
                                        <p:tgtEl>
                                          <p:spTgt spid="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8" presetID="53" presetClass="entr" presetSubtype="16" dur="5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0" dur="500" fill="hold"/>
                                        <p:tgtEl>
                                          <p:spTgt spid="6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1" dur="500" fill="hold"/>
                                        <p:tgtEl>
                                          <p:spTgt spid="6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32" dur="500"/>
                                        <p:tgtEl>
                                          <p:spTgt spid="6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3" fill="hold" nodeType="clickPar">
                      <p:stCondLst>
                        <p:cond delay="indefinite"/>
                      </p:stCondLst>
                      <p:childTnLst>
                        <p:par>
                          <p:cTn id="134" fill="hold">
                            <p:stCondLst>
                              <p:cond delay="0"/>
                            </p:stCondLst>
                            <p:childTnLst>
                              <p:par>
                                <p:cTn id="135" presetID="53" presetClass="entr" presetSubtype="16" dur="5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7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8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39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0" presetID="53" presetClass="entr" presetSubtype="16" dur="5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42" dur="5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3" dur="5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44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5" presetID="53" presetClass="entr" presetSubtype="16" dur="5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47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8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49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0" presetID="53" presetClass="entr" presetSubtype="16" dur="5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2" dur="500" fill="hold"/>
                                        <p:tgtEl>
                                          <p:spTgt spid="6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3" dur="500" fill="hold"/>
                                        <p:tgtEl>
                                          <p:spTgt spid="6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54" dur="500"/>
                                        <p:tgtEl>
                                          <p:spTgt spid="6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5" presetID="53" presetClass="entr" presetSubtype="16" dur="5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7" dur="500" fill="hold"/>
                                        <p:tgtEl>
                                          <p:spTgt spid="6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8" dur="500" fill="hold"/>
                                        <p:tgtEl>
                                          <p:spTgt spid="6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59" dur="500"/>
                                        <p:tgtEl>
                                          <p:spTgt spid="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0" presetID="53" presetClass="entr" presetSubtype="16" dur="5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62" dur="500" fill="hold"/>
                                        <p:tgtEl>
                                          <p:spTgt spid="6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3" dur="500" fill="hold"/>
                                        <p:tgtEl>
                                          <p:spTgt spid="6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64" dur="500"/>
                                        <p:tgtEl>
                                          <p:spTgt spid="6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5" fill="hold" nodeType="clickPar">
                      <p:stCondLst>
                        <p:cond delay="indefinite"/>
                      </p:stCondLst>
                      <p:childTnLst>
                        <p:par>
                          <p:cTn id="166" fill="hold">
                            <p:stCondLst>
                              <p:cond delay="0"/>
                            </p:stCondLst>
                            <p:childTnLst>
                              <p:par>
                                <p:cTn id="167" presetID="53" presetClass="entr" presetSubtype="16" dur="5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69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0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1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2" presetID="53" presetClass="entr" presetSubtype="16" dur="5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74" dur="5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5" dur="5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6" dur="5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7" presetID="53" presetClass="entr" presetSubtype="16" dur="5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79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0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81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2" presetID="53" presetClass="entr" presetSubtype="16" dur="5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84" dur="500" fill="hold"/>
                                        <p:tgtEl>
                                          <p:spTgt spid="7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5" dur="500" fill="hold"/>
                                        <p:tgtEl>
                                          <p:spTgt spid="7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86" dur="500"/>
                                        <p:tgtEl>
                                          <p:spTgt spid="7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7" presetID="53" presetClass="entr" presetSubtype="16" dur="5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89" dur="500" fill="hold"/>
                                        <p:tgtEl>
                                          <p:spTgt spid="7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0" dur="500" fill="hold"/>
                                        <p:tgtEl>
                                          <p:spTgt spid="7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91" dur="500"/>
                                        <p:tgtEl>
                                          <p:spTgt spid="7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2" presetID="53" presetClass="entr" presetSubtype="16" dur="5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94" dur="500" fill="hold"/>
                                        <p:tgtEl>
                                          <p:spTgt spid="7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5" dur="500" fill="hold"/>
                                        <p:tgtEl>
                                          <p:spTgt spid="7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96" dur="500"/>
                                        <p:tgtEl>
                                          <p:spTgt spid="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0" grpId="0"/>
      <p:bldP spid="37" grpId="0" animBg="1"/>
      <p:bldP spid="40" grpId="0" animBg="1"/>
      <p:bldP spid="43" grpId="0" animBg="1"/>
      <p:bldP spid="46" grpId="0" animBg="1"/>
      <p:bldP spid="53" grpId="0"/>
      <p:bldP spid="59" grpId="0"/>
      <p:bldP spid="60" grpId="0"/>
      <p:bldP spid="65" grpId="0"/>
      <p:bldP spid="66" grpId="0"/>
      <p:bldP spid="71" grpId="0"/>
      <p:bldP spid="72" grpId="0"/>
      <p:bldP spid="49" grpId="0"/>
      <p:bldP spid="84" grpId="0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图片占位符 2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PicPr>
            <a:picLocks noGrp="1" noChangeAspect="1"/>
          </p:cNvPicPr>
          <p:nvPr>
            <p:ph type="pic" sz="quarter" idx="10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noFill/>
        </p:spPr>
      </p:pic>
      <p:sp>
        <p:nvSpPr>
          <p:cNvPr id="39" name="Rectangle 38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SpPr/>
          <p:nvPr/>
        </p:nvSpPr>
        <p:spPr>
          <a:xfrm rot="10800000" flipH="1" flipV="1">
            <a:off x="0" y="0"/>
            <a:ext cx="12192000" cy="3609352"/>
          </a:xfrm>
          <a:prstGeom prst="rect">
            <a:avLst/>
          </a:prstGeom>
          <a:gradFill flip="none" rotWithShape="1">
            <a:gsLst>
              <a:gs pos="1000">
                <a:schemeClr val="accent1">
                  <a:alpha val="29000"/>
                </a:schemeClr>
              </a:gs>
              <a:gs pos="74000">
                <a:schemeClr val="accent5">
                  <a:lumMod val="50000"/>
                  <a:alpha val="69000"/>
                </a:schemeClr>
              </a:gs>
            </a:gsLst>
            <a:lin ang="108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/>
            <a:endParaRPr lang="id-ID">
              <a:solidFill>
                <a:schemeClr val="tx1"/>
              </a:solidFill>
              <a:latin typeface="Arial" panose="020B0604020202020204" pitchFamily="34" charset="0"/>
              <a:ea typeface="微软雅黑" panose="020B0503020204020204" pitchFamily="34" charset="-122"/>
              <a:cs typeface="思源黑体 CN Regular" panose="020B0500000000000000" charset="-122"/>
              <a:sym typeface="Arial" panose="020B0604020202020204" pitchFamily="34" charset="0"/>
            </a:endParaRPr>
          </a:p>
        </p:txBody>
      </p:sp>
      <p:grpSp>
        <p:nvGrpSpPr>
          <p:cNvPr id="16" name="Group 15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GrpSpPr/>
          <p:nvPr/>
        </p:nvGrpSpPr>
        <p:grpSpPr>
          <a:xfrm>
            <a:off x="400050" y="3742702"/>
            <a:ext cx="4225914" cy="1644330"/>
            <a:chOff x="402722" y="4039987"/>
            <a:chExt cx="4225914" cy="1644330"/>
          </a:xfrm>
        </p:grpSpPr>
        <p:sp>
          <p:nvSpPr>
            <p:cNvPr id="7" name="Rectangle 6"/>
            <p:cNvSpPr/>
            <p:nvPr/>
          </p:nvSpPr>
          <p:spPr>
            <a:xfrm>
              <a:off x="402722" y="4039987"/>
              <a:ext cx="1734155" cy="130926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>
                <a:lnSpc>
                  <a:spcPct val="120000"/>
                </a:lnSpc>
              </a:pPr>
              <a:r>
                <a:rPr lang="id-ID" sz="7200">
                  <a:solidFill>
                    <a:schemeClr val="bg2">
                      <a:lumMod val="90000"/>
                    </a:schemeClr>
                  </a:solidFill>
                  <a:latin typeface="Arial" panose="020B0604020202020204" pitchFamily="34" charset="0"/>
                  <a:ea typeface="微软雅黑" panose="020B0503020204020204" pitchFamily="34" charset="-122"/>
                  <a:cs typeface="思源黑体 CN Regular" panose="020B0500000000000000" charset="-122"/>
                  <a:sym typeface="Arial" panose="020B0604020202020204" pitchFamily="34" charset="0"/>
                </a:rPr>
                <a:t>01</a:t>
              </a:r>
              <a:endParaRPr lang="en-US" sz="7200">
                <a:solidFill>
                  <a:schemeClr val="bg2">
                    <a:lumMod val="90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endParaRPr>
            </a:p>
          </p:txBody>
        </p:sp>
        <p:grpSp>
          <p:nvGrpSpPr>
            <p:cNvPr id="6" name="Group 5"/>
            <p:cNvGrpSpPr/>
            <p:nvPr/>
          </p:nvGrpSpPr>
          <p:grpSpPr>
            <a:xfrm>
              <a:off x="989098" y="4893178"/>
              <a:ext cx="3639538" cy="791139"/>
              <a:chOff x="777704" y="4771750"/>
              <a:chExt cx="3639538" cy="791139"/>
            </a:xfrm>
          </p:grpSpPr>
          <p:sp>
            <p:nvSpPr>
              <p:cNvPr id="4" name="Rectangle 3"/>
              <p:cNvSpPr/>
              <p:nvPr/>
            </p:nvSpPr>
            <p:spPr>
              <a:xfrm>
                <a:off x="777704" y="5072305"/>
                <a:ext cx="2330982" cy="490584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>
                  <a:lnSpc>
                    <a:spcPct val="130000"/>
                  </a:lnSpc>
                </a:pPr>
                <a:r>
                  <a:rPr lang="en-US" altLang="zh-CN" sz="1050" dirty="0">
                    <a:solidFill>
                      <a:schemeClr val="accent6">
                        <a:lumMod val="50000"/>
                      </a:schemeClr>
                    </a:solidFill>
                    <a:latin typeface="Arial" panose="020B0604020202020204" pitchFamily="34" charset="0"/>
                    <a:ea typeface="微软雅黑" panose="020B0503020204020204" pitchFamily="34" charset="-122"/>
                    <a:cs typeface="思源黑体 CN Regular" panose="020B0500000000000000" charset="-122"/>
                    <a:sym typeface="Arial" panose="020B0604020202020204" pitchFamily="34" charset="0"/>
                  </a:rPr>
                  <a:t>Click here to add content, content to match the title. </a:t>
                </a:r>
              </a:p>
            </p:txBody>
          </p:sp>
          <p:sp>
            <p:nvSpPr>
              <p:cNvPr id="5" name="Rectangle 4"/>
              <p:cNvSpPr/>
              <p:nvPr/>
            </p:nvSpPr>
            <p:spPr>
              <a:xfrm>
                <a:off x="777704" y="4771750"/>
                <a:ext cx="3639538" cy="278281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>
                  <a:lnSpc>
                    <a:spcPct val="120000"/>
                  </a:lnSpc>
                </a:pPr>
                <a:r>
                  <a:rPr lang="id-ID" sz="1100" b="1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Arial" panose="020B0604020202020204" pitchFamily="34" charset="0"/>
                    <a:ea typeface="微软雅黑" panose="020B0503020204020204" pitchFamily="34" charset="-122"/>
                    <a:cs typeface="思源黑体 CN Regular" panose="020B0500000000000000" charset="-122"/>
                    <a:sym typeface="Arial" panose="020B0604020202020204" pitchFamily="34" charset="0"/>
                  </a:rPr>
                  <a:t>Sample Text</a:t>
                </a:r>
                <a:endParaRPr lang="en-US" sz="1100" b="1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anose="020B0604020202020204" pitchFamily="34" charset="0"/>
                  <a:ea typeface="微软雅黑" panose="020B0503020204020204" pitchFamily="34" charset="-122"/>
                  <a:cs typeface="思源黑体 CN Regular" panose="020B0500000000000000" charset="-122"/>
                  <a:sym typeface="Arial" panose="020B0604020202020204" pitchFamily="34" charset="0"/>
                </a:endParaRPr>
              </a:p>
            </p:txBody>
          </p:sp>
        </p:grpSp>
      </p:grpSp>
      <p:grpSp>
        <p:nvGrpSpPr>
          <p:cNvPr id="17" name="Group 16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GrpSpPr/>
          <p:nvPr/>
        </p:nvGrpSpPr>
        <p:grpSpPr>
          <a:xfrm>
            <a:off x="3281545" y="3742702"/>
            <a:ext cx="4225914" cy="1644330"/>
            <a:chOff x="402722" y="4039987"/>
            <a:chExt cx="4225914" cy="1644330"/>
          </a:xfrm>
        </p:grpSpPr>
        <p:sp>
          <p:nvSpPr>
            <p:cNvPr id="18" name="Rectangle 17"/>
            <p:cNvSpPr/>
            <p:nvPr/>
          </p:nvSpPr>
          <p:spPr>
            <a:xfrm>
              <a:off x="402722" y="4039987"/>
              <a:ext cx="2039365" cy="130926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>
                <a:lnSpc>
                  <a:spcPct val="120000"/>
                </a:lnSpc>
              </a:pPr>
              <a:r>
                <a:rPr lang="id-ID" sz="7200">
                  <a:solidFill>
                    <a:schemeClr val="bg2">
                      <a:lumMod val="90000"/>
                    </a:schemeClr>
                  </a:solidFill>
                  <a:latin typeface="Arial" panose="020B0604020202020204" pitchFamily="34" charset="0"/>
                  <a:ea typeface="微软雅黑" panose="020B0503020204020204" pitchFamily="34" charset="-122"/>
                  <a:cs typeface="思源黑体 CN Regular" panose="020B0500000000000000" charset="-122"/>
                  <a:sym typeface="Arial" panose="020B0604020202020204" pitchFamily="34" charset="0"/>
                </a:rPr>
                <a:t>02</a:t>
              </a:r>
              <a:endParaRPr lang="en-US" sz="7200">
                <a:solidFill>
                  <a:schemeClr val="bg2">
                    <a:lumMod val="90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endParaRPr>
            </a:p>
          </p:txBody>
        </p:sp>
        <p:grpSp>
          <p:nvGrpSpPr>
            <p:cNvPr id="20" name="Group 19"/>
            <p:cNvGrpSpPr/>
            <p:nvPr/>
          </p:nvGrpSpPr>
          <p:grpSpPr>
            <a:xfrm>
              <a:off x="989098" y="4893178"/>
              <a:ext cx="3639538" cy="791139"/>
              <a:chOff x="777704" y="4771750"/>
              <a:chExt cx="3639538" cy="791139"/>
            </a:xfrm>
          </p:grpSpPr>
          <p:sp>
            <p:nvSpPr>
              <p:cNvPr id="21" name="Rectangle 20"/>
              <p:cNvSpPr/>
              <p:nvPr/>
            </p:nvSpPr>
            <p:spPr>
              <a:xfrm>
                <a:off x="777704" y="5072305"/>
                <a:ext cx="2330982" cy="490584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>
                  <a:lnSpc>
                    <a:spcPct val="130000"/>
                  </a:lnSpc>
                </a:pPr>
                <a:r>
                  <a:rPr lang="en-US" altLang="zh-CN" sz="1050" dirty="0">
                    <a:solidFill>
                      <a:schemeClr val="accent6">
                        <a:lumMod val="50000"/>
                      </a:schemeClr>
                    </a:solidFill>
                    <a:latin typeface="Arial" panose="020B0604020202020204" pitchFamily="34" charset="0"/>
                    <a:ea typeface="微软雅黑" panose="020B0503020204020204" pitchFamily="34" charset="-122"/>
                    <a:cs typeface="思源黑体 CN Regular" panose="020B0500000000000000" charset="-122"/>
                    <a:sym typeface="Arial" panose="020B0604020202020204" pitchFamily="34" charset="0"/>
                  </a:rPr>
                  <a:t>Click here to add content, content to match the title. </a:t>
                </a:r>
              </a:p>
            </p:txBody>
          </p:sp>
          <p:sp>
            <p:nvSpPr>
              <p:cNvPr id="22" name="Rectangle 21"/>
              <p:cNvSpPr/>
              <p:nvPr/>
            </p:nvSpPr>
            <p:spPr>
              <a:xfrm>
                <a:off x="777704" y="4771750"/>
                <a:ext cx="3639538" cy="278281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>
                  <a:lnSpc>
                    <a:spcPct val="120000"/>
                  </a:lnSpc>
                </a:pPr>
                <a:r>
                  <a:rPr lang="id-ID" sz="1100" b="1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Arial" panose="020B0604020202020204" pitchFamily="34" charset="0"/>
                    <a:ea typeface="微软雅黑" panose="020B0503020204020204" pitchFamily="34" charset="-122"/>
                    <a:cs typeface="思源黑体 CN Regular" panose="020B0500000000000000" charset="-122"/>
                    <a:sym typeface="Arial" panose="020B0604020202020204" pitchFamily="34" charset="0"/>
                  </a:rPr>
                  <a:t>Sample Text</a:t>
                </a:r>
                <a:endParaRPr lang="en-US" sz="1100" b="1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anose="020B0604020202020204" pitchFamily="34" charset="0"/>
                  <a:ea typeface="微软雅黑" panose="020B0503020204020204" pitchFamily="34" charset="-122"/>
                  <a:cs typeface="思源黑体 CN Regular" panose="020B0500000000000000" charset="-122"/>
                  <a:sym typeface="Arial" panose="020B0604020202020204" pitchFamily="34" charset="0"/>
                </a:endParaRPr>
              </a:p>
            </p:txBody>
          </p:sp>
        </p:grpSp>
      </p:grpSp>
      <p:grpSp>
        <p:nvGrpSpPr>
          <p:cNvPr id="24" name="Group 23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GrpSpPr/>
          <p:nvPr/>
        </p:nvGrpSpPr>
        <p:grpSpPr>
          <a:xfrm>
            <a:off x="6163040" y="3742702"/>
            <a:ext cx="4225914" cy="1644330"/>
            <a:chOff x="402722" y="4039987"/>
            <a:chExt cx="4225914" cy="1644330"/>
          </a:xfrm>
        </p:grpSpPr>
        <p:sp>
          <p:nvSpPr>
            <p:cNvPr id="25" name="Rectangle 24"/>
            <p:cNvSpPr/>
            <p:nvPr/>
          </p:nvSpPr>
          <p:spPr>
            <a:xfrm>
              <a:off x="402722" y="4039987"/>
              <a:ext cx="1734155" cy="130926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>
                <a:lnSpc>
                  <a:spcPct val="120000"/>
                </a:lnSpc>
              </a:pPr>
              <a:r>
                <a:rPr lang="id-ID" sz="7200">
                  <a:solidFill>
                    <a:schemeClr val="bg2">
                      <a:lumMod val="90000"/>
                    </a:schemeClr>
                  </a:solidFill>
                  <a:latin typeface="Arial" panose="020B0604020202020204" pitchFamily="34" charset="0"/>
                  <a:ea typeface="微软雅黑" panose="020B0503020204020204" pitchFamily="34" charset="-122"/>
                  <a:cs typeface="思源黑体 CN Regular" panose="020B0500000000000000" charset="-122"/>
                  <a:sym typeface="Arial" panose="020B0604020202020204" pitchFamily="34" charset="0"/>
                </a:rPr>
                <a:t>03</a:t>
              </a:r>
              <a:endParaRPr lang="en-US" sz="7200">
                <a:solidFill>
                  <a:schemeClr val="bg2">
                    <a:lumMod val="90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endParaRPr>
            </a:p>
          </p:txBody>
        </p:sp>
        <p:grpSp>
          <p:nvGrpSpPr>
            <p:cNvPr id="26" name="Group 25"/>
            <p:cNvGrpSpPr/>
            <p:nvPr/>
          </p:nvGrpSpPr>
          <p:grpSpPr>
            <a:xfrm>
              <a:off x="989098" y="4893178"/>
              <a:ext cx="3639538" cy="791139"/>
              <a:chOff x="777704" y="4771750"/>
              <a:chExt cx="3639538" cy="791139"/>
            </a:xfrm>
          </p:grpSpPr>
          <p:sp>
            <p:nvSpPr>
              <p:cNvPr id="27" name="Rectangle 26"/>
              <p:cNvSpPr/>
              <p:nvPr/>
            </p:nvSpPr>
            <p:spPr>
              <a:xfrm>
                <a:off x="777704" y="5072305"/>
                <a:ext cx="2330982" cy="490584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>
                  <a:lnSpc>
                    <a:spcPct val="130000"/>
                  </a:lnSpc>
                </a:pPr>
                <a:r>
                  <a:rPr lang="en-US" altLang="zh-CN" sz="1050" dirty="0">
                    <a:solidFill>
                      <a:schemeClr val="accent6">
                        <a:lumMod val="50000"/>
                      </a:schemeClr>
                    </a:solidFill>
                    <a:latin typeface="Arial" panose="020B0604020202020204" pitchFamily="34" charset="0"/>
                    <a:ea typeface="微软雅黑" panose="020B0503020204020204" pitchFamily="34" charset="-122"/>
                    <a:cs typeface="思源黑体 CN Regular" panose="020B0500000000000000" charset="-122"/>
                    <a:sym typeface="Arial" panose="020B0604020202020204" pitchFamily="34" charset="0"/>
                  </a:rPr>
                  <a:t>Click here to add content, content to match the title. </a:t>
                </a:r>
              </a:p>
            </p:txBody>
          </p:sp>
          <p:sp>
            <p:nvSpPr>
              <p:cNvPr id="28" name="Rectangle 27"/>
              <p:cNvSpPr/>
              <p:nvPr/>
            </p:nvSpPr>
            <p:spPr>
              <a:xfrm>
                <a:off x="777704" y="4771750"/>
                <a:ext cx="3639538" cy="278281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>
                  <a:lnSpc>
                    <a:spcPct val="120000"/>
                  </a:lnSpc>
                </a:pPr>
                <a:r>
                  <a:rPr lang="id-ID" sz="1100" b="1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Arial" panose="020B0604020202020204" pitchFamily="34" charset="0"/>
                    <a:ea typeface="微软雅黑" panose="020B0503020204020204" pitchFamily="34" charset="-122"/>
                    <a:cs typeface="思源黑体 CN Regular" panose="020B0500000000000000" charset="-122"/>
                    <a:sym typeface="Arial" panose="020B0604020202020204" pitchFamily="34" charset="0"/>
                  </a:rPr>
                  <a:t>Sample Text</a:t>
                </a:r>
                <a:endParaRPr lang="en-US" sz="1100" b="1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anose="020B0604020202020204" pitchFamily="34" charset="0"/>
                  <a:ea typeface="微软雅黑" panose="020B0503020204020204" pitchFamily="34" charset="-122"/>
                  <a:cs typeface="思源黑体 CN Regular" panose="020B0500000000000000" charset="-122"/>
                  <a:sym typeface="Arial" panose="020B0604020202020204" pitchFamily="34" charset="0"/>
                </a:endParaRPr>
              </a:p>
            </p:txBody>
          </p:sp>
        </p:grpSp>
      </p:grpSp>
      <p:grpSp>
        <p:nvGrpSpPr>
          <p:cNvPr id="29" name="Group 28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GrpSpPr/>
          <p:nvPr/>
        </p:nvGrpSpPr>
        <p:grpSpPr>
          <a:xfrm>
            <a:off x="9044536" y="3742702"/>
            <a:ext cx="4225914" cy="1644330"/>
            <a:chOff x="402722" y="4039987"/>
            <a:chExt cx="4225914" cy="1644330"/>
          </a:xfrm>
        </p:grpSpPr>
        <p:sp>
          <p:nvSpPr>
            <p:cNvPr id="30" name="Rectangle 29"/>
            <p:cNvSpPr/>
            <p:nvPr/>
          </p:nvSpPr>
          <p:spPr>
            <a:xfrm>
              <a:off x="402722" y="4039987"/>
              <a:ext cx="2039365" cy="130926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>
                <a:lnSpc>
                  <a:spcPct val="120000"/>
                </a:lnSpc>
              </a:pPr>
              <a:r>
                <a:rPr lang="id-ID" sz="7200">
                  <a:solidFill>
                    <a:schemeClr val="bg2">
                      <a:lumMod val="90000"/>
                    </a:schemeClr>
                  </a:solidFill>
                  <a:latin typeface="Arial" panose="020B0604020202020204" pitchFamily="34" charset="0"/>
                  <a:ea typeface="微软雅黑" panose="020B0503020204020204" pitchFamily="34" charset="-122"/>
                  <a:cs typeface="思源黑体 CN Regular" panose="020B0500000000000000" charset="-122"/>
                  <a:sym typeface="Arial" panose="020B0604020202020204" pitchFamily="34" charset="0"/>
                </a:rPr>
                <a:t>04</a:t>
              </a:r>
              <a:endParaRPr lang="en-US" sz="7200">
                <a:solidFill>
                  <a:schemeClr val="bg2">
                    <a:lumMod val="90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endParaRPr>
            </a:p>
          </p:txBody>
        </p:sp>
        <p:grpSp>
          <p:nvGrpSpPr>
            <p:cNvPr id="31" name="Group 30"/>
            <p:cNvGrpSpPr/>
            <p:nvPr/>
          </p:nvGrpSpPr>
          <p:grpSpPr>
            <a:xfrm>
              <a:off x="989098" y="4893178"/>
              <a:ext cx="3639538" cy="791139"/>
              <a:chOff x="777704" y="4771750"/>
              <a:chExt cx="3639538" cy="791139"/>
            </a:xfrm>
          </p:grpSpPr>
          <p:sp>
            <p:nvSpPr>
              <p:cNvPr id="32" name="Rectangle 31"/>
              <p:cNvSpPr/>
              <p:nvPr/>
            </p:nvSpPr>
            <p:spPr>
              <a:xfrm>
                <a:off x="777704" y="5072305"/>
                <a:ext cx="2330982" cy="490584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>
                  <a:lnSpc>
                    <a:spcPct val="130000"/>
                  </a:lnSpc>
                </a:pPr>
                <a:r>
                  <a:rPr lang="en-US" altLang="zh-CN" sz="1050" dirty="0">
                    <a:solidFill>
                      <a:schemeClr val="accent6">
                        <a:lumMod val="50000"/>
                      </a:schemeClr>
                    </a:solidFill>
                    <a:latin typeface="Arial" panose="020B0604020202020204" pitchFamily="34" charset="0"/>
                    <a:ea typeface="微软雅黑" panose="020B0503020204020204" pitchFamily="34" charset="-122"/>
                    <a:cs typeface="思源黑体 CN Regular" panose="020B0500000000000000" charset="-122"/>
                    <a:sym typeface="Arial" panose="020B0604020202020204" pitchFamily="34" charset="0"/>
                  </a:rPr>
                  <a:t>Click here to add content, content to match the title. </a:t>
                </a:r>
              </a:p>
            </p:txBody>
          </p:sp>
          <p:sp>
            <p:nvSpPr>
              <p:cNvPr id="33" name="Rectangle 32"/>
              <p:cNvSpPr/>
              <p:nvPr/>
            </p:nvSpPr>
            <p:spPr>
              <a:xfrm>
                <a:off x="777704" y="4771750"/>
                <a:ext cx="3639538" cy="278281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>
                  <a:lnSpc>
                    <a:spcPct val="120000"/>
                  </a:lnSpc>
                </a:pPr>
                <a:r>
                  <a:rPr lang="id-ID" sz="1100" b="1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Arial" panose="020B0604020202020204" pitchFamily="34" charset="0"/>
                    <a:ea typeface="微软雅黑" panose="020B0503020204020204" pitchFamily="34" charset="-122"/>
                    <a:cs typeface="思源黑体 CN Regular" panose="020B0500000000000000" charset="-122"/>
                    <a:sym typeface="Arial" panose="020B0604020202020204" pitchFamily="34" charset="0"/>
                  </a:rPr>
                  <a:t>Sample Text</a:t>
                </a:r>
                <a:endParaRPr lang="en-US" sz="1100" b="1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anose="020B0604020202020204" pitchFamily="34" charset="0"/>
                  <a:ea typeface="微软雅黑" panose="020B0503020204020204" pitchFamily="34" charset="-122"/>
                  <a:cs typeface="思源黑体 CN Regular" panose="020B0500000000000000" charset="-122"/>
                  <a:sym typeface="Arial" panose="020B0604020202020204" pitchFamily="34" charset="0"/>
                </a:endParaRPr>
              </a:p>
            </p:txBody>
          </p:sp>
        </p:grpSp>
      </p:grpSp>
      <p:sp>
        <p:nvSpPr>
          <p:cNvPr id="63" name="Title 4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SpPr txBox="1"/>
          <p:nvPr/>
        </p:nvSpPr>
        <p:spPr>
          <a:xfrm>
            <a:off x="689628" y="1426933"/>
            <a:ext cx="8937054" cy="838835"/>
          </a:xfrm>
          <a:prstGeom prst="rect">
            <a:avLst/>
          </a:prstGeom>
          <a:noFill/>
        </p:spPr>
        <p:txBody>
          <a:bodyPr vert="horz" wrap="square" lIns="0" tIns="91440" rIns="0" bIns="0" rtlCol="0" anchor="ctr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spcBef>
                <a:spcPts val="1000"/>
              </a:spcBef>
              <a:buFont typeface="思源黑体 CN Regular" panose="020B0500000000000000" charset="-122"/>
              <a:buNone/>
            </a:pPr>
            <a:r>
              <a:rPr lang="id-ID" sz="5400" spc="-100">
                <a:solidFill>
                  <a:schemeClr val="bg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Gill Sans MT" panose="020B0502020104020203" charset="0"/>
                <a:sym typeface="Arial" panose="020B0604020202020204" pitchFamily="34" charset="0"/>
              </a:rPr>
              <a:t>Our Service</a:t>
            </a:r>
          </a:p>
        </p:txBody>
      </p:sp>
      <p:sp>
        <p:nvSpPr>
          <p:cNvPr id="69" name="TextBox 28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SpPr txBox="1"/>
          <p:nvPr/>
        </p:nvSpPr>
        <p:spPr>
          <a:xfrm>
            <a:off x="0" y="2100229"/>
            <a:ext cx="5285232" cy="483787"/>
          </a:xfrm>
          <a:prstGeom prst="rect">
            <a:avLst/>
          </a:prstGeom>
          <a:noFill/>
          <a:effectLst/>
        </p:spPr>
        <p:txBody>
          <a:bodyPr wrap="square" rtlCol="0">
            <a:spAutoFit/>
          </a:bodyPr>
          <a:lstStyle/>
          <a:p>
            <a:pPr algn="ctr" defTabSz="2286000">
              <a:lnSpc>
                <a:spcPts val="3700"/>
              </a:lnSpc>
            </a:pPr>
            <a:r>
              <a:rPr lang="id-ID" sz="1200" spc="300">
                <a:solidFill>
                  <a:schemeClr val="bg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rPr>
              <a:t>WRITE HERE SOMETHING  ABOUT</a:t>
            </a:r>
            <a:endParaRPr lang="en-US" sz="1200" spc="300">
              <a:solidFill>
                <a:schemeClr val="bg1"/>
              </a:solidFill>
              <a:latin typeface="Arial" panose="020B0604020202020204" pitchFamily="34" charset="0"/>
              <a:ea typeface="微软雅黑" panose="020B0503020204020204" pitchFamily="34" charset="-122"/>
              <a:cs typeface="思源黑体 CN Regular" panose="020B0500000000000000" charset="-122"/>
              <a:sym typeface="Arial" panose="020B0604020202020204" pitchFamily="34" charset="0"/>
            </a:endParaRPr>
          </a:p>
        </p:txBody>
      </p:sp>
      <p:sp>
        <p:nvSpPr>
          <p:cNvPr id="61" name="Shape 3961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SpPr/>
          <p:nvPr/>
        </p:nvSpPr>
        <p:spPr>
          <a:xfrm>
            <a:off x="1103944" y="5665885"/>
            <a:ext cx="279033" cy="279033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5709" y="10176"/>
                </a:moveTo>
                <a:lnTo>
                  <a:pt x="15709" y="8345"/>
                </a:lnTo>
                <a:cubicBezTo>
                  <a:pt x="15709" y="8075"/>
                  <a:pt x="15490" y="7855"/>
                  <a:pt x="15218" y="7855"/>
                </a:cubicBezTo>
                <a:lnTo>
                  <a:pt x="14727" y="7855"/>
                </a:lnTo>
                <a:cubicBezTo>
                  <a:pt x="12724" y="7965"/>
                  <a:pt x="5590" y="8756"/>
                  <a:pt x="1949" y="14152"/>
                </a:cubicBezTo>
                <a:cubicBezTo>
                  <a:pt x="4809" y="5193"/>
                  <a:pt x="12588" y="4064"/>
                  <a:pt x="14727" y="3927"/>
                </a:cubicBezTo>
                <a:lnTo>
                  <a:pt x="15218" y="3927"/>
                </a:lnTo>
                <a:cubicBezTo>
                  <a:pt x="15490" y="3927"/>
                  <a:pt x="15709" y="3708"/>
                  <a:pt x="15709" y="3436"/>
                </a:cubicBezTo>
                <a:lnTo>
                  <a:pt x="15709" y="1606"/>
                </a:lnTo>
                <a:lnTo>
                  <a:pt x="20383" y="5891"/>
                </a:lnTo>
                <a:cubicBezTo>
                  <a:pt x="20383" y="5891"/>
                  <a:pt x="15709" y="10176"/>
                  <a:pt x="15709" y="10176"/>
                </a:cubicBezTo>
                <a:close/>
                <a:moveTo>
                  <a:pt x="21456" y="5544"/>
                </a:moveTo>
                <a:lnTo>
                  <a:pt x="15565" y="144"/>
                </a:lnTo>
                <a:cubicBezTo>
                  <a:pt x="15477" y="56"/>
                  <a:pt x="15354" y="0"/>
                  <a:pt x="15218" y="0"/>
                </a:cubicBezTo>
                <a:cubicBezTo>
                  <a:pt x="14947" y="0"/>
                  <a:pt x="14727" y="220"/>
                  <a:pt x="14727" y="491"/>
                </a:cubicBezTo>
                <a:lnTo>
                  <a:pt x="14727" y="2943"/>
                </a:lnTo>
                <a:cubicBezTo>
                  <a:pt x="12130" y="3151"/>
                  <a:pt x="0" y="4991"/>
                  <a:pt x="0" y="21109"/>
                </a:cubicBezTo>
                <a:cubicBezTo>
                  <a:pt x="0" y="21380"/>
                  <a:pt x="220" y="21600"/>
                  <a:pt x="491" y="21600"/>
                </a:cubicBezTo>
                <a:cubicBezTo>
                  <a:pt x="762" y="21600"/>
                  <a:pt x="982" y="21380"/>
                  <a:pt x="982" y="21109"/>
                </a:cubicBezTo>
                <a:cubicBezTo>
                  <a:pt x="982" y="16042"/>
                  <a:pt x="3417" y="12441"/>
                  <a:pt x="8250" y="10404"/>
                </a:cubicBezTo>
                <a:cubicBezTo>
                  <a:pt x="11093" y="9206"/>
                  <a:pt x="13684" y="8943"/>
                  <a:pt x="14727" y="8884"/>
                </a:cubicBezTo>
                <a:lnTo>
                  <a:pt x="14727" y="11291"/>
                </a:lnTo>
                <a:cubicBezTo>
                  <a:pt x="14727" y="11562"/>
                  <a:pt x="14947" y="11782"/>
                  <a:pt x="15218" y="11782"/>
                </a:cubicBezTo>
                <a:cubicBezTo>
                  <a:pt x="15354" y="11782"/>
                  <a:pt x="15477" y="11727"/>
                  <a:pt x="15565" y="11638"/>
                </a:cubicBezTo>
                <a:lnTo>
                  <a:pt x="21456" y="6238"/>
                </a:lnTo>
                <a:cubicBezTo>
                  <a:pt x="21545" y="6150"/>
                  <a:pt x="21600" y="6027"/>
                  <a:pt x="21600" y="5891"/>
                </a:cubicBezTo>
                <a:cubicBezTo>
                  <a:pt x="21600" y="5756"/>
                  <a:pt x="21545" y="5633"/>
                  <a:pt x="21456" y="5544"/>
                </a:cubicBezTo>
              </a:path>
            </a:pathLst>
          </a:custGeom>
          <a:solidFill>
            <a:schemeClr val="tx1">
              <a:alpha val="59000"/>
            </a:schemeClr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endParaRPr>
              <a:solidFill>
                <a:prstClr val="black"/>
              </a:solidFill>
              <a:latin typeface="Arial" panose="020B0604020202020204" pitchFamily="34" charset="0"/>
              <a:ea typeface="微软雅黑" panose="020B0503020204020204" pitchFamily="34" charset="-122"/>
              <a:cs typeface="思源黑体 CN Regular" panose="020B0500000000000000" charset="-122"/>
              <a:sym typeface="Arial" panose="020B0604020202020204" pitchFamily="34" charset="0"/>
            </a:endParaRPr>
          </a:p>
        </p:txBody>
      </p:sp>
      <p:sp>
        <p:nvSpPr>
          <p:cNvPr id="64" name="Shape 3961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SpPr/>
          <p:nvPr/>
        </p:nvSpPr>
        <p:spPr>
          <a:xfrm>
            <a:off x="3993448" y="5665885"/>
            <a:ext cx="279033" cy="279033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5709" y="10176"/>
                </a:moveTo>
                <a:lnTo>
                  <a:pt x="15709" y="8345"/>
                </a:lnTo>
                <a:cubicBezTo>
                  <a:pt x="15709" y="8075"/>
                  <a:pt x="15490" y="7855"/>
                  <a:pt x="15218" y="7855"/>
                </a:cubicBezTo>
                <a:lnTo>
                  <a:pt x="14727" y="7855"/>
                </a:lnTo>
                <a:cubicBezTo>
                  <a:pt x="12724" y="7965"/>
                  <a:pt x="5590" y="8756"/>
                  <a:pt x="1949" y="14152"/>
                </a:cubicBezTo>
                <a:cubicBezTo>
                  <a:pt x="4809" y="5193"/>
                  <a:pt x="12588" y="4064"/>
                  <a:pt x="14727" y="3927"/>
                </a:cubicBezTo>
                <a:lnTo>
                  <a:pt x="15218" y="3927"/>
                </a:lnTo>
                <a:cubicBezTo>
                  <a:pt x="15490" y="3927"/>
                  <a:pt x="15709" y="3708"/>
                  <a:pt x="15709" y="3436"/>
                </a:cubicBezTo>
                <a:lnTo>
                  <a:pt x="15709" y="1606"/>
                </a:lnTo>
                <a:lnTo>
                  <a:pt x="20383" y="5891"/>
                </a:lnTo>
                <a:cubicBezTo>
                  <a:pt x="20383" y="5891"/>
                  <a:pt x="15709" y="10176"/>
                  <a:pt x="15709" y="10176"/>
                </a:cubicBezTo>
                <a:close/>
                <a:moveTo>
                  <a:pt x="21456" y="5544"/>
                </a:moveTo>
                <a:lnTo>
                  <a:pt x="15565" y="144"/>
                </a:lnTo>
                <a:cubicBezTo>
                  <a:pt x="15477" y="56"/>
                  <a:pt x="15354" y="0"/>
                  <a:pt x="15218" y="0"/>
                </a:cubicBezTo>
                <a:cubicBezTo>
                  <a:pt x="14947" y="0"/>
                  <a:pt x="14727" y="220"/>
                  <a:pt x="14727" y="491"/>
                </a:cubicBezTo>
                <a:lnTo>
                  <a:pt x="14727" y="2943"/>
                </a:lnTo>
                <a:cubicBezTo>
                  <a:pt x="12130" y="3151"/>
                  <a:pt x="0" y="4991"/>
                  <a:pt x="0" y="21109"/>
                </a:cubicBezTo>
                <a:cubicBezTo>
                  <a:pt x="0" y="21380"/>
                  <a:pt x="220" y="21600"/>
                  <a:pt x="491" y="21600"/>
                </a:cubicBezTo>
                <a:cubicBezTo>
                  <a:pt x="762" y="21600"/>
                  <a:pt x="982" y="21380"/>
                  <a:pt x="982" y="21109"/>
                </a:cubicBezTo>
                <a:cubicBezTo>
                  <a:pt x="982" y="16042"/>
                  <a:pt x="3417" y="12441"/>
                  <a:pt x="8250" y="10404"/>
                </a:cubicBezTo>
                <a:cubicBezTo>
                  <a:pt x="11093" y="9206"/>
                  <a:pt x="13684" y="8943"/>
                  <a:pt x="14727" y="8884"/>
                </a:cubicBezTo>
                <a:lnTo>
                  <a:pt x="14727" y="11291"/>
                </a:lnTo>
                <a:cubicBezTo>
                  <a:pt x="14727" y="11562"/>
                  <a:pt x="14947" y="11782"/>
                  <a:pt x="15218" y="11782"/>
                </a:cubicBezTo>
                <a:cubicBezTo>
                  <a:pt x="15354" y="11782"/>
                  <a:pt x="15477" y="11727"/>
                  <a:pt x="15565" y="11638"/>
                </a:cubicBezTo>
                <a:lnTo>
                  <a:pt x="21456" y="6238"/>
                </a:lnTo>
                <a:cubicBezTo>
                  <a:pt x="21545" y="6150"/>
                  <a:pt x="21600" y="6027"/>
                  <a:pt x="21600" y="5891"/>
                </a:cubicBezTo>
                <a:cubicBezTo>
                  <a:pt x="21600" y="5756"/>
                  <a:pt x="21545" y="5633"/>
                  <a:pt x="21456" y="5544"/>
                </a:cubicBezTo>
              </a:path>
            </a:pathLst>
          </a:custGeom>
          <a:solidFill>
            <a:schemeClr val="tx1">
              <a:alpha val="59000"/>
            </a:schemeClr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endParaRPr>
              <a:solidFill>
                <a:prstClr val="black"/>
              </a:solidFill>
              <a:latin typeface="Arial" panose="020B0604020202020204" pitchFamily="34" charset="0"/>
              <a:ea typeface="微软雅黑" panose="020B0503020204020204" pitchFamily="34" charset="-122"/>
              <a:cs typeface="思源黑体 CN Regular" panose="020B0500000000000000" charset="-122"/>
              <a:sym typeface="Arial" panose="020B0604020202020204" pitchFamily="34" charset="0"/>
            </a:endParaRPr>
          </a:p>
        </p:txBody>
      </p:sp>
      <p:sp>
        <p:nvSpPr>
          <p:cNvPr id="65" name="Shape 3961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SpPr/>
          <p:nvPr/>
        </p:nvSpPr>
        <p:spPr>
          <a:xfrm>
            <a:off x="6882952" y="5665885"/>
            <a:ext cx="279033" cy="279033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5709" y="10176"/>
                </a:moveTo>
                <a:lnTo>
                  <a:pt x="15709" y="8345"/>
                </a:lnTo>
                <a:cubicBezTo>
                  <a:pt x="15709" y="8075"/>
                  <a:pt x="15490" y="7855"/>
                  <a:pt x="15218" y="7855"/>
                </a:cubicBezTo>
                <a:lnTo>
                  <a:pt x="14727" y="7855"/>
                </a:lnTo>
                <a:cubicBezTo>
                  <a:pt x="12724" y="7965"/>
                  <a:pt x="5590" y="8756"/>
                  <a:pt x="1949" y="14152"/>
                </a:cubicBezTo>
                <a:cubicBezTo>
                  <a:pt x="4809" y="5193"/>
                  <a:pt x="12588" y="4064"/>
                  <a:pt x="14727" y="3927"/>
                </a:cubicBezTo>
                <a:lnTo>
                  <a:pt x="15218" y="3927"/>
                </a:lnTo>
                <a:cubicBezTo>
                  <a:pt x="15490" y="3927"/>
                  <a:pt x="15709" y="3708"/>
                  <a:pt x="15709" y="3436"/>
                </a:cubicBezTo>
                <a:lnTo>
                  <a:pt x="15709" y="1606"/>
                </a:lnTo>
                <a:lnTo>
                  <a:pt x="20383" y="5891"/>
                </a:lnTo>
                <a:cubicBezTo>
                  <a:pt x="20383" y="5891"/>
                  <a:pt x="15709" y="10176"/>
                  <a:pt x="15709" y="10176"/>
                </a:cubicBezTo>
                <a:close/>
                <a:moveTo>
                  <a:pt x="21456" y="5544"/>
                </a:moveTo>
                <a:lnTo>
                  <a:pt x="15565" y="144"/>
                </a:lnTo>
                <a:cubicBezTo>
                  <a:pt x="15477" y="56"/>
                  <a:pt x="15354" y="0"/>
                  <a:pt x="15218" y="0"/>
                </a:cubicBezTo>
                <a:cubicBezTo>
                  <a:pt x="14947" y="0"/>
                  <a:pt x="14727" y="220"/>
                  <a:pt x="14727" y="491"/>
                </a:cubicBezTo>
                <a:lnTo>
                  <a:pt x="14727" y="2943"/>
                </a:lnTo>
                <a:cubicBezTo>
                  <a:pt x="12130" y="3151"/>
                  <a:pt x="0" y="4991"/>
                  <a:pt x="0" y="21109"/>
                </a:cubicBezTo>
                <a:cubicBezTo>
                  <a:pt x="0" y="21380"/>
                  <a:pt x="220" y="21600"/>
                  <a:pt x="491" y="21600"/>
                </a:cubicBezTo>
                <a:cubicBezTo>
                  <a:pt x="762" y="21600"/>
                  <a:pt x="982" y="21380"/>
                  <a:pt x="982" y="21109"/>
                </a:cubicBezTo>
                <a:cubicBezTo>
                  <a:pt x="982" y="16042"/>
                  <a:pt x="3417" y="12441"/>
                  <a:pt x="8250" y="10404"/>
                </a:cubicBezTo>
                <a:cubicBezTo>
                  <a:pt x="11093" y="9206"/>
                  <a:pt x="13684" y="8943"/>
                  <a:pt x="14727" y="8884"/>
                </a:cubicBezTo>
                <a:lnTo>
                  <a:pt x="14727" y="11291"/>
                </a:lnTo>
                <a:cubicBezTo>
                  <a:pt x="14727" y="11562"/>
                  <a:pt x="14947" y="11782"/>
                  <a:pt x="15218" y="11782"/>
                </a:cubicBezTo>
                <a:cubicBezTo>
                  <a:pt x="15354" y="11782"/>
                  <a:pt x="15477" y="11727"/>
                  <a:pt x="15565" y="11638"/>
                </a:cubicBezTo>
                <a:lnTo>
                  <a:pt x="21456" y="6238"/>
                </a:lnTo>
                <a:cubicBezTo>
                  <a:pt x="21545" y="6150"/>
                  <a:pt x="21600" y="6027"/>
                  <a:pt x="21600" y="5891"/>
                </a:cubicBezTo>
                <a:cubicBezTo>
                  <a:pt x="21600" y="5756"/>
                  <a:pt x="21545" y="5633"/>
                  <a:pt x="21456" y="5544"/>
                </a:cubicBezTo>
              </a:path>
            </a:pathLst>
          </a:custGeom>
          <a:solidFill>
            <a:schemeClr val="tx1">
              <a:alpha val="59000"/>
            </a:schemeClr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endParaRPr>
              <a:solidFill>
                <a:prstClr val="black"/>
              </a:solidFill>
              <a:latin typeface="Arial" panose="020B0604020202020204" pitchFamily="34" charset="0"/>
              <a:ea typeface="微软雅黑" panose="020B0503020204020204" pitchFamily="34" charset="-122"/>
              <a:cs typeface="思源黑体 CN Regular" panose="020B0500000000000000" charset="-122"/>
              <a:sym typeface="Arial" panose="020B0604020202020204" pitchFamily="34" charset="0"/>
            </a:endParaRPr>
          </a:p>
        </p:txBody>
      </p:sp>
      <p:sp>
        <p:nvSpPr>
          <p:cNvPr id="66" name="Shape 3961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SpPr/>
          <p:nvPr/>
        </p:nvSpPr>
        <p:spPr>
          <a:xfrm>
            <a:off x="9772456" y="5665885"/>
            <a:ext cx="279033" cy="279033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5709" y="10176"/>
                </a:moveTo>
                <a:lnTo>
                  <a:pt x="15709" y="8345"/>
                </a:lnTo>
                <a:cubicBezTo>
                  <a:pt x="15709" y="8075"/>
                  <a:pt x="15490" y="7855"/>
                  <a:pt x="15218" y="7855"/>
                </a:cubicBezTo>
                <a:lnTo>
                  <a:pt x="14727" y="7855"/>
                </a:lnTo>
                <a:cubicBezTo>
                  <a:pt x="12724" y="7965"/>
                  <a:pt x="5590" y="8756"/>
                  <a:pt x="1949" y="14152"/>
                </a:cubicBezTo>
                <a:cubicBezTo>
                  <a:pt x="4809" y="5193"/>
                  <a:pt x="12588" y="4064"/>
                  <a:pt x="14727" y="3927"/>
                </a:cubicBezTo>
                <a:lnTo>
                  <a:pt x="15218" y="3927"/>
                </a:lnTo>
                <a:cubicBezTo>
                  <a:pt x="15490" y="3927"/>
                  <a:pt x="15709" y="3708"/>
                  <a:pt x="15709" y="3436"/>
                </a:cubicBezTo>
                <a:lnTo>
                  <a:pt x="15709" y="1606"/>
                </a:lnTo>
                <a:lnTo>
                  <a:pt x="20383" y="5891"/>
                </a:lnTo>
                <a:cubicBezTo>
                  <a:pt x="20383" y="5891"/>
                  <a:pt x="15709" y="10176"/>
                  <a:pt x="15709" y="10176"/>
                </a:cubicBezTo>
                <a:close/>
                <a:moveTo>
                  <a:pt x="21456" y="5544"/>
                </a:moveTo>
                <a:lnTo>
                  <a:pt x="15565" y="144"/>
                </a:lnTo>
                <a:cubicBezTo>
                  <a:pt x="15477" y="56"/>
                  <a:pt x="15354" y="0"/>
                  <a:pt x="15218" y="0"/>
                </a:cubicBezTo>
                <a:cubicBezTo>
                  <a:pt x="14947" y="0"/>
                  <a:pt x="14727" y="220"/>
                  <a:pt x="14727" y="491"/>
                </a:cubicBezTo>
                <a:lnTo>
                  <a:pt x="14727" y="2943"/>
                </a:lnTo>
                <a:cubicBezTo>
                  <a:pt x="12130" y="3151"/>
                  <a:pt x="0" y="4991"/>
                  <a:pt x="0" y="21109"/>
                </a:cubicBezTo>
                <a:cubicBezTo>
                  <a:pt x="0" y="21380"/>
                  <a:pt x="220" y="21600"/>
                  <a:pt x="491" y="21600"/>
                </a:cubicBezTo>
                <a:cubicBezTo>
                  <a:pt x="762" y="21600"/>
                  <a:pt x="982" y="21380"/>
                  <a:pt x="982" y="21109"/>
                </a:cubicBezTo>
                <a:cubicBezTo>
                  <a:pt x="982" y="16042"/>
                  <a:pt x="3417" y="12441"/>
                  <a:pt x="8250" y="10404"/>
                </a:cubicBezTo>
                <a:cubicBezTo>
                  <a:pt x="11093" y="9206"/>
                  <a:pt x="13684" y="8943"/>
                  <a:pt x="14727" y="8884"/>
                </a:cubicBezTo>
                <a:lnTo>
                  <a:pt x="14727" y="11291"/>
                </a:lnTo>
                <a:cubicBezTo>
                  <a:pt x="14727" y="11562"/>
                  <a:pt x="14947" y="11782"/>
                  <a:pt x="15218" y="11782"/>
                </a:cubicBezTo>
                <a:cubicBezTo>
                  <a:pt x="15354" y="11782"/>
                  <a:pt x="15477" y="11727"/>
                  <a:pt x="15565" y="11638"/>
                </a:cubicBezTo>
                <a:lnTo>
                  <a:pt x="21456" y="6238"/>
                </a:lnTo>
                <a:cubicBezTo>
                  <a:pt x="21545" y="6150"/>
                  <a:pt x="21600" y="6027"/>
                  <a:pt x="21600" y="5891"/>
                </a:cubicBezTo>
                <a:cubicBezTo>
                  <a:pt x="21600" y="5756"/>
                  <a:pt x="21545" y="5633"/>
                  <a:pt x="21456" y="5544"/>
                </a:cubicBezTo>
              </a:path>
            </a:pathLst>
          </a:custGeom>
          <a:solidFill>
            <a:schemeClr val="tx1">
              <a:alpha val="59000"/>
            </a:schemeClr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endParaRPr>
              <a:solidFill>
                <a:prstClr val="black"/>
              </a:solidFill>
              <a:latin typeface="Arial" panose="020B0604020202020204" pitchFamily="34" charset="0"/>
              <a:ea typeface="微软雅黑" panose="020B0503020204020204" pitchFamily="34" charset="-122"/>
              <a:cs typeface="思源黑体 CN Regular" panose="020B0500000000000000" charset="-122"/>
              <a:sym typeface="Arial" panose="020B0604020202020204" pitchFamily="34" charset="0"/>
            </a:endParaRPr>
          </a:p>
        </p:txBody>
      </p:sp>
      <p:sp>
        <p:nvSpPr>
          <p:cNvPr id="8" name="e7d195523061f1c0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 hidden="1"/>
          <p:cNvSpPr txBox="1"/>
          <p:nvPr/>
        </p:nvSpPr>
        <p:spPr>
          <a:xfrm>
            <a:off x="-355600" y="1803400"/>
            <a:ext cx="284693" cy="1016000"/>
          </a:xfrm>
          <a:prstGeom prst="rect">
            <a:avLst/>
          </a:prstGeom>
          <a:noFill/>
        </p:spPr>
        <p:txBody>
          <a:bodyPr vert="wordArtVert" rtlCol="0">
            <a:spAutoFit/>
          </a:bodyPr>
          <a:lstStyle/>
          <a:p>
            <a:r>
              <a:rPr lang="en-US" altLang="zh-CN" sz="100"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rPr>
              <a:t>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</a:t>
            </a:r>
            <a:endParaRPr lang="zh-CN" altLang="en-US" sz="100">
              <a:latin typeface="Arial" panose="020B0604020202020204" pitchFamily="34" charset="0"/>
              <a:ea typeface="微软雅黑" panose="020B0503020204020204" pitchFamily="34" charset="-122"/>
              <a:cs typeface="思源黑体 CN Regular" panose="020B0500000000000000" charset="-122"/>
              <a:sym typeface="Arial" panose="020B0604020202020204" pitchFamily="34" charset="0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random/>
      </p:transition>
    </mc:Choice>
    <mc:Fallback xmlns:p159="http://schemas.microsoft.com/office/powerpoint/2015/09/main" xmlns:p15="http://schemas.microsoft.com/office/powerpoint/2012/main" xmlns:a14="http://schemas.microsoft.com/office/drawing/2010/main" xmlns:wp="http://schemas.openxmlformats.org/drawingml/2006/wordprocessingDrawing" xmlns:w="http://schemas.openxmlformats.org/wordprocessingml/2006/main" xmlns:m="http://schemas.openxmlformats.org/officeDocument/2006/math" xmlns="">
      <p:transition spd="slow">
        <p:random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dur="50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 nodeType="clickPar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4" presetClass="entr" presetSubtype="10" dur="50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2" dur="500"/>
                                        <p:tgtEl>
                                          <p:spTgt spid="6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4" presetClass="entr" presetSubtype="10" dur="5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5" dur="500"/>
                                        <p:tgtEl>
                                          <p:spTgt spid="6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 nodeType="clickPar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6" presetClass="emph" presetSubtype="0" dur="2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19" dur="2000" fill="hold"/>
                                        <p:tgtEl>
                                          <p:spTgt spid="16"/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  <p:par>
                                <p:cTn id="20" presetID="6" presetClass="emph" presetSubtype="0" dur="2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21" dur="2000" fill="hold"/>
                                        <p:tgtEl>
                                          <p:spTgt spid="17"/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  <p:par>
                                <p:cTn id="22" presetID="6" presetClass="emph" presetSubtype="0" dur="2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23" dur="2000" fill="hold"/>
                                        <p:tgtEl>
                                          <p:spTgt spid="24"/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  <p:par>
                                <p:cTn id="24" presetID="6" presetClass="emph" presetSubtype="0" dur="2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25" dur="2000" fill="hold"/>
                                        <p:tgtEl>
                                          <p:spTgt spid="29"/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  <p:par>
                                <p:cTn id="26" presetID="6" presetClass="emph" presetSubtype="0" dur="2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27" dur="2000" fill="hold"/>
                                        <p:tgtEl>
                                          <p:spTgt spid="61"/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  <p:par>
                                <p:cTn id="28" presetID="6" presetClass="emph" presetSubtype="0" dur="2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29" dur="2000" fill="hold"/>
                                        <p:tgtEl>
                                          <p:spTgt spid="64"/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  <p:par>
                                <p:cTn id="30" presetID="6" presetClass="emph" presetSubtype="0" dur="2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31" dur="2000" fill="hold"/>
                                        <p:tgtEl>
                                          <p:spTgt spid="65"/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  <p:par>
                                <p:cTn id="32" presetID="6" presetClass="emph" presetSubtype="0" dur="2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33" dur="2000" fill="hold"/>
                                        <p:tgtEl>
                                          <p:spTgt spid="66"/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9" grpId="0" animBg="1"/>
      <p:bldP spid="63" grpId="0"/>
      <p:bldP spid="69" grpId="0"/>
      <p:bldP spid="61" grpId="0" animBg="1"/>
      <p:bldP spid="64" grpId="0" animBg="1"/>
      <p:bldP spid="65" grpId="0" animBg="1"/>
      <p:bldP spid="66" grpId="0" animBg="1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图片 3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" y="0"/>
            <a:ext cx="12192001" cy="7754112"/>
          </a:xfrm>
          <a:prstGeom prst="rect">
            <a:avLst/>
          </a:prstGeom>
        </p:spPr>
      </p:pic>
      <p:sp>
        <p:nvSpPr>
          <p:cNvPr id="5" name="矩形 4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SpPr/>
          <p:nvPr/>
        </p:nvSpPr>
        <p:spPr>
          <a:xfrm>
            <a:off x="685800" y="685800"/>
            <a:ext cx="10820400" cy="5486400"/>
          </a:xfrm>
          <a:prstGeom prst="rect">
            <a:avLst/>
          </a:prstGeom>
          <a:solidFill>
            <a:schemeClr val="bg1">
              <a:alpha val="89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latin typeface="Arial" panose="020B0604020202020204" pitchFamily="34" charset="0"/>
              <a:ea typeface="微软雅黑" panose="020B0503020204020204" pitchFamily="34" charset="-122"/>
              <a:cs typeface="思源黑体 CN Regular" panose="020B0500000000000000" charset="-122"/>
              <a:sym typeface="Arial" panose="020B0604020202020204" pitchFamily="34" charset="0"/>
            </a:endParaRPr>
          </a:p>
        </p:txBody>
      </p:sp>
      <p:sp>
        <p:nvSpPr>
          <p:cNvPr id="9" name="TextBox 8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SpPr txBox="1"/>
          <p:nvPr/>
        </p:nvSpPr>
        <p:spPr>
          <a:xfrm>
            <a:off x="2375250" y="2985801"/>
            <a:ext cx="615553" cy="88639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lnSpc>
                <a:spcPct val="80000"/>
              </a:lnSpc>
            </a:pPr>
            <a:r>
              <a:rPr lang="en-US" sz="7200">
                <a:latin typeface="Arial" panose="020B0604020202020204" pitchFamily="34" charset="0"/>
                <a:ea typeface="微软雅黑" panose="020B0503020204020204" pitchFamily="34" charset="-122"/>
                <a:cs typeface="等线" panose="02010600030101010101" charset="-122"/>
                <a:sym typeface="Arial" panose="020B0604020202020204" pitchFamily="34" charset="0"/>
              </a:rPr>
              <a:t>S</a:t>
            </a:r>
          </a:p>
        </p:txBody>
      </p:sp>
      <p:sp>
        <p:nvSpPr>
          <p:cNvPr id="10" name="TextBox 9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SpPr txBox="1"/>
          <p:nvPr/>
        </p:nvSpPr>
        <p:spPr>
          <a:xfrm>
            <a:off x="3327901" y="2985801"/>
            <a:ext cx="615553" cy="88639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lnSpc>
                <a:spcPct val="80000"/>
              </a:lnSpc>
            </a:pPr>
            <a:r>
              <a:rPr lang="en-US" sz="7200">
                <a:latin typeface="Arial" panose="020B0604020202020204" pitchFamily="34" charset="0"/>
                <a:ea typeface="微软雅黑" panose="020B0503020204020204" pitchFamily="34" charset="-122"/>
                <a:cs typeface="等线" panose="02010600030101010101" charset="-122"/>
                <a:sym typeface="Arial" panose="020B0604020202020204" pitchFamily="34" charset="0"/>
              </a:rPr>
              <a:t>E</a:t>
            </a:r>
          </a:p>
        </p:txBody>
      </p:sp>
      <p:sp>
        <p:nvSpPr>
          <p:cNvPr id="11" name="TextBox 10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SpPr txBox="1"/>
          <p:nvPr/>
        </p:nvSpPr>
        <p:spPr>
          <a:xfrm>
            <a:off x="4288566" y="2985801"/>
            <a:ext cx="666849" cy="88639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lnSpc>
                <a:spcPct val="80000"/>
              </a:lnSpc>
            </a:pPr>
            <a:r>
              <a:rPr lang="en-US" sz="7200">
                <a:latin typeface="Arial" panose="020B0604020202020204" pitchFamily="34" charset="0"/>
                <a:ea typeface="微软雅黑" panose="020B0503020204020204" pitchFamily="34" charset="-122"/>
                <a:cs typeface="等线" panose="02010600030101010101" charset="-122"/>
                <a:sym typeface="Arial" panose="020B0604020202020204" pitchFamily="34" charset="0"/>
              </a:rPr>
              <a:t>R</a:t>
            </a:r>
          </a:p>
        </p:txBody>
      </p:sp>
      <p:sp>
        <p:nvSpPr>
          <p:cNvPr id="12" name="TextBox 11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SpPr txBox="1"/>
          <p:nvPr/>
        </p:nvSpPr>
        <p:spPr>
          <a:xfrm>
            <a:off x="2386470" y="3911086"/>
            <a:ext cx="625172" cy="88639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lnSpc>
                <a:spcPct val="80000"/>
              </a:lnSpc>
            </a:pPr>
            <a:r>
              <a:rPr lang="en-US" sz="7200">
                <a:latin typeface="Arial" panose="020B0604020202020204" pitchFamily="34" charset="0"/>
                <a:ea typeface="微软雅黑" panose="020B0503020204020204" pitchFamily="34" charset="-122"/>
                <a:cs typeface="等线" panose="02010600030101010101" charset="-122"/>
                <a:sym typeface="Arial" panose="020B0604020202020204" pitchFamily="34" charset="0"/>
              </a:rPr>
              <a:t>V</a:t>
            </a:r>
          </a:p>
        </p:txBody>
      </p:sp>
      <p:sp>
        <p:nvSpPr>
          <p:cNvPr id="13" name="TextBox 12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SpPr txBox="1"/>
          <p:nvPr/>
        </p:nvSpPr>
        <p:spPr>
          <a:xfrm>
            <a:off x="3523467" y="3911086"/>
            <a:ext cx="256480" cy="88639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lnSpc>
                <a:spcPct val="80000"/>
              </a:lnSpc>
            </a:pPr>
            <a:r>
              <a:rPr lang="en-US" sz="7200">
                <a:latin typeface="Arial" panose="020B0604020202020204" pitchFamily="34" charset="0"/>
                <a:ea typeface="微软雅黑" panose="020B0503020204020204" pitchFamily="34" charset="-122"/>
                <a:cs typeface="等线" panose="02010600030101010101" charset="-122"/>
                <a:sym typeface="Arial" panose="020B0604020202020204" pitchFamily="34" charset="0"/>
              </a:rPr>
              <a:t>I</a:t>
            </a:r>
          </a:p>
        </p:txBody>
      </p:sp>
      <p:sp>
        <p:nvSpPr>
          <p:cNvPr id="14" name="TextBox 13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SpPr txBox="1"/>
          <p:nvPr/>
        </p:nvSpPr>
        <p:spPr>
          <a:xfrm>
            <a:off x="4280552" y="3911086"/>
            <a:ext cx="615553" cy="88639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lnSpc>
                <a:spcPct val="80000"/>
              </a:lnSpc>
            </a:pPr>
            <a:r>
              <a:rPr lang="en-US" sz="7200">
                <a:latin typeface="Arial" panose="020B0604020202020204" pitchFamily="34" charset="0"/>
                <a:ea typeface="微软雅黑" panose="020B0503020204020204" pitchFamily="34" charset="-122"/>
                <a:cs typeface="等线" panose="02010600030101010101" charset="-122"/>
                <a:sym typeface="Arial" panose="020B0604020202020204" pitchFamily="34" charset="0"/>
              </a:rPr>
              <a:t>S</a:t>
            </a:r>
          </a:p>
        </p:txBody>
      </p:sp>
      <p:cxnSp>
        <p:nvCxnSpPr>
          <p:cNvPr id="15" name="Straight Connector 14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CxnSpPr/>
          <p:nvPr/>
        </p:nvCxnSpPr>
        <p:spPr>
          <a:xfrm>
            <a:off x="2432957" y="2741386"/>
            <a:ext cx="2405439" cy="0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Box 16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SpPr txBox="1"/>
          <p:nvPr/>
        </p:nvSpPr>
        <p:spPr>
          <a:xfrm>
            <a:off x="2372844" y="2262684"/>
            <a:ext cx="652423" cy="44319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lnSpc>
                <a:spcPct val="80000"/>
              </a:lnSpc>
            </a:pPr>
            <a:r>
              <a:rPr lang="en-US" sz="3600"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rPr>
              <a:t>29.</a:t>
            </a:r>
          </a:p>
        </p:txBody>
      </p:sp>
      <p:sp>
        <p:nvSpPr>
          <p:cNvPr id="18" name="TextBox 17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SpPr txBox="1"/>
          <p:nvPr/>
        </p:nvSpPr>
        <p:spPr>
          <a:xfrm>
            <a:off x="3100741" y="2281069"/>
            <a:ext cx="1340945" cy="34471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80000"/>
              </a:lnSpc>
            </a:pPr>
            <a:r>
              <a:rPr lang="en-US" sz="1400">
                <a:latin typeface="Arial" panose="020B0604020202020204" pitchFamily="34" charset="0"/>
                <a:ea typeface="微软雅黑" panose="020B0503020204020204" pitchFamily="34" charset="-122"/>
                <a:cs typeface="等线" panose="02010600030101010101" charset="-122"/>
                <a:sym typeface="Arial" panose="020B0604020202020204" pitchFamily="34" charset="0"/>
              </a:rPr>
              <a:t>Not just Best</a:t>
            </a:r>
          </a:p>
          <a:p>
            <a:pPr>
              <a:lnSpc>
                <a:spcPct val="80000"/>
              </a:lnSpc>
            </a:pPr>
            <a:r>
              <a:rPr lang="en-US" sz="1400">
                <a:latin typeface="Arial" panose="020B0604020202020204" pitchFamily="34" charset="0"/>
                <a:ea typeface="微软雅黑" panose="020B0503020204020204" pitchFamily="34" charset="-122"/>
                <a:cs typeface="等线" panose="02010600030101010101" charset="-122"/>
                <a:sym typeface="Arial" panose="020B0604020202020204" pitchFamily="34" charset="0"/>
              </a:rPr>
              <a:t>Creative Agency.</a:t>
            </a:r>
          </a:p>
        </p:txBody>
      </p:sp>
      <p:pic>
        <p:nvPicPr>
          <p:cNvPr id="3" name="图片占位符 2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PicPr>
            <a:picLocks noGrp="1" noChangeAspect="1"/>
          </p:cNvPicPr>
          <p:nvPr>
            <p:ph type="pic" sz="quarter" idx="10"/>
          </p:nvPr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/>
      </p:pic>
      <p:sp>
        <p:nvSpPr>
          <p:cNvPr id="16" name="TextBox 1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SpPr txBox="1"/>
          <p:nvPr/>
        </p:nvSpPr>
        <p:spPr>
          <a:xfrm>
            <a:off x="5722152" y="1639550"/>
            <a:ext cx="3643946" cy="14452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>
              <a:lnSpc>
                <a:spcPct val="100000"/>
              </a:lnSpc>
              <a:defRPr sz="4400" b="1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Roboto" panose="02000000000000000000" charset="0"/>
              </a:defRPr>
            </a:lvl1pPr>
          </a:lstStyle>
          <a:p>
            <a:r>
              <a:rPr lang="en-US">
                <a:latin typeface="Arial" panose="020B0604020202020204" pitchFamily="34" charset="0"/>
                <a:ea typeface="微软雅黑" panose="020B0503020204020204" pitchFamily="34" charset="-122"/>
                <a:cs typeface="Gill Sans MT" panose="020B0502020104020203" charset="0"/>
                <a:sym typeface="Arial" panose="020B0604020202020204" pitchFamily="34" charset="0"/>
              </a:rPr>
              <a:t>Creative</a:t>
            </a:r>
          </a:p>
          <a:p>
            <a:r>
              <a:rPr lang="en-US">
                <a:solidFill>
                  <a:schemeClr val="accent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Gill Sans MT" panose="020B0502020104020203" charset="0"/>
                <a:sym typeface="Arial" panose="020B0604020202020204" pitchFamily="34" charset="0"/>
              </a:rPr>
              <a:t>Text Slides</a:t>
            </a:r>
          </a:p>
        </p:txBody>
      </p:sp>
      <p:sp>
        <p:nvSpPr>
          <p:cNvPr id="19" name="Rectangle 58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SpPr/>
          <p:nvPr/>
        </p:nvSpPr>
        <p:spPr>
          <a:xfrm>
            <a:off x="6062342" y="3701481"/>
            <a:ext cx="180898" cy="27873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>
              <a:latin typeface="Arial" panose="020B0604020202020204" pitchFamily="34" charset="0"/>
              <a:ea typeface="微软雅黑" panose="020B0503020204020204" pitchFamily="34" charset="-122"/>
              <a:cs typeface="思源黑体 CN Regular" panose="020B0500000000000000" charset="-122"/>
              <a:sym typeface="Arial" panose="020B0604020202020204" pitchFamily="34" charset="0"/>
            </a:endParaRPr>
          </a:p>
        </p:txBody>
      </p:sp>
      <p:sp>
        <p:nvSpPr>
          <p:cNvPr id="23" name="Rectangle 59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SpPr/>
          <p:nvPr/>
        </p:nvSpPr>
        <p:spPr>
          <a:xfrm>
            <a:off x="6285168" y="3362307"/>
            <a:ext cx="180898" cy="617904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>
              <a:latin typeface="Arial" panose="020B0604020202020204" pitchFamily="34" charset="0"/>
              <a:ea typeface="微软雅黑" panose="020B0503020204020204" pitchFamily="34" charset="-122"/>
              <a:cs typeface="思源黑体 CN Regular" panose="020B0500000000000000" charset="-122"/>
              <a:sym typeface="Arial" panose="020B0604020202020204" pitchFamily="34" charset="0"/>
            </a:endParaRPr>
          </a:p>
        </p:txBody>
      </p:sp>
      <p:sp>
        <p:nvSpPr>
          <p:cNvPr id="24" name="Rectangle 60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SpPr/>
          <p:nvPr/>
        </p:nvSpPr>
        <p:spPr>
          <a:xfrm>
            <a:off x="6507994" y="3241105"/>
            <a:ext cx="180898" cy="73910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>
              <a:latin typeface="Arial" panose="020B0604020202020204" pitchFamily="34" charset="0"/>
              <a:ea typeface="微软雅黑" panose="020B0503020204020204" pitchFamily="34" charset="-122"/>
              <a:cs typeface="思源黑体 CN Regular" panose="020B0500000000000000" charset="-122"/>
              <a:sym typeface="Arial" panose="020B0604020202020204" pitchFamily="34" charset="0"/>
            </a:endParaRPr>
          </a:p>
        </p:txBody>
      </p:sp>
      <p:sp>
        <p:nvSpPr>
          <p:cNvPr id="25" name="Rectangle 61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SpPr/>
          <p:nvPr/>
        </p:nvSpPr>
        <p:spPr>
          <a:xfrm>
            <a:off x="6730820" y="3393505"/>
            <a:ext cx="180898" cy="58670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>
              <a:latin typeface="Arial" panose="020B0604020202020204" pitchFamily="34" charset="0"/>
              <a:ea typeface="微软雅黑" panose="020B0503020204020204" pitchFamily="34" charset="-122"/>
              <a:cs typeface="思源黑体 CN Regular" panose="020B0500000000000000" charset="-122"/>
              <a:sym typeface="Arial" panose="020B0604020202020204" pitchFamily="34" charset="0"/>
            </a:endParaRPr>
          </a:p>
        </p:txBody>
      </p:sp>
      <p:sp>
        <p:nvSpPr>
          <p:cNvPr id="26" name="Rectangle 62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SpPr/>
          <p:nvPr/>
        </p:nvSpPr>
        <p:spPr>
          <a:xfrm>
            <a:off x="6953646" y="3752281"/>
            <a:ext cx="180898" cy="22793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>
              <a:latin typeface="Arial" panose="020B0604020202020204" pitchFamily="34" charset="0"/>
              <a:ea typeface="微软雅黑" panose="020B0503020204020204" pitchFamily="34" charset="-122"/>
              <a:cs typeface="思源黑体 CN Regular" panose="020B0500000000000000" charset="-122"/>
              <a:sym typeface="Arial" panose="020B0604020202020204" pitchFamily="34" charset="0"/>
            </a:endParaRPr>
          </a:p>
        </p:txBody>
      </p:sp>
      <p:sp>
        <p:nvSpPr>
          <p:cNvPr id="27" name="Rectangle 63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SpPr/>
          <p:nvPr/>
        </p:nvSpPr>
        <p:spPr>
          <a:xfrm>
            <a:off x="7176472" y="3288731"/>
            <a:ext cx="180898" cy="69148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>
              <a:latin typeface="Arial" panose="020B0604020202020204" pitchFamily="34" charset="0"/>
              <a:ea typeface="微软雅黑" panose="020B0503020204020204" pitchFamily="34" charset="-122"/>
              <a:cs typeface="思源黑体 CN Regular" panose="020B0500000000000000" charset="-122"/>
              <a:sym typeface="Arial" panose="020B0604020202020204" pitchFamily="34" charset="0"/>
            </a:endParaRPr>
          </a:p>
        </p:txBody>
      </p:sp>
      <p:sp>
        <p:nvSpPr>
          <p:cNvPr id="28" name="Rectangle 64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SpPr/>
          <p:nvPr/>
        </p:nvSpPr>
        <p:spPr>
          <a:xfrm>
            <a:off x="7399298" y="3466753"/>
            <a:ext cx="180898" cy="513458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>
              <a:latin typeface="Arial" panose="020B0604020202020204" pitchFamily="34" charset="0"/>
              <a:ea typeface="微软雅黑" panose="020B0503020204020204" pitchFamily="34" charset="-122"/>
              <a:cs typeface="思源黑体 CN Regular" panose="020B0500000000000000" charset="-122"/>
              <a:sym typeface="Arial" panose="020B0604020202020204" pitchFamily="34" charset="0"/>
            </a:endParaRPr>
          </a:p>
        </p:txBody>
      </p:sp>
      <p:sp>
        <p:nvSpPr>
          <p:cNvPr id="29" name="Rectangle 65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SpPr/>
          <p:nvPr/>
        </p:nvSpPr>
        <p:spPr>
          <a:xfrm>
            <a:off x="7622124" y="3860231"/>
            <a:ext cx="180898" cy="11998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>
              <a:solidFill>
                <a:schemeClr val="tx1"/>
              </a:solidFill>
              <a:latin typeface="Arial" panose="020B0604020202020204" pitchFamily="34" charset="0"/>
              <a:ea typeface="微软雅黑" panose="020B0503020204020204" pitchFamily="34" charset="-122"/>
              <a:cs typeface="思源黑体 CN Regular" panose="020B0500000000000000" charset="-122"/>
              <a:sym typeface="Arial" panose="020B0604020202020204" pitchFamily="34" charset="0"/>
            </a:endParaRPr>
          </a:p>
        </p:txBody>
      </p:sp>
      <p:sp>
        <p:nvSpPr>
          <p:cNvPr id="30" name="Rectangle 76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SpPr/>
          <p:nvPr/>
        </p:nvSpPr>
        <p:spPr>
          <a:xfrm>
            <a:off x="8003229" y="3311305"/>
            <a:ext cx="2653914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050" b="1" dirty="0"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rPr>
              <a:t>MARKETING EVENT</a:t>
            </a:r>
          </a:p>
          <a:p>
            <a:endParaRPr lang="en-US" sz="1050" dirty="0">
              <a:latin typeface="Arial" panose="020B0604020202020204" pitchFamily="34" charset="0"/>
              <a:ea typeface="微软雅黑" panose="020B0503020204020204" pitchFamily="34" charset="-122"/>
              <a:cs typeface="思源黑体 CN Regular" panose="020B0500000000000000" charset="-122"/>
              <a:sym typeface="Arial" panose="020B0604020202020204" pitchFamily="34" charset="0"/>
            </a:endParaRPr>
          </a:p>
          <a:p>
            <a:r>
              <a:rPr lang="en-US" sz="1050" dirty="0"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rPr>
              <a:t>Click here to add content, content to match the title. </a:t>
            </a:r>
          </a:p>
        </p:txBody>
      </p:sp>
      <p:sp>
        <p:nvSpPr>
          <p:cNvPr id="31" name="Freeform 78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SpPr/>
          <p:nvPr/>
        </p:nvSpPr>
        <p:spPr>
          <a:xfrm>
            <a:off x="9809354" y="4525228"/>
            <a:ext cx="300953" cy="517262"/>
          </a:xfrm>
          <a:custGeom>
            <a:avLst/>
            <a:gdLst/>
            <a:ahLst/>
            <a:cxnLst/>
            <a:rect l="l" t="t" r="r" b="b"/>
            <a:pathLst>
              <a:path w="130625" h="224517">
                <a:moveTo>
                  <a:pt x="24492" y="61232"/>
                </a:moveTo>
                <a:lnTo>
                  <a:pt x="106135" y="61232"/>
                </a:lnTo>
                <a:cubicBezTo>
                  <a:pt x="112939" y="61232"/>
                  <a:pt x="118722" y="63613"/>
                  <a:pt x="123485" y="68375"/>
                </a:cubicBezTo>
                <a:cubicBezTo>
                  <a:pt x="128247" y="73138"/>
                  <a:pt x="130628" y="78921"/>
                  <a:pt x="130628" y="85725"/>
                </a:cubicBezTo>
                <a:lnTo>
                  <a:pt x="130628" y="138792"/>
                </a:lnTo>
                <a:cubicBezTo>
                  <a:pt x="130628" y="142194"/>
                  <a:pt x="129438" y="145086"/>
                  <a:pt x="127056" y="147467"/>
                </a:cubicBezTo>
                <a:cubicBezTo>
                  <a:pt x="124675" y="149848"/>
                  <a:pt x="121784" y="151039"/>
                  <a:pt x="118382" y="151039"/>
                </a:cubicBezTo>
                <a:cubicBezTo>
                  <a:pt x="114980" y="151039"/>
                  <a:pt x="112089" y="149848"/>
                  <a:pt x="109707" y="147467"/>
                </a:cubicBezTo>
                <a:cubicBezTo>
                  <a:pt x="107326" y="145086"/>
                  <a:pt x="106135" y="142194"/>
                  <a:pt x="106135" y="138792"/>
                </a:cubicBezTo>
                <a:lnTo>
                  <a:pt x="106135" y="93889"/>
                </a:lnTo>
                <a:lnTo>
                  <a:pt x="97971" y="93889"/>
                </a:lnTo>
                <a:lnTo>
                  <a:pt x="97971" y="210230"/>
                </a:lnTo>
                <a:cubicBezTo>
                  <a:pt x="97971" y="214142"/>
                  <a:pt x="96568" y="217501"/>
                  <a:pt x="93761" y="220308"/>
                </a:cubicBezTo>
                <a:cubicBezTo>
                  <a:pt x="90955" y="223114"/>
                  <a:pt x="87596" y="224517"/>
                  <a:pt x="83684" y="224517"/>
                </a:cubicBezTo>
                <a:cubicBezTo>
                  <a:pt x="79772" y="224517"/>
                  <a:pt x="76412" y="223114"/>
                  <a:pt x="73606" y="220308"/>
                </a:cubicBezTo>
                <a:cubicBezTo>
                  <a:pt x="70799" y="217501"/>
                  <a:pt x="69396" y="214142"/>
                  <a:pt x="69396" y="210230"/>
                </a:cubicBezTo>
                <a:lnTo>
                  <a:pt x="69396" y="151039"/>
                </a:lnTo>
                <a:lnTo>
                  <a:pt x="61232" y="151039"/>
                </a:lnTo>
                <a:lnTo>
                  <a:pt x="61232" y="210230"/>
                </a:lnTo>
                <a:cubicBezTo>
                  <a:pt x="61232" y="214142"/>
                  <a:pt x="59829" y="217501"/>
                  <a:pt x="57022" y="220308"/>
                </a:cubicBezTo>
                <a:cubicBezTo>
                  <a:pt x="54216" y="223114"/>
                  <a:pt x="50856" y="224517"/>
                  <a:pt x="46944" y="224517"/>
                </a:cubicBezTo>
                <a:cubicBezTo>
                  <a:pt x="43032" y="224517"/>
                  <a:pt x="39673" y="223114"/>
                  <a:pt x="36866" y="220308"/>
                </a:cubicBezTo>
                <a:cubicBezTo>
                  <a:pt x="34060" y="217501"/>
                  <a:pt x="32657" y="214142"/>
                  <a:pt x="32657" y="210230"/>
                </a:cubicBezTo>
                <a:lnTo>
                  <a:pt x="32657" y="93889"/>
                </a:lnTo>
                <a:lnTo>
                  <a:pt x="24492" y="93889"/>
                </a:lnTo>
                <a:lnTo>
                  <a:pt x="24492" y="138792"/>
                </a:lnTo>
                <a:cubicBezTo>
                  <a:pt x="24492" y="142194"/>
                  <a:pt x="23302" y="145086"/>
                  <a:pt x="20921" y="147467"/>
                </a:cubicBezTo>
                <a:cubicBezTo>
                  <a:pt x="18539" y="149848"/>
                  <a:pt x="15648" y="151039"/>
                  <a:pt x="12246" y="151039"/>
                </a:cubicBezTo>
                <a:cubicBezTo>
                  <a:pt x="8844" y="151039"/>
                  <a:pt x="5953" y="149848"/>
                  <a:pt x="3572" y="147467"/>
                </a:cubicBezTo>
                <a:cubicBezTo>
                  <a:pt x="1190" y="145086"/>
                  <a:pt x="0" y="142194"/>
                  <a:pt x="0" y="138792"/>
                </a:cubicBezTo>
                <a:lnTo>
                  <a:pt x="0" y="85725"/>
                </a:lnTo>
                <a:cubicBezTo>
                  <a:pt x="0" y="78921"/>
                  <a:pt x="2381" y="73138"/>
                  <a:pt x="7143" y="68375"/>
                </a:cubicBezTo>
                <a:cubicBezTo>
                  <a:pt x="11906" y="63613"/>
                  <a:pt x="17689" y="61232"/>
                  <a:pt x="24492" y="61232"/>
                </a:cubicBezTo>
                <a:close/>
                <a:moveTo>
                  <a:pt x="65314" y="0"/>
                </a:moveTo>
                <a:cubicBezTo>
                  <a:pt x="73223" y="0"/>
                  <a:pt x="79963" y="2785"/>
                  <a:pt x="85533" y="8355"/>
                </a:cubicBezTo>
                <a:cubicBezTo>
                  <a:pt x="91104" y="13926"/>
                  <a:pt x="93889" y="20665"/>
                  <a:pt x="93889" y="28575"/>
                </a:cubicBezTo>
                <a:cubicBezTo>
                  <a:pt x="93889" y="36484"/>
                  <a:pt x="91104" y="43223"/>
                  <a:pt x="85533" y="48794"/>
                </a:cubicBezTo>
                <a:cubicBezTo>
                  <a:pt x="79963" y="54364"/>
                  <a:pt x="73223" y="57150"/>
                  <a:pt x="65314" y="57150"/>
                </a:cubicBezTo>
                <a:cubicBezTo>
                  <a:pt x="57405" y="57150"/>
                  <a:pt x="50665" y="54364"/>
                  <a:pt x="45095" y="48794"/>
                </a:cubicBezTo>
                <a:cubicBezTo>
                  <a:pt x="39524" y="43223"/>
                  <a:pt x="36739" y="36484"/>
                  <a:pt x="36739" y="28575"/>
                </a:cubicBezTo>
                <a:cubicBezTo>
                  <a:pt x="36739" y="20665"/>
                  <a:pt x="39524" y="13926"/>
                  <a:pt x="45095" y="8355"/>
                </a:cubicBezTo>
                <a:cubicBezTo>
                  <a:pt x="50665" y="2785"/>
                  <a:pt x="57405" y="0"/>
                  <a:pt x="65314" y="0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noAutofit/>
          </a:bodyPr>
          <a:lstStyle/>
          <a:p>
            <a:pPr algn="r"/>
            <a:endParaRPr lang="en-US" sz="240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ea typeface="微软雅黑" panose="020B0503020204020204" pitchFamily="34" charset="-122"/>
              <a:cs typeface="思源黑体 CN Regular" panose="020B0500000000000000" charset="-122"/>
              <a:sym typeface="Arial" panose="020B0604020202020204" pitchFamily="34" charset="0"/>
            </a:endParaRPr>
          </a:p>
        </p:txBody>
      </p:sp>
      <p:sp>
        <p:nvSpPr>
          <p:cNvPr id="32" name="Freeform 79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SpPr/>
          <p:nvPr/>
        </p:nvSpPr>
        <p:spPr>
          <a:xfrm>
            <a:off x="10142795" y="4525228"/>
            <a:ext cx="376192" cy="517262"/>
          </a:xfrm>
          <a:custGeom>
            <a:avLst/>
            <a:gdLst/>
            <a:ahLst/>
            <a:cxnLst/>
            <a:rect l="l" t="t" r="r" b="b"/>
            <a:pathLst>
              <a:path w="163286" h="224517">
                <a:moveTo>
                  <a:pt x="57150" y="61232"/>
                </a:moveTo>
                <a:lnTo>
                  <a:pt x="106136" y="61232"/>
                </a:lnTo>
                <a:cubicBezTo>
                  <a:pt x="114896" y="61232"/>
                  <a:pt x="122379" y="65782"/>
                  <a:pt x="128588" y="74881"/>
                </a:cubicBezTo>
                <a:lnTo>
                  <a:pt x="161245" y="123867"/>
                </a:lnTo>
                <a:cubicBezTo>
                  <a:pt x="162606" y="125908"/>
                  <a:pt x="163286" y="128162"/>
                  <a:pt x="163286" y="130628"/>
                </a:cubicBezTo>
                <a:cubicBezTo>
                  <a:pt x="163286" y="134030"/>
                  <a:pt x="162095" y="136921"/>
                  <a:pt x="159714" y="139303"/>
                </a:cubicBezTo>
                <a:cubicBezTo>
                  <a:pt x="157333" y="141684"/>
                  <a:pt x="154441" y="142875"/>
                  <a:pt x="151040" y="142875"/>
                </a:cubicBezTo>
                <a:cubicBezTo>
                  <a:pt x="146702" y="142875"/>
                  <a:pt x="143300" y="141046"/>
                  <a:pt x="140834" y="137389"/>
                </a:cubicBezTo>
                <a:lnTo>
                  <a:pt x="111876" y="93889"/>
                </a:lnTo>
                <a:lnTo>
                  <a:pt x="106136" y="93889"/>
                </a:lnTo>
                <a:lnTo>
                  <a:pt x="106136" y="110728"/>
                </a:lnTo>
                <a:lnTo>
                  <a:pt x="137645" y="163158"/>
                </a:lnTo>
                <a:cubicBezTo>
                  <a:pt x="138410" y="164433"/>
                  <a:pt x="138793" y="165837"/>
                  <a:pt x="138793" y="167367"/>
                </a:cubicBezTo>
                <a:cubicBezTo>
                  <a:pt x="138793" y="169579"/>
                  <a:pt x="137985" y="171492"/>
                  <a:pt x="136369" y="173108"/>
                </a:cubicBezTo>
                <a:cubicBezTo>
                  <a:pt x="134753" y="174724"/>
                  <a:pt x="132840" y="175532"/>
                  <a:pt x="130629" y="175532"/>
                </a:cubicBezTo>
                <a:lnTo>
                  <a:pt x="106136" y="175532"/>
                </a:lnTo>
                <a:lnTo>
                  <a:pt x="106136" y="210230"/>
                </a:lnTo>
                <a:cubicBezTo>
                  <a:pt x="106136" y="214142"/>
                  <a:pt x="104733" y="217501"/>
                  <a:pt x="101926" y="220308"/>
                </a:cubicBezTo>
                <a:cubicBezTo>
                  <a:pt x="99120" y="223114"/>
                  <a:pt x="95761" y="224517"/>
                  <a:pt x="91848" y="224517"/>
                </a:cubicBezTo>
                <a:lnTo>
                  <a:pt x="71438" y="224517"/>
                </a:lnTo>
                <a:cubicBezTo>
                  <a:pt x="67526" y="224517"/>
                  <a:pt x="64166" y="223114"/>
                  <a:pt x="61360" y="220308"/>
                </a:cubicBezTo>
                <a:cubicBezTo>
                  <a:pt x="58553" y="217501"/>
                  <a:pt x="57150" y="214142"/>
                  <a:pt x="57150" y="210230"/>
                </a:cubicBezTo>
                <a:lnTo>
                  <a:pt x="57150" y="175532"/>
                </a:lnTo>
                <a:lnTo>
                  <a:pt x="32657" y="175532"/>
                </a:lnTo>
                <a:cubicBezTo>
                  <a:pt x="30446" y="175532"/>
                  <a:pt x="28533" y="174724"/>
                  <a:pt x="26917" y="173108"/>
                </a:cubicBezTo>
                <a:cubicBezTo>
                  <a:pt x="25301" y="171492"/>
                  <a:pt x="24493" y="169579"/>
                  <a:pt x="24493" y="167367"/>
                </a:cubicBezTo>
                <a:cubicBezTo>
                  <a:pt x="24493" y="165837"/>
                  <a:pt x="24876" y="164433"/>
                  <a:pt x="25641" y="163158"/>
                </a:cubicBezTo>
                <a:lnTo>
                  <a:pt x="57150" y="110728"/>
                </a:lnTo>
                <a:lnTo>
                  <a:pt x="57150" y="93889"/>
                </a:lnTo>
                <a:lnTo>
                  <a:pt x="51410" y="93889"/>
                </a:lnTo>
                <a:lnTo>
                  <a:pt x="22452" y="137389"/>
                </a:lnTo>
                <a:cubicBezTo>
                  <a:pt x="19986" y="141046"/>
                  <a:pt x="16584" y="142875"/>
                  <a:pt x="12247" y="142875"/>
                </a:cubicBezTo>
                <a:cubicBezTo>
                  <a:pt x="8845" y="142875"/>
                  <a:pt x="5953" y="141684"/>
                  <a:pt x="3572" y="139303"/>
                </a:cubicBezTo>
                <a:cubicBezTo>
                  <a:pt x="1191" y="136921"/>
                  <a:pt x="0" y="134030"/>
                  <a:pt x="0" y="130628"/>
                </a:cubicBezTo>
                <a:cubicBezTo>
                  <a:pt x="0" y="128162"/>
                  <a:pt x="681" y="125908"/>
                  <a:pt x="2041" y="123867"/>
                </a:cubicBezTo>
                <a:lnTo>
                  <a:pt x="34698" y="74881"/>
                </a:lnTo>
                <a:cubicBezTo>
                  <a:pt x="40907" y="65782"/>
                  <a:pt x="48391" y="61232"/>
                  <a:pt x="57150" y="61232"/>
                </a:cubicBezTo>
                <a:close/>
                <a:moveTo>
                  <a:pt x="81643" y="0"/>
                </a:moveTo>
                <a:cubicBezTo>
                  <a:pt x="89552" y="0"/>
                  <a:pt x="96292" y="2785"/>
                  <a:pt x="101862" y="8355"/>
                </a:cubicBezTo>
                <a:cubicBezTo>
                  <a:pt x="107433" y="13926"/>
                  <a:pt x="110218" y="20665"/>
                  <a:pt x="110218" y="28575"/>
                </a:cubicBezTo>
                <a:cubicBezTo>
                  <a:pt x="110218" y="36484"/>
                  <a:pt x="107433" y="43223"/>
                  <a:pt x="101862" y="48794"/>
                </a:cubicBezTo>
                <a:cubicBezTo>
                  <a:pt x="96292" y="54364"/>
                  <a:pt x="89552" y="57150"/>
                  <a:pt x="81643" y="57150"/>
                </a:cubicBezTo>
                <a:cubicBezTo>
                  <a:pt x="73734" y="57150"/>
                  <a:pt x="66994" y="54364"/>
                  <a:pt x="61424" y="48794"/>
                </a:cubicBezTo>
                <a:cubicBezTo>
                  <a:pt x="55853" y="43223"/>
                  <a:pt x="53068" y="36484"/>
                  <a:pt x="53068" y="28575"/>
                </a:cubicBezTo>
                <a:cubicBezTo>
                  <a:pt x="53068" y="20665"/>
                  <a:pt x="55853" y="13926"/>
                  <a:pt x="61424" y="8355"/>
                </a:cubicBezTo>
                <a:cubicBezTo>
                  <a:pt x="66994" y="2785"/>
                  <a:pt x="73734" y="0"/>
                  <a:pt x="81643" y="0"/>
                </a:cubicBezTo>
                <a:close/>
              </a:path>
            </a:pathLst>
          </a:custGeom>
          <a:solidFill>
            <a:schemeClr val="bg1">
              <a:lumMod val="75000"/>
            </a:schemeClr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noAutofit/>
          </a:bodyPr>
          <a:lstStyle/>
          <a:p>
            <a:pPr algn="r"/>
            <a:endParaRPr lang="en-US" sz="240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ea typeface="微软雅黑" panose="020B0503020204020204" pitchFamily="34" charset="-122"/>
              <a:cs typeface="思源黑体 CN Regular" panose="020B0500000000000000" charset="-122"/>
              <a:sym typeface="Arial" panose="020B0604020202020204" pitchFamily="34" charset="0"/>
            </a:endParaRPr>
          </a:p>
        </p:txBody>
      </p:sp>
      <p:sp>
        <p:nvSpPr>
          <p:cNvPr id="33" name="TextBox 80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SpPr txBox="1"/>
          <p:nvPr/>
        </p:nvSpPr>
        <p:spPr>
          <a:xfrm>
            <a:off x="5838496" y="4152636"/>
            <a:ext cx="941283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50"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rPr>
              <a:t>PRODUCTS</a:t>
            </a:r>
          </a:p>
        </p:txBody>
      </p:sp>
      <p:cxnSp>
        <p:nvCxnSpPr>
          <p:cNvPr id="34" name="Straight Connector 81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CxnSpPr/>
          <p:nvPr/>
        </p:nvCxnSpPr>
        <p:spPr>
          <a:xfrm>
            <a:off x="5838496" y="4402506"/>
            <a:ext cx="4572000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Rectangle 82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SpPr/>
          <p:nvPr/>
        </p:nvSpPr>
        <p:spPr>
          <a:xfrm>
            <a:off x="5838496" y="4525228"/>
            <a:ext cx="2354514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050" b="1" dirty="0"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rPr>
              <a:t>MARKETING EVENT</a:t>
            </a:r>
          </a:p>
          <a:p>
            <a:endParaRPr lang="en-US" sz="1050" dirty="0">
              <a:latin typeface="Arial" panose="020B0604020202020204" pitchFamily="34" charset="0"/>
              <a:ea typeface="微软雅黑" panose="020B0503020204020204" pitchFamily="34" charset="-122"/>
              <a:cs typeface="思源黑体 CN Regular" panose="020B0500000000000000" charset="-122"/>
              <a:sym typeface="Arial" panose="020B0604020202020204" pitchFamily="34" charset="0"/>
            </a:endParaRPr>
          </a:p>
          <a:p>
            <a:r>
              <a:rPr lang="en-US" sz="1050" dirty="0"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rPr>
              <a:t>Click here to add content, content to match the title. </a:t>
            </a:r>
          </a:p>
        </p:txBody>
      </p:sp>
      <p:sp>
        <p:nvSpPr>
          <p:cNvPr id="36" name="TextBox 83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SpPr txBox="1"/>
          <p:nvPr/>
        </p:nvSpPr>
        <p:spPr>
          <a:xfrm>
            <a:off x="8454107" y="4152636"/>
            <a:ext cx="1244251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50"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rPr>
              <a:t>TEAM ANALYSIS</a:t>
            </a:r>
          </a:p>
        </p:txBody>
      </p:sp>
      <p:sp>
        <p:nvSpPr>
          <p:cNvPr id="37" name="TextBox 84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SpPr txBox="1"/>
          <p:nvPr/>
        </p:nvSpPr>
        <p:spPr>
          <a:xfrm>
            <a:off x="8454107" y="4525228"/>
            <a:ext cx="1114408" cy="62324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rPr>
              <a:t>+80%</a:t>
            </a:r>
          </a:p>
          <a:p>
            <a:r>
              <a:rPr lang="en-US" sz="1050"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rPr>
              <a:t>Marketing team</a:t>
            </a:r>
          </a:p>
        </p:txBody>
      </p:sp>
      <p:cxnSp>
        <p:nvCxnSpPr>
          <p:cNvPr id="38" name="Straight Connector 85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CxnSpPr/>
          <p:nvPr/>
        </p:nvCxnSpPr>
        <p:spPr>
          <a:xfrm>
            <a:off x="5838496" y="5245990"/>
            <a:ext cx="4572000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TextBox 86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SpPr txBox="1"/>
          <p:nvPr/>
        </p:nvSpPr>
        <p:spPr>
          <a:xfrm>
            <a:off x="9841299" y="4152636"/>
            <a:ext cx="761747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50"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rPr>
              <a:t>GENDER</a:t>
            </a:r>
          </a:p>
        </p:txBody>
      </p:sp>
      <p:sp>
        <p:nvSpPr>
          <p:cNvPr id="40" name="TextBox 6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SpPr txBox="1"/>
          <p:nvPr/>
        </p:nvSpPr>
        <p:spPr>
          <a:xfrm>
            <a:off x="1790700" y="1319522"/>
            <a:ext cx="1219693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1200" i="1">
                <a:solidFill>
                  <a:schemeClr val="tx2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rPr>
              <a:t>TEMPLATE 20XX</a:t>
            </a:r>
          </a:p>
        </p:txBody>
      </p:sp>
      <p:sp>
        <p:nvSpPr>
          <p:cNvPr id="41" name="Прямоугольник 9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SpPr/>
          <p:nvPr/>
        </p:nvSpPr>
        <p:spPr>
          <a:xfrm>
            <a:off x="0" y="0"/>
            <a:ext cx="45719" cy="3429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rial" panose="020B0604020202020204" pitchFamily="34" charset="0"/>
              <a:ea typeface="微软雅黑" panose="020B0503020204020204" pitchFamily="34" charset="-122"/>
              <a:cs typeface="思源黑体 CN Regular" panose="020B0500000000000000" charset="-122"/>
              <a:sym typeface="Arial" panose="020B0604020202020204" pitchFamily="34" charset="0"/>
            </a:endParaRPr>
          </a:p>
        </p:txBody>
      </p:sp>
      <p:sp>
        <p:nvSpPr>
          <p:cNvPr id="6" name="e7d195523061f1c0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 hidden="1"/>
          <p:cNvSpPr txBox="1"/>
          <p:nvPr/>
        </p:nvSpPr>
        <p:spPr>
          <a:xfrm>
            <a:off x="-355600" y="1803400"/>
            <a:ext cx="284693" cy="1016000"/>
          </a:xfrm>
          <a:prstGeom prst="rect">
            <a:avLst/>
          </a:prstGeom>
          <a:noFill/>
        </p:spPr>
        <p:txBody>
          <a:bodyPr vert="wordArtVert" rtlCol="0">
            <a:spAutoFit/>
          </a:bodyPr>
          <a:lstStyle/>
          <a:p>
            <a:r>
              <a:rPr lang="en-US" altLang="zh-CN" sz="100"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rPr>
              <a:t>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</a:t>
            </a:r>
            <a:endParaRPr lang="zh-CN" altLang="en-US" sz="100">
              <a:latin typeface="Arial" panose="020B0604020202020204" pitchFamily="34" charset="0"/>
              <a:ea typeface="微软雅黑" panose="020B0503020204020204" pitchFamily="34" charset="-122"/>
              <a:cs typeface="思源黑体 CN Regular" panose="020B0500000000000000" charset="-122"/>
              <a:sym typeface="Arial" panose="020B0604020202020204" pitchFamily="34" charset="0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random/>
      </p:transition>
    </mc:Choice>
    <mc:Fallback xmlns:p159="http://schemas.microsoft.com/office/powerpoint/2015/09/main" xmlns:p15="http://schemas.microsoft.com/office/powerpoint/2012/main" xmlns:a14="http://schemas.microsoft.com/office/drawing/2010/main" xmlns:wp="http://schemas.openxmlformats.org/drawingml/2006/wordprocessingDrawing" xmlns:w="http://schemas.openxmlformats.org/wordprocessingml/2006/main" xmlns:m="http://schemas.openxmlformats.org/officeDocument/2006/math" xmlns="">
      <p:transition spd="slow">
        <p:random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ntr" presetSubtype="0" dur="5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 nodeType="clickPar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dur="50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 nodeType="clickPar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dur="50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dur="5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0" presetClass="entr" presetSubtype="0" dur="5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dur="5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0" presetClass="entr" presetSubtype="0" dur="5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dur="5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10" presetClass="entr" presetSubtype="0" dur="5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10" presetClass="entr" presetSubtype="0" dur="5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" presetID="10" presetClass="entr" presetSubtype="0" dur="5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0" presetClass="entr" presetSubtype="0" dur="5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10" presetClass="entr" presetSubtype="0" dur="5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8" fill="hold" nodeType="clickPar">
                      <p:stCondLst>
                        <p:cond delay="indefinite"/>
                      </p:stCondLst>
                      <p:childTnLst>
                        <p:par>
                          <p:cTn id="49" fill="hold">
                            <p:stCondLst>
                              <p:cond delay="0"/>
                            </p:stCondLst>
                            <p:childTnLst>
                              <p:par>
                                <p:cTn id="50" presetID="10" presetClass="entr" presetSubtype="0" dur="50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3" fill="hold" nodeType="clickPar">
                      <p:stCondLst>
                        <p:cond delay="indefinite"/>
                      </p:stCondLst>
                      <p:childTnLst>
                        <p:par>
                          <p:cTn id="54" fill="hold">
                            <p:stCondLst>
                              <p:cond delay="0"/>
                            </p:stCondLst>
                            <p:childTnLst>
                              <p:par>
                                <p:cTn id="55" presetID="14" presetClass="entr" presetSubtype="10" dur="50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57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8" presetID="14" presetClass="entr" presetSubtype="10" dur="5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60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1" presetID="14" presetClass="entr" presetSubtype="10" dur="5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63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4" presetID="14" presetClass="entr" presetSubtype="10" dur="5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66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7" presetID="14" presetClass="entr" presetSubtype="10" dur="5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69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0" presetID="14" presetClass="entr" presetSubtype="10" dur="5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2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3" presetID="14" presetClass="entr" presetSubtype="10" dur="5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5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6" presetID="14" presetClass="entr" presetSubtype="10" dur="5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8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9" presetID="14" presetClass="entr" presetSubtype="10" dur="5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81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2" presetID="14" presetClass="entr" presetSubtype="10" dur="5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84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5" presetID="14" presetClass="entr" presetSubtype="10" dur="5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87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8" presetID="14" presetClass="entr" presetSubtype="10" dur="5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90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1" presetID="14" presetClass="entr" presetSubtype="10" dur="5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93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4" presetID="14" presetClass="entr" presetSubtype="10" dur="5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96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7" presetID="14" presetClass="entr" presetSubtype="10" dur="5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99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0" presetID="14" presetClass="entr" presetSubtype="10" dur="5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02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3" presetID="14" presetClass="entr" presetSubtype="10" dur="5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05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6" presetID="14" presetClass="entr" presetSubtype="10" dur="5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08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9" grpId="0"/>
      <p:bldP spid="10" grpId="0"/>
      <p:bldP spid="11" grpId="0"/>
      <p:bldP spid="12" grpId="0"/>
      <p:bldP spid="13" grpId="0"/>
      <p:bldP spid="14" grpId="0"/>
      <p:bldP spid="17" grpId="0"/>
      <p:bldP spid="18" grpId="0"/>
      <p:bldP spid="16" grpId="0"/>
      <p:bldP spid="19" grpId="0" animBg="1"/>
      <p:bldP spid="23" grpId="0" animBg="1"/>
      <p:bldP spid="24" grpId="0" animBg="1"/>
      <p:bldP spid="25" grpId="0" animBg="1"/>
      <p:bldP spid="26" grpId="0" animBg="1"/>
      <p:bldP spid="27" grpId="0" animBg="1"/>
      <p:bldP spid="28" grpId="0" animBg="1"/>
      <p:bldP spid="29" grpId="0" animBg="1"/>
      <p:bldP spid="30" grpId="0"/>
      <p:bldP spid="31" grpId="0" animBg="1"/>
      <p:bldP spid="32" grpId="0" animBg="1"/>
      <p:bldP spid="33" grpId="0"/>
      <p:bldP spid="35" grpId="0"/>
      <p:bldP spid="36" grpId="0"/>
      <p:bldP spid="37" grpId="0"/>
      <p:bldP spid="39" grpId="0"/>
      <p:bldP spid="40" grpId="0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矩形 2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SpPr/>
          <p:nvPr/>
        </p:nvSpPr>
        <p:spPr>
          <a:xfrm>
            <a:off x="5541264" y="1188719"/>
            <a:ext cx="6650736" cy="495604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latin typeface="Arial" panose="020B0604020202020204" pitchFamily="34" charset="0"/>
              <a:ea typeface="微软雅黑" panose="020B0503020204020204" pitchFamily="34" charset="-122"/>
              <a:cs typeface="思源黑体 CN Regular" panose="020B0500000000000000" charset="-122"/>
              <a:sym typeface="Arial" panose="020B0604020202020204" pitchFamily="34" charset="0"/>
            </a:endParaRPr>
          </a:p>
        </p:txBody>
      </p:sp>
      <p:sp>
        <p:nvSpPr>
          <p:cNvPr id="28" name="TextBox 27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SpPr txBox="1"/>
          <p:nvPr/>
        </p:nvSpPr>
        <p:spPr>
          <a:xfrm>
            <a:off x="6096000" y="1209495"/>
            <a:ext cx="5152189" cy="7067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>
              <a:defRPr sz="4000" b="1" spc="-100">
                <a:solidFill>
                  <a:schemeClr val="tx1">
                    <a:lumMod val="75000"/>
                    <a:lumOff val="25000"/>
                  </a:schemeClr>
                </a:solidFill>
                <a:latin typeface="Felix Titling" panose="04060505060202020A04" pitchFamily="82" charset="0"/>
                <a:ea typeface="Roboto Black" panose="02000000000000000000" pitchFamily="2" charset="0"/>
                <a:cs typeface="Arial" panose="020B0604020202020204" pitchFamily="34" charset="0"/>
              </a:defRPr>
            </a:lvl1pPr>
          </a:lstStyle>
          <a:p>
            <a:r>
              <a:rPr lang="id-ID">
                <a:latin typeface="Arial" panose="020B0604020202020204" pitchFamily="34" charset="0"/>
                <a:ea typeface="微软雅黑" panose="020B0503020204020204" pitchFamily="34" charset="-122"/>
                <a:cs typeface="Gill Sans MT" panose="020B0502020104020203" charset="0"/>
                <a:sym typeface="Arial" panose="020B0604020202020204" pitchFamily="34" charset="0"/>
              </a:rPr>
              <a:t>GALLERY SLIDE</a:t>
            </a:r>
          </a:p>
        </p:txBody>
      </p:sp>
      <p:sp>
        <p:nvSpPr>
          <p:cNvPr id="20" name="Rectangle 13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SpPr/>
          <p:nvPr/>
        </p:nvSpPr>
        <p:spPr>
          <a:xfrm>
            <a:off x="6279206" y="2332729"/>
            <a:ext cx="5205657" cy="54752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30000"/>
              </a:lnSpc>
            </a:pPr>
            <a:r>
              <a:rPr lang="en-US" sz="1200" dirty="0"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rPr>
              <a:t>Click here to add content, content to match the title. </a:t>
            </a:r>
            <a:r>
              <a:rPr lang="en-US" sz="1200" dirty="0" err="1"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rPr>
              <a:t>Energistically</a:t>
            </a:r>
            <a:r>
              <a:rPr lang="en-US" sz="1200" dirty="0"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rPr>
              <a:t> incentivize holistic channels rather than interactive interfaces. </a:t>
            </a:r>
          </a:p>
        </p:txBody>
      </p:sp>
      <p:sp>
        <p:nvSpPr>
          <p:cNvPr id="21" name="Freeform 81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SpPr>
            <a:spLocks noEditPoints="1"/>
          </p:cNvSpPr>
          <p:nvPr/>
        </p:nvSpPr>
        <p:spPr bwMode="auto">
          <a:xfrm>
            <a:off x="7921160" y="3884290"/>
            <a:ext cx="245104" cy="219748"/>
          </a:xfrm>
          <a:custGeom>
            <a:avLst/>
            <a:gdLst>
              <a:gd name="T0" fmla="*/ 116 w 400"/>
              <a:gd name="T1" fmla="*/ 224 h 360"/>
              <a:gd name="T2" fmla="*/ 116 w 400"/>
              <a:gd name="T3" fmla="*/ 100 h 360"/>
              <a:gd name="T4" fmla="*/ 40 w 400"/>
              <a:gd name="T5" fmla="*/ 100 h 360"/>
              <a:gd name="T6" fmla="*/ 0 w 400"/>
              <a:gd name="T7" fmla="*/ 140 h 360"/>
              <a:gd name="T8" fmla="*/ 0 w 400"/>
              <a:gd name="T9" fmla="*/ 260 h 360"/>
              <a:gd name="T10" fmla="*/ 40 w 400"/>
              <a:gd name="T11" fmla="*/ 300 h 360"/>
              <a:gd name="T12" fmla="*/ 60 w 400"/>
              <a:gd name="T13" fmla="*/ 300 h 360"/>
              <a:gd name="T14" fmla="*/ 60 w 400"/>
              <a:gd name="T15" fmla="*/ 360 h 360"/>
              <a:gd name="T16" fmla="*/ 120 w 400"/>
              <a:gd name="T17" fmla="*/ 300 h 360"/>
              <a:gd name="T18" fmla="*/ 220 w 400"/>
              <a:gd name="T19" fmla="*/ 300 h 360"/>
              <a:gd name="T20" fmla="*/ 260 w 400"/>
              <a:gd name="T21" fmla="*/ 260 h 360"/>
              <a:gd name="T22" fmla="*/ 260 w 400"/>
              <a:gd name="T23" fmla="*/ 223 h 360"/>
              <a:gd name="T24" fmla="*/ 256 w 400"/>
              <a:gd name="T25" fmla="*/ 224 h 360"/>
              <a:gd name="T26" fmla="*/ 116 w 400"/>
              <a:gd name="T27" fmla="*/ 224 h 360"/>
              <a:gd name="T28" fmla="*/ 360 w 400"/>
              <a:gd name="T29" fmla="*/ 0 h 360"/>
              <a:gd name="T30" fmla="*/ 180 w 400"/>
              <a:gd name="T31" fmla="*/ 0 h 360"/>
              <a:gd name="T32" fmla="*/ 140 w 400"/>
              <a:gd name="T33" fmla="*/ 40 h 360"/>
              <a:gd name="T34" fmla="*/ 140 w 400"/>
              <a:gd name="T35" fmla="*/ 200 h 360"/>
              <a:gd name="T36" fmla="*/ 280 w 400"/>
              <a:gd name="T37" fmla="*/ 200 h 360"/>
              <a:gd name="T38" fmla="*/ 340 w 400"/>
              <a:gd name="T39" fmla="*/ 260 h 360"/>
              <a:gd name="T40" fmla="*/ 340 w 400"/>
              <a:gd name="T41" fmla="*/ 200 h 360"/>
              <a:gd name="T42" fmla="*/ 360 w 400"/>
              <a:gd name="T43" fmla="*/ 200 h 360"/>
              <a:gd name="T44" fmla="*/ 400 w 400"/>
              <a:gd name="T45" fmla="*/ 160 h 360"/>
              <a:gd name="T46" fmla="*/ 400 w 400"/>
              <a:gd name="T47" fmla="*/ 40 h 360"/>
              <a:gd name="T48" fmla="*/ 360 w 400"/>
              <a:gd name="T49" fmla="*/ 0 h 3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400" h="360">
                <a:moveTo>
                  <a:pt x="116" y="224"/>
                </a:moveTo>
                <a:cubicBezTo>
                  <a:pt x="116" y="100"/>
                  <a:pt x="116" y="100"/>
                  <a:pt x="116" y="100"/>
                </a:cubicBezTo>
                <a:cubicBezTo>
                  <a:pt x="40" y="100"/>
                  <a:pt x="40" y="100"/>
                  <a:pt x="40" y="100"/>
                </a:cubicBezTo>
                <a:cubicBezTo>
                  <a:pt x="18" y="100"/>
                  <a:pt x="0" y="118"/>
                  <a:pt x="0" y="140"/>
                </a:cubicBezTo>
                <a:cubicBezTo>
                  <a:pt x="0" y="260"/>
                  <a:pt x="0" y="260"/>
                  <a:pt x="0" y="260"/>
                </a:cubicBezTo>
                <a:cubicBezTo>
                  <a:pt x="0" y="282"/>
                  <a:pt x="18" y="300"/>
                  <a:pt x="40" y="300"/>
                </a:cubicBezTo>
                <a:cubicBezTo>
                  <a:pt x="60" y="300"/>
                  <a:pt x="60" y="300"/>
                  <a:pt x="60" y="300"/>
                </a:cubicBezTo>
                <a:cubicBezTo>
                  <a:pt x="60" y="360"/>
                  <a:pt x="60" y="360"/>
                  <a:pt x="60" y="360"/>
                </a:cubicBezTo>
                <a:cubicBezTo>
                  <a:pt x="120" y="300"/>
                  <a:pt x="120" y="300"/>
                  <a:pt x="120" y="300"/>
                </a:cubicBezTo>
                <a:cubicBezTo>
                  <a:pt x="220" y="300"/>
                  <a:pt x="220" y="300"/>
                  <a:pt x="220" y="300"/>
                </a:cubicBezTo>
                <a:cubicBezTo>
                  <a:pt x="242" y="300"/>
                  <a:pt x="260" y="282"/>
                  <a:pt x="260" y="260"/>
                </a:cubicBezTo>
                <a:cubicBezTo>
                  <a:pt x="260" y="223"/>
                  <a:pt x="260" y="223"/>
                  <a:pt x="260" y="223"/>
                </a:cubicBezTo>
                <a:cubicBezTo>
                  <a:pt x="258" y="224"/>
                  <a:pt x="257" y="224"/>
                  <a:pt x="256" y="224"/>
                </a:cubicBezTo>
                <a:lnTo>
                  <a:pt x="116" y="224"/>
                </a:lnTo>
                <a:close/>
                <a:moveTo>
                  <a:pt x="360" y="0"/>
                </a:moveTo>
                <a:cubicBezTo>
                  <a:pt x="180" y="0"/>
                  <a:pt x="180" y="0"/>
                  <a:pt x="180" y="0"/>
                </a:cubicBezTo>
                <a:cubicBezTo>
                  <a:pt x="158" y="0"/>
                  <a:pt x="140" y="18"/>
                  <a:pt x="140" y="40"/>
                </a:cubicBezTo>
                <a:cubicBezTo>
                  <a:pt x="140" y="200"/>
                  <a:pt x="140" y="200"/>
                  <a:pt x="140" y="200"/>
                </a:cubicBezTo>
                <a:cubicBezTo>
                  <a:pt x="280" y="200"/>
                  <a:pt x="280" y="200"/>
                  <a:pt x="280" y="200"/>
                </a:cubicBezTo>
                <a:cubicBezTo>
                  <a:pt x="340" y="260"/>
                  <a:pt x="340" y="260"/>
                  <a:pt x="340" y="260"/>
                </a:cubicBezTo>
                <a:cubicBezTo>
                  <a:pt x="340" y="200"/>
                  <a:pt x="340" y="200"/>
                  <a:pt x="340" y="200"/>
                </a:cubicBezTo>
                <a:cubicBezTo>
                  <a:pt x="360" y="200"/>
                  <a:pt x="360" y="200"/>
                  <a:pt x="360" y="200"/>
                </a:cubicBezTo>
                <a:cubicBezTo>
                  <a:pt x="382" y="200"/>
                  <a:pt x="400" y="182"/>
                  <a:pt x="400" y="160"/>
                </a:cubicBezTo>
                <a:cubicBezTo>
                  <a:pt x="400" y="40"/>
                  <a:pt x="400" y="40"/>
                  <a:pt x="400" y="40"/>
                </a:cubicBezTo>
                <a:cubicBezTo>
                  <a:pt x="400" y="18"/>
                  <a:pt x="382" y="0"/>
                  <a:pt x="360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en-AU">
              <a:latin typeface="Arial" panose="020B0604020202020204" pitchFamily="34" charset="0"/>
              <a:ea typeface="微软雅黑" panose="020B0503020204020204" pitchFamily="34" charset="-122"/>
              <a:cs typeface="思源黑体 CN Regular" panose="020B0500000000000000" charset="-122"/>
              <a:sym typeface="Arial" panose="020B0604020202020204" pitchFamily="34" charset="0"/>
            </a:endParaRPr>
          </a:p>
        </p:txBody>
      </p:sp>
      <p:grpSp>
        <p:nvGrpSpPr>
          <p:cNvPr id="22" name="Group 45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GrpSpPr/>
          <p:nvPr/>
        </p:nvGrpSpPr>
        <p:grpSpPr>
          <a:xfrm>
            <a:off x="6548343" y="3863359"/>
            <a:ext cx="1225150" cy="261610"/>
            <a:chOff x="1196853" y="3853190"/>
            <a:chExt cx="1225150" cy="261610"/>
          </a:xfrm>
        </p:grpSpPr>
        <p:sp>
          <p:nvSpPr>
            <p:cNvPr id="23" name="Freeform 35"/>
            <p:cNvSpPr>
              <a:spLocks noEditPoints="1"/>
            </p:cNvSpPr>
            <p:nvPr/>
          </p:nvSpPr>
          <p:spPr bwMode="auto">
            <a:xfrm>
              <a:off x="1196853" y="3874121"/>
              <a:ext cx="245104" cy="194393"/>
            </a:xfrm>
            <a:custGeom>
              <a:avLst/>
              <a:gdLst>
                <a:gd name="T0" fmla="*/ 200 w 400"/>
                <a:gd name="T1" fmla="*/ 120 h 320"/>
                <a:gd name="T2" fmla="*/ 140 w 400"/>
                <a:gd name="T3" fmla="*/ 180 h 320"/>
                <a:gd name="T4" fmla="*/ 200 w 400"/>
                <a:gd name="T5" fmla="*/ 240 h 320"/>
                <a:gd name="T6" fmla="*/ 260 w 400"/>
                <a:gd name="T7" fmla="*/ 180 h 320"/>
                <a:gd name="T8" fmla="*/ 200 w 400"/>
                <a:gd name="T9" fmla="*/ 120 h 320"/>
                <a:gd name="T10" fmla="*/ 360 w 400"/>
                <a:gd name="T11" fmla="*/ 60 h 320"/>
                <a:gd name="T12" fmla="*/ 312 w 400"/>
                <a:gd name="T13" fmla="*/ 60 h 320"/>
                <a:gd name="T14" fmla="*/ 296 w 400"/>
                <a:gd name="T15" fmla="*/ 49 h 320"/>
                <a:gd name="T16" fmla="*/ 284 w 400"/>
                <a:gd name="T17" fmla="*/ 11 h 320"/>
                <a:gd name="T18" fmla="*/ 268 w 400"/>
                <a:gd name="T19" fmla="*/ 0 h 320"/>
                <a:gd name="T20" fmla="*/ 132 w 400"/>
                <a:gd name="T21" fmla="*/ 0 h 320"/>
                <a:gd name="T22" fmla="*/ 116 w 400"/>
                <a:gd name="T23" fmla="*/ 11 h 320"/>
                <a:gd name="T24" fmla="*/ 104 w 400"/>
                <a:gd name="T25" fmla="*/ 49 h 320"/>
                <a:gd name="T26" fmla="*/ 88 w 400"/>
                <a:gd name="T27" fmla="*/ 60 h 320"/>
                <a:gd name="T28" fmla="*/ 40 w 400"/>
                <a:gd name="T29" fmla="*/ 60 h 320"/>
                <a:gd name="T30" fmla="*/ 0 w 400"/>
                <a:gd name="T31" fmla="*/ 100 h 320"/>
                <a:gd name="T32" fmla="*/ 0 w 400"/>
                <a:gd name="T33" fmla="*/ 280 h 320"/>
                <a:gd name="T34" fmla="*/ 40 w 400"/>
                <a:gd name="T35" fmla="*/ 320 h 320"/>
                <a:gd name="T36" fmla="*/ 360 w 400"/>
                <a:gd name="T37" fmla="*/ 320 h 320"/>
                <a:gd name="T38" fmla="*/ 400 w 400"/>
                <a:gd name="T39" fmla="*/ 280 h 320"/>
                <a:gd name="T40" fmla="*/ 400 w 400"/>
                <a:gd name="T41" fmla="*/ 100 h 320"/>
                <a:gd name="T42" fmla="*/ 360 w 400"/>
                <a:gd name="T43" fmla="*/ 60 h 320"/>
                <a:gd name="T44" fmla="*/ 200 w 400"/>
                <a:gd name="T45" fmla="*/ 280 h 320"/>
                <a:gd name="T46" fmla="*/ 100 w 400"/>
                <a:gd name="T47" fmla="*/ 180 h 320"/>
                <a:gd name="T48" fmla="*/ 200 w 400"/>
                <a:gd name="T49" fmla="*/ 80 h 320"/>
                <a:gd name="T50" fmla="*/ 300 w 400"/>
                <a:gd name="T51" fmla="*/ 180 h 320"/>
                <a:gd name="T52" fmla="*/ 200 w 400"/>
                <a:gd name="T53" fmla="*/ 280 h 320"/>
                <a:gd name="T54" fmla="*/ 346 w 400"/>
                <a:gd name="T55" fmla="*/ 128 h 320"/>
                <a:gd name="T56" fmla="*/ 332 w 400"/>
                <a:gd name="T57" fmla="*/ 114 h 320"/>
                <a:gd name="T58" fmla="*/ 346 w 400"/>
                <a:gd name="T59" fmla="*/ 100 h 320"/>
                <a:gd name="T60" fmla="*/ 360 w 400"/>
                <a:gd name="T61" fmla="*/ 114 h 320"/>
                <a:gd name="T62" fmla="*/ 346 w 400"/>
                <a:gd name="T63" fmla="*/ 128 h 3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00" h="320">
                  <a:moveTo>
                    <a:pt x="200" y="120"/>
                  </a:moveTo>
                  <a:cubicBezTo>
                    <a:pt x="167" y="120"/>
                    <a:pt x="140" y="147"/>
                    <a:pt x="140" y="180"/>
                  </a:cubicBezTo>
                  <a:cubicBezTo>
                    <a:pt x="140" y="213"/>
                    <a:pt x="167" y="240"/>
                    <a:pt x="200" y="240"/>
                  </a:cubicBezTo>
                  <a:cubicBezTo>
                    <a:pt x="233" y="240"/>
                    <a:pt x="260" y="213"/>
                    <a:pt x="260" y="180"/>
                  </a:cubicBezTo>
                  <a:cubicBezTo>
                    <a:pt x="260" y="147"/>
                    <a:pt x="233" y="120"/>
                    <a:pt x="200" y="120"/>
                  </a:cubicBezTo>
                  <a:close/>
                  <a:moveTo>
                    <a:pt x="360" y="60"/>
                  </a:moveTo>
                  <a:cubicBezTo>
                    <a:pt x="312" y="60"/>
                    <a:pt x="312" y="60"/>
                    <a:pt x="312" y="60"/>
                  </a:cubicBezTo>
                  <a:cubicBezTo>
                    <a:pt x="305" y="60"/>
                    <a:pt x="298" y="55"/>
                    <a:pt x="296" y="49"/>
                  </a:cubicBezTo>
                  <a:cubicBezTo>
                    <a:pt x="284" y="11"/>
                    <a:pt x="284" y="11"/>
                    <a:pt x="284" y="11"/>
                  </a:cubicBezTo>
                  <a:cubicBezTo>
                    <a:pt x="281" y="5"/>
                    <a:pt x="274" y="0"/>
                    <a:pt x="268" y="0"/>
                  </a:cubicBezTo>
                  <a:cubicBezTo>
                    <a:pt x="132" y="0"/>
                    <a:pt x="132" y="0"/>
                    <a:pt x="132" y="0"/>
                  </a:cubicBezTo>
                  <a:cubicBezTo>
                    <a:pt x="125" y="0"/>
                    <a:pt x="118" y="5"/>
                    <a:pt x="116" y="11"/>
                  </a:cubicBezTo>
                  <a:cubicBezTo>
                    <a:pt x="104" y="49"/>
                    <a:pt x="104" y="49"/>
                    <a:pt x="104" y="49"/>
                  </a:cubicBezTo>
                  <a:cubicBezTo>
                    <a:pt x="101" y="55"/>
                    <a:pt x="94" y="60"/>
                    <a:pt x="88" y="60"/>
                  </a:cubicBezTo>
                  <a:cubicBezTo>
                    <a:pt x="40" y="60"/>
                    <a:pt x="40" y="60"/>
                    <a:pt x="40" y="60"/>
                  </a:cubicBezTo>
                  <a:cubicBezTo>
                    <a:pt x="18" y="60"/>
                    <a:pt x="0" y="78"/>
                    <a:pt x="0" y="100"/>
                  </a:cubicBezTo>
                  <a:cubicBezTo>
                    <a:pt x="0" y="280"/>
                    <a:pt x="0" y="280"/>
                    <a:pt x="0" y="280"/>
                  </a:cubicBezTo>
                  <a:cubicBezTo>
                    <a:pt x="0" y="302"/>
                    <a:pt x="18" y="320"/>
                    <a:pt x="40" y="320"/>
                  </a:cubicBezTo>
                  <a:cubicBezTo>
                    <a:pt x="360" y="320"/>
                    <a:pt x="360" y="320"/>
                    <a:pt x="360" y="320"/>
                  </a:cubicBezTo>
                  <a:cubicBezTo>
                    <a:pt x="382" y="320"/>
                    <a:pt x="400" y="302"/>
                    <a:pt x="400" y="280"/>
                  </a:cubicBezTo>
                  <a:cubicBezTo>
                    <a:pt x="400" y="100"/>
                    <a:pt x="400" y="100"/>
                    <a:pt x="400" y="100"/>
                  </a:cubicBezTo>
                  <a:cubicBezTo>
                    <a:pt x="400" y="78"/>
                    <a:pt x="382" y="60"/>
                    <a:pt x="360" y="60"/>
                  </a:cubicBezTo>
                  <a:close/>
                  <a:moveTo>
                    <a:pt x="200" y="280"/>
                  </a:moveTo>
                  <a:cubicBezTo>
                    <a:pt x="145" y="280"/>
                    <a:pt x="100" y="235"/>
                    <a:pt x="100" y="180"/>
                  </a:cubicBezTo>
                  <a:cubicBezTo>
                    <a:pt x="100" y="125"/>
                    <a:pt x="145" y="80"/>
                    <a:pt x="200" y="80"/>
                  </a:cubicBezTo>
                  <a:cubicBezTo>
                    <a:pt x="255" y="80"/>
                    <a:pt x="300" y="125"/>
                    <a:pt x="300" y="180"/>
                  </a:cubicBezTo>
                  <a:cubicBezTo>
                    <a:pt x="300" y="235"/>
                    <a:pt x="255" y="280"/>
                    <a:pt x="200" y="280"/>
                  </a:cubicBezTo>
                  <a:close/>
                  <a:moveTo>
                    <a:pt x="346" y="128"/>
                  </a:moveTo>
                  <a:cubicBezTo>
                    <a:pt x="338" y="128"/>
                    <a:pt x="332" y="122"/>
                    <a:pt x="332" y="114"/>
                  </a:cubicBezTo>
                  <a:cubicBezTo>
                    <a:pt x="332" y="106"/>
                    <a:pt x="338" y="100"/>
                    <a:pt x="346" y="100"/>
                  </a:cubicBezTo>
                  <a:cubicBezTo>
                    <a:pt x="354" y="100"/>
                    <a:pt x="360" y="106"/>
                    <a:pt x="360" y="114"/>
                  </a:cubicBezTo>
                  <a:cubicBezTo>
                    <a:pt x="360" y="122"/>
                    <a:pt x="354" y="128"/>
                    <a:pt x="346" y="128"/>
                  </a:cubicBezTo>
                  <a:close/>
                </a:path>
              </a:pathLst>
            </a:custGeom>
            <a:solidFill>
              <a:schemeClr val="accent6">
                <a:lumMod val="5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en-AU"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endParaRPr>
            </a:p>
          </p:txBody>
        </p:sp>
        <p:sp>
          <p:nvSpPr>
            <p:cNvPr id="24" name="TextBox 43"/>
            <p:cNvSpPr txBox="1"/>
            <p:nvPr/>
          </p:nvSpPr>
          <p:spPr>
            <a:xfrm>
              <a:off x="1524000" y="3853190"/>
              <a:ext cx="898003" cy="2616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100">
                  <a:solidFill>
                    <a:schemeClr val="accent6">
                      <a:lumMod val="50000"/>
                    </a:schemeClr>
                  </a:solidFill>
                  <a:latin typeface="Arial" panose="020B0604020202020204" pitchFamily="34" charset="0"/>
                  <a:ea typeface="微软雅黑" panose="020B0503020204020204" pitchFamily="34" charset="-122"/>
                  <a:cs typeface="思源黑体 CN Regular" panose="020B0500000000000000" charset="-122"/>
                  <a:sym typeface="Arial" panose="020B0604020202020204" pitchFamily="34" charset="0"/>
                </a:rPr>
                <a:t>185 Project</a:t>
              </a:r>
            </a:p>
          </p:txBody>
        </p:sp>
      </p:grpSp>
      <p:sp>
        <p:nvSpPr>
          <p:cNvPr id="25" name="TextBox 48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SpPr txBox="1"/>
          <p:nvPr/>
        </p:nvSpPr>
        <p:spPr>
          <a:xfrm>
            <a:off x="8276152" y="3863359"/>
            <a:ext cx="718466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>
                <a:solidFill>
                  <a:schemeClr val="accent6">
                    <a:lumMod val="50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rPr>
              <a:t>195,850</a:t>
            </a:r>
          </a:p>
        </p:txBody>
      </p:sp>
      <p:sp>
        <p:nvSpPr>
          <p:cNvPr id="26" name="TextBox 51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SpPr txBox="1"/>
          <p:nvPr/>
        </p:nvSpPr>
        <p:spPr>
          <a:xfrm>
            <a:off x="9498895" y="3863359"/>
            <a:ext cx="35137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>
                <a:solidFill>
                  <a:schemeClr val="accent6">
                    <a:lumMod val="50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rPr>
              <a:t>10</a:t>
            </a:r>
          </a:p>
        </p:txBody>
      </p:sp>
      <p:sp>
        <p:nvSpPr>
          <p:cNvPr id="27" name="Freeform 40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SpPr>
            <a:spLocks noEditPoints="1"/>
          </p:cNvSpPr>
          <p:nvPr/>
        </p:nvSpPr>
        <p:spPr bwMode="auto">
          <a:xfrm>
            <a:off x="9206278" y="3882177"/>
            <a:ext cx="221862" cy="223974"/>
          </a:xfrm>
          <a:custGeom>
            <a:avLst/>
            <a:gdLst>
              <a:gd name="T0" fmla="*/ 203 w 360"/>
              <a:gd name="T1" fmla="*/ 271 h 368"/>
              <a:gd name="T2" fmla="*/ 261 w 360"/>
              <a:gd name="T3" fmla="*/ 202 h 368"/>
              <a:gd name="T4" fmla="*/ 360 w 360"/>
              <a:gd name="T5" fmla="*/ 51 h 368"/>
              <a:gd name="T6" fmla="*/ 346 w 360"/>
              <a:gd name="T7" fmla="*/ 37 h 368"/>
              <a:gd name="T8" fmla="*/ 277 w 360"/>
              <a:gd name="T9" fmla="*/ 37 h 368"/>
              <a:gd name="T10" fmla="*/ 180 w 360"/>
              <a:gd name="T11" fmla="*/ 0 h 368"/>
              <a:gd name="T12" fmla="*/ 83 w 360"/>
              <a:gd name="T13" fmla="*/ 37 h 368"/>
              <a:gd name="T14" fmla="*/ 14 w 360"/>
              <a:gd name="T15" fmla="*/ 37 h 368"/>
              <a:gd name="T16" fmla="*/ 0 w 360"/>
              <a:gd name="T17" fmla="*/ 51 h 368"/>
              <a:gd name="T18" fmla="*/ 98 w 360"/>
              <a:gd name="T19" fmla="*/ 202 h 368"/>
              <a:gd name="T20" fmla="*/ 156 w 360"/>
              <a:gd name="T21" fmla="*/ 271 h 368"/>
              <a:gd name="T22" fmla="*/ 156 w 360"/>
              <a:gd name="T23" fmla="*/ 297 h 368"/>
              <a:gd name="T24" fmla="*/ 91 w 360"/>
              <a:gd name="T25" fmla="*/ 332 h 368"/>
              <a:gd name="T26" fmla="*/ 180 w 360"/>
              <a:gd name="T27" fmla="*/ 368 h 368"/>
              <a:gd name="T28" fmla="*/ 269 w 360"/>
              <a:gd name="T29" fmla="*/ 332 h 368"/>
              <a:gd name="T30" fmla="*/ 203 w 360"/>
              <a:gd name="T31" fmla="*/ 297 h 368"/>
              <a:gd name="T32" fmla="*/ 203 w 360"/>
              <a:gd name="T33" fmla="*/ 271 h 368"/>
              <a:gd name="T34" fmla="*/ 259 w 360"/>
              <a:gd name="T35" fmla="*/ 170 h 368"/>
              <a:gd name="T36" fmla="*/ 281 w 360"/>
              <a:gd name="T37" fmla="*/ 65 h 368"/>
              <a:gd name="T38" fmla="*/ 331 w 360"/>
              <a:gd name="T39" fmla="*/ 65 h 368"/>
              <a:gd name="T40" fmla="*/ 259 w 360"/>
              <a:gd name="T41" fmla="*/ 170 h 368"/>
              <a:gd name="T42" fmla="*/ 180 w 360"/>
              <a:gd name="T43" fmla="*/ 24 h 368"/>
              <a:gd name="T44" fmla="*/ 256 w 360"/>
              <a:gd name="T45" fmla="*/ 55 h 368"/>
              <a:gd name="T46" fmla="*/ 180 w 360"/>
              <a:gd name="T47" fmla="*/ 86 h 368"/>
              <a:gd name="T48" fmla="*/ 104 w 360"/>
              <a:gd name="T49" fmla="*/ 55 h 368"/>
              <a:gd name="T50" fmla="*/ 180 w 360"/>
              <a:gd name="T51" fmla="*/ 24 h 368"/>
              <a:gd name="T52" fmla="*/ 29 w 360"/>
              <a:gd name="T53" fmla="*/ 65 h 368"/>
              <a:gd name="T54" fmla="*/ 79 w 360"/>
              <a:gd name="T55" fmla="*/ 65 h 368"/>
              <a:gd name="T56" fmla="*/ 101 w 360"/>
              <a:gd name="T57" fmla="*/ 170 h 368"/>
              <a:gd name="T58" fmla="*/ 29 w 360"/>
              <a:gd name="T59" fmla="*/ 65 h 3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</a:cxnLst>
            <a:rect l="0" t="0" r="r" b="b"/>
            <a:pathLst>
              <a:path w="360" h="368">
                <a:moveTo>
                  <a:pt x="203" y="271"/>
                </a:moveTo>
                <a:cubicBezTo>
                  <a:pt x="203" y="242"/>
                  <a:pt x="225" y="226"/>
                  <a:pt x="261" y="202"/>
                </a:cubicBezTo>
                <a:cubicBezTo>
                  <a:pt x="305" y="173"/>
                  <a:pt x="360" y="137"/>
                  <a:pt x="360" y="51"/>
                </a:cubicBezTo>
                <a:cubicBezTo>
                  <a:pt x="360" y="43"/>
                  <a:pt x="353" y="37"/>
                  <a:pt x="346" y="37"/>
                </a:cubicBezTo>
                <a:cubicBezTo>
                  <a:pt x="277" y="37"/>
                  <a:pt x="277" y="37"/>
                  <a:pt x="277" y="37"/>
                </a:cubicBezTo>
                <a:cubicBezTo>
                  <a:pt x="267" y="19"/>
                  <a:pt x="238" y="0"/>
                  <a:pt x="180" y="0"/>
                </a:cubicBezTo>
                <a:cubicBezTo>
                  <a:pt x="121" y="0"/>
                  <a:pt x="92" y="19"/>
                  <a:pt x="83" y="37"/>
                </a:cubicBezTo>
                <a:cubicBezTo>
                  <a:pt x="14" y="37"/>
                  <a:pt x="14" y="37"/>
                  <a:pt x="14" y="37"/>
                </a:cubicBezTo>
                <a:cubicBezTo>
                  <a:pt x="6" y="37"/>
                  <a:pt x="0" y="43"/>
                  <a:pt x="0" y="51"/>
                </a:cubicBezTo>
                <a:cubicBezTo>
                  <a:pt x="0" y="137"/>
                  <a:pt x="54" y="173"/>
                  <a:pt x="98" y="202"/>
                </a:cubicBezTo>
                <a:cubicBezTo>
                  <a:pt x="134" y="226"/>
                  <a:pt x="156" y="242"/>
                  <a:pt x="156" y="271"/>
                </a:cubicBezTo>
                <a:cubicBezTo>
                  <a:pt x="156" y="297"/>
                  <a:pt x="156" y="297"/>
                  <a:pt x="156" y="297"/>
                </a:cubicBezTo>
                <a:cubicBezTo>
                  <a:pt x="118" y="301"/>
                  <a:pt x="91" y="315"/>
                  <a:pt x="91" y="332"/>
                </a:cubicBezTo>
                <a:cubicBezTo>
                  <a:pt x="91" y="352"/>
                  <a:pt x="131" y="368"/>
                  <a:pt x="180" y="368"/>
                </a:cubicBezTo>
                <a:cubicBezTo>
                  <a:pt x="229" y="368"/>
                  <a:pt x="269" y="352"/>
                  <a:pt x="269" y="332"/>
                </a:cubicBezTo>
                <a:cubicBezTo>
                  <a:pt x="269" y="315"/>
                  <a:pt x="241" y="301"/>
                  <a:pt x="203" y="297"/>
                </a:cubicBezTo>
                <a:lnTo>
                  <a:pt x="203" y="271"/>
                </a:lnTo>
                <a:close/>
                <a:moveTo>
                  <a:pt x="259" y="170"/>
                </a:moveTo>
                <a:cubicBezTo>
                  <a:pt x="270" y="146"/>
                  <a:pt x="279" y="113"/>
                  <a:pt x="281" y="65"/>
                </a:cubicBezTo>
                <a:cubicBezTo>
                  <a:pt x="331" y="65"/>
                  <a:pt x="331" y="65"/>
                  <a:pt x="331" y="65"/>
                </a:cubicBezTo>
                <a:cubicBezTo>
                  <a:pt x="326" y="119"/>
                  <a:pt x="294" y="146"/>
                  <a:pt x="259" y="170"/>
                </a:cubicBezTo>
                <a:close/>
                <a:moveTo>
                  <a:pt x="180" y="24"/>
                </a:moveTo>
                <a:cubicBezTo>
                  <a:pt x="234" y="24"/>
                  <a:pt x="256" y="47"/>
                  <a:pt x="256" y="55"/>
                </a:cubicBezTo>
                <a:cubicBezTo>
                  <a:pt x="256" y="63"/>
                  <a:pt x="234" y="86"/>
                  <a:pt x="180" y="86"/>
                </a:cubicBezTo>
                <a:cubicBezTo>
                  <a:pt x="125" y="86"/>
                  <a:pt x="104" y="63"/>
                  <a:pt x="104" y="55"/>
                </a:cubicBezTo>
                <a:cubicBezTo>
                  <a:pt x="104" y="47"/>
                  <a:pt x="125" y="24"/>
                  <a:pt x="180" y="24"/>
                </a:cubicBezTo>
                <a:close/>
                <a:moveTo>
                  <a:pt x="29" y="65"/>
                </a:moveTo>
                <a:cubicBezTo>
                  <a:pt x="79" y="65"/>
                  <a:pt x="79" y="65"/>
                  <a:pt x="79" y="65"/>
                </a:cubicBezTo>
                <a:cubicBezTo>
                  <a:pt x="80" y="113"/>
                  <a:pt x="89" y="146"/>
                  <a:pt x="101" y="170"/>
                </a:cubicBezTo>
                <a:cubicBezTo>
                  <a:pt x="66" y="146"/>
                  <a:pt x="33" y="119"/>
                  <a:pt x="29" y="65"/>
                </a:cubicBezTo>
                <a:close/>
              </a:path>
            </a:pathLst>
          </a:custGeom>
          <a:solidFill>
            <a:schemeClr val="accent6">
              <a:lumMod val="5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en-AU">
              <a:latin typeface="Arial" panose="020B0604020202020204" pitchFamily="34" charset="0"/>
              <a:ea typeface="微软雅黑" panose="020B0503020204020204" pitchFamily="34" charset="-122"/>
              <a:cs typeface="思源黑体 CN Regular" panose="020B0500000000000000" charset="-122"/>
              <a:sym typeface="Arial" panose="020B0604020202020204" pitchFamily="34" charset="0"/>
            </a:endParaRPr>
          </a:p>
        </p:txBody>
      </p:sp>
      <p:sp>
        <p:nvSpPr>
          <p:cNvPr id="30" name="TextBox 54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SpPr txBox="1"/>
          <p:nvPr/>
        </p:nvSpPr>
        <p:spPr>
          <a:xfrm>
            <a:off x="10368675" y="3863359"/>
            <a:ext cx="577402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>
                <a:solidFill>
                  <a:schemeClr val="accent6">
                    <a:lumMod val="50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rPr>
              <a:t>$1500</a:t>
            </a:r>
          </a:p>
        </p:txBody>
      </p:sp>
      <p:sp>
        <p:nvSpPr>
          <p:cNvPr id="31" name="Freeform 255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SpPr>
            <a:spLocks noEditPoints="1"/>
          </p:cNvSpPr>
          <p:nvPr/>
        </p:nvSpPr>
        <p:spPr bwMode="auto">
          <a:xfrm>
            <a:off x="6372037" y="4700232"/>
            <a:ext cx="1246346" cy="1246346"/>
          </a:xfrm>
          <a:custGeom>
            <a:avLst/>
            <a:gdLst>
              <a:gd name="T0" fmla="*/ 60 w 360"/>
              <a:gd name="T1" fmla="*/ 320 h 360"/>
              <a:gd name="T2" fmla="*/ 100 w 360"/>
              <a:gd name="T3" fmla="*/ 360 h 360"/>
              <a:gd name="T4" fmla="*/ 140 w 360"/>
              <a:gd name="T5" fmla="*/ 320 h 360"/>
              <a:gd name="T6" fmla="*/ 100 w 360"/>
              <a:gd name="T7" fmla="*/ 280 h 360"/>
              <a:gd name="T8" fmla="*/ 60 w 360"/>
              <a:gd name="T9" fmla="*/ 320 h 360"/>
              <a:gd name="T10" fmla="*/ 260 w 360"/>
              <a:gd name="T11" fmla="*/ 320 h 360"/>
              <a:gd name="T12" fmla="*/ 300 w 360"/>
              <a:gd name="T13" fmla="*/ 360 h 360"/>
              <a:gd name="T14" fmla="*/ 340 w 360"/>
              <a:gd name="T15" fmla="*/ 320 h 360"/>
              <a:gd name="T16" fmla="*/ 300 w 360"/>
              <a:gd name="T17" fmla="*/ 280 h 360"/>
              <a:gd name="T18" fmla="*/ 260 w 360"/>
              <a:gd name="T19" fmla="*/ 320 h 360"/>
              <a:gd name="T20" fmla="*/ 131 w 360"/>
              <a:gd name="T21" fmla="*/ 225 h 360"/>
              <a:gd name="T22" fmla="*/ 352 w 360"/>
              <a:gd name="T23" fmla="*/ 162 h 360"/>
              <a:gd name="T24" fmla="*/ 360 w 360"/>
              <a:gd name="T25" fmla="*/ 152 h 360"/>
              <a:gd name="T26" fmla="*/ 360 w 360"/>
              <a:gd name="T27" fmla="*/ 42 h 360"/>
              <a:gd name="T28" fmla="*/ 78 w 360"/>
              <a:gd name="T29" fmla="*/ 42 h 360"/>
              <a:gd name="T30" fmla="*/ 78 w 360"/>
              <a:gd name="T31" fmla="*/ 8 h 360"/>
              <a:gd name="T32" fmla="*/ 70 w 360"/>
              <a:gd name="T33" fmla="*/ 0 h 360"/>
              <a:gd name="T34" fmla="*/ 8 w 360"/>
              <a:gd name="T35" fmla="*/ 0 h 360"/>
              <a:gd name="T36" fmla="*/ 0 w 360"/>
              <a:gd name="T37" fmla="*/ 8 h 360"/>
              <a:gd name="T38" fmla="*/ 0 w 360"/>
              <a:gd name="T39" fmla="*/ 40 h 360"/>
              <a:gd name="T40" fmla="*/ 39 w 360"/>
              <a:gd name="T41" fmla="*/ 40 h 360"/>
              <a:gd name="T42" fmla="*/ 78 w 360"/>
              <a:gd name="T43" fmla="*/ 221 h 360"/>
              <a:gd name="T44" fmla="*/ 82 w 360"/>
              <a:gd name="T45" fmla="*/ 240 h 360"/>
              <a:gd name="T46" fmla="*/ 82 w 360"/>
              <a:gd name="T47" fmla="*/ 270 h 360"/>
              <a:gd name="T48" fmla="*/ 90 w 360"/>
              <a:gd name="T49" fmla="*/ 278 h 360"/>
              <a:gd name="T50" fmla="*/ 100 w 360"/>
              <a:gd name="T51" fmla="*/ 278 h 360"/>
              <a:gd name="T52" fmla="*/ 300 w 360"/>
              <a:gd name="T53" fmla="*/ 278 h 360"/>
              <a:gd name="T54" fmla="*/ 352 w 360"/>
              <a:gd name="T55" fmla="*/ 278 h 360"/>
              <a:gd name="T56" fmla="*/ 360 w 360"/>
              <a:gd name="T57" fmla="*/ 270 h 360"/>
              <a:gd name="T58" fmla="*/ 360 w 360"/>
              <a:gd name="T59" fmla="*/ 240 h 360"/>
              <a:gd name="T60" fmla="*/ 135 w 360"/>
              <a:gd name="T61" fmla="*/ 240 h 360"/>
              <a:gd name="T62" fmla="*/ 131 w 360"/>
              <a:gd name="T63" fmla="*/ 225 h 3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360" h="360">
                <a:moveTo>
                  <a:pt x="60" y="320"/>
                </a:moveTo>
                <a:cubicBezTo>
                  <a:pt x="60" y="342"/>
                  <a:pt x="78" y="360"/>
                  <a:pt x="100" y="360"/>
                </a:cubicBezTo>
                <a:cubicBezTo>
                  <a:pt x="122" y="360"/>
                  <a:pt x="140" y="342"/>
                  <a:pt x="140" y="320"/>
                </a:cubicBezTo>
                <a:cubicBezTo>
                  <a:pt x="140" y="298"/>
                  <a:pt x="122" y="280"/>
                  <a:pt x="100" y="280"/>
                </a:cubicBezTo>
                <a:cubicBezTo>
                  <a:pt x="78" y="280"/>
                  <a:pt x="60" y="298"/>
                  <a:pt x="60" y="320"/>
                </a:cubicBezTo>
                <a:close/>
                <a:moveTo>
                  <a:pt x="260" y="320"/>
                </a:moveTo>
                <a:cubicBezTo>
                  <a:pt x="260" y="342"/>
                  <a:pt x="278" y="360"/>
                  <a:pt x="300" y="360"/>
                </a:cubicBezTo>
                <a:cubicBezTo>
                  <a:pt x="322" y="360"/>
                  <a:pt x="340" y="342"/>
                  <a:pt x="340" y="320"/>
                </a:cubicBezTo>
                <a:cubicBezTo>
                  <a:pt x="340" y="298"/>
                  <a:pt x="322" y="280"/>
                  <a:pt x="300" y="280"/>
                </a:cubicBezTo>
                <a:cubicBezTo>
                  <a:pt x="278" y="280"/>
                  <a:pt x="260" y="298"/>
                  <a:pt x="260" y="320"/>
                </a:cubicBezTo>
                <a:close/>
                <a:moveTo>
                  <a:pt x="131" y="225"/>
                </a:moveTo>
                <a:cubicBezTo>
                  <a:pt x="352" y="162"/>
                  <a:pt x="352" y="162"/>
                  <a:pt x="352" y="162"/>
                </a:cubicBezTo>
                <a:cubicBezTo>
                  <a:pt x="356" y="161"/>
                  <a:pt x="360" y="156"/>
                  <a:pt x="360" y="152"/>
                </a:cubicBezTo>
                <a:cubicBezTo>
                  <a:pt x="360" y="42"/>
                  <a:pt x="360" y="42"/>
                  <a:pt x="360" y="42"/>
                </a:cubicBezTo>
                <a:cubicBezTo>
                  <a:pt x="78" y="42"/>
                  <a:pt x="78" y="42"/>
                  <a:pt x="78" y="42"/>
                </a:cubicBezTo>
                <a:cubicBezTo>
                  <a:pt x="78" y="8"/>
                  <a:pt x="78" y="8"/>
                  <a:pt x="78" y="8"/>
                </a:cubicBezTo>
                <a:cubicBezTo>
                  <a:pt x="78" y="3"/>
                  <a:pt x="74" y="0"/>
                  <a:pt x="70" y="0"/>
                </a:cubicBezTo>
                <a:cubicBezTo>
                  <a:pt x="8" y="0"/>
                  <a:pt x="8" y="0"/>
                  <a:pt x="8" y="0"/>
                </a:cubicBezTo>
                <a:cubicBezTo>
                  <a:pt x="3" y="0"/>
                  <a:pt x="0" y="3"/>
                  <a:pt x="0" y="8"/>
                </a:cubicBezTo>
                <a:cubicBezTo>
                  <a:pt x="0" y="40"/>
                  <a:pt x="0" y="40"/>
                  <a:pt x="0" y="40"/>
                </a:cubicBezTo>
                <a:cubicBezTo>
                  <a:pt x="39" y="40"/>
                  <a:pt x="39" y="40"/>
                  <a:pt x="39" y="40"/>
                </a:cubicBezTo>
                <a:cubicBezTo>
                  <a:pt x="78" y="221"/>
                  <a:pt x="78" y="221"/>
                  <a:pt x="78" y="221"/>
                </a:cubicBezTo>
                <a:cubicBezTo>
                  <a:pt x="82" y="240"/>
                  <a:pt x="82" y="240"/>
                  <a:pt x="82" y="240"/>
                </a:cubicBezTo>
                <a:cubicBezTo>
                  <a:pt x="82" y="270"/>
                  <a:pt x="82" y="270"/>
                  <a:pt x="82" y="270"/>
                </a:cubicBezTo>
                <a:cubicBezTo>
                  <a:pt x="82" y="274"/>
                  <a:pt x="85" y="278"/>
                  <a:pt x="90" y="278"/>
                </a:cubicBezTo>
                <a:cubicBezTo>
                  <a:pt x="100" y="278"/>
                  <a:pt x="100" y="278"/>
                  <a:pt x="100" y="278"/>
                </a:cubicBezTo>
                <a:cubicBezTo>
                  <a:pt x="300" y="278"/>
                  <a:pt x="300" y="278"/>
                  <a:pt x="300" y="278"/>
                </a:cubicBezTo>
                <a:cubicBezTo>
                  <a:pt x="352" y="278"/>
                  <a:pt x="352" y="278"/>
                  <a:pt x="352" y="278"/>
                </a:cubicBezTo>
                <a:cubicBezTo>
                  <a:pt x="356" y="278"/>
                  <a:pt x="360" y="274"/>
                  <a:pt x="360" y="270"/>
                </a:cubicBezTo>
                <a:cubicBezTo>
                  <a:pt x="360" y="240"/>
                  <a:pt x="360" y="240"/>
                  <a:pt x="360" y="240"/>
                </a:cubicBezTo>
                <a:cubicBezTo>
                  <a:pt x="135" y="240"/>
                  <a:pt x="135" y="240"/>
                  <a:pt x="135" y="240"/>
                </a:cubicBezTo>
                <a:cubicBezTo>
                  <a:pt x="112" y="240"/>
                  <a:pt x="111" y="231"/>
                  <a:pt x="131" y="225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en-AU">
              <a:latin typeface="Arial" panose="020B0604020202020204" pitchFamily="34" charset="0"/>
              <a:ea typeface="微软雅黑" panose="020B0503020204020204" pitchFamily="34" charset="-122"/>
              <a:cs typeface="思源黑体 CN Regular" panose="020B0500000000000000" charset="-122"/>
              <a:sym typeface="Arial" panose="020B0604020202020204" pitchFamily="34" charset="0"/>
            </a:endParaRPr>
          </a:p>
        </p:txBody>
      </p:sp>
      <p:sp>
        <p:nvSpPr>
          <p:cNvPr id="32" name="Freeform 255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SpPr>
            <a:spLocks noEditPoints="1"/>
          </p:cNvSpPr>
          <p:nvPr/>
        </p:nvSpPr>
        <p:spPr bwMode="auto">
          <a:xfrm>
            <a:off x="10156376" y="3884290"/>
            <a:ext cx="219748" cy="219748"/>
          </a:xfrm>
          <a:custGeom>
            <a:avLst/>
            <a:gdLst>
              <a:gd name="T0" fmla="*/ 60 w 360"/>
              <a:gd name="T1" fmla="*/ 320 h 360"/>
              <a:gd name="T2" fmla="*/ 100 w 360"/>
              <a:gd name="T3" fmla="*/ 360 h 360"/>
              <a:gd name="T4" fmla="*/ 140 w 360"/>
              <a:gd name="T5" fmla="*/ 320 h 360"/>
              <a:gd name="T6" fmla="*/ 100 w 360"/>
              <a:gd name="T7" fmla="*/ 280 h 360"/>
              <a:gd name="T8" fmla="*/ 60 w 360"/>
              <a:gd name="T9" fmla="*/ 320 h 360"/>
              <a:gd name="T10" fmla="*/ 260 w 360"/>
              <a:gd name="T11" fmla="*/ 320 h 360"/>
              <a:gd name="T12" fmla="*/ 300 w 360"/>
              <a:gd name="T13" fmla="*/ 360 h 360"/>
              <a:gd name="T14" fmla="*/ 340 w 360"/>
              <a:gd name="T15" fmla="*/ 320 h 360"/>
              <a:gd name="T16" fmla="*/ 300 w 360"/>
              <a:gd name="T17" fmla="*/ 280 h 360"/>
              <a:gd name="T18" fmla="*/ 260 w 360"/>
              <a:gd name="T19" fmla="*/ 320 h 360"/>
              <a:gd name="T20" fmla="*/ 131 w 360"/>
              <a:gd name="T21" fmla="*/ 225 h 360"/>
              <a:gd name="T22" fmla="*/ 352 w 360"/>
              <a:gd name="T23" fmla="*/ 162 h 360"/>
              <a:gd name="T24" fmla="*/ 360 w 360"/>
              <a:gd name="T25" fmla="*/ 152 h 360"/>
              <a:gd name="T26" fmla="*/ 360 w 360"/>
              <a:gd name="T27" fmla="*/ 42 h 360"/>
              <a:gd name="T28" fmla="*/ 78 w 360"/>
              <a:gd name="T29" fmla="*/ 42 h 360"/>
              <a:gd name="T30" fmla="*/ 78 w 360"/>
              <a:gd name="T31" fmla="*/ 8 h 360"/>
              <a:gd name="T32" fmla="*/ 70 w 360"/>
              <a:gd name="T33" fmla="*/ 0 h 360"/>
              <a:gd name="T34" fmla="*/ 8 w 360"/>
              <a:gd name="T35" fmla="*/ 0 h 360"/>
              <a:gd name="T36" fmla="*/ 0 w 360"/>
              <a:gd name="T37" fmla="*/ 8 h 360"/>
              <a:gd name="T38" fmla="*/ 0 w 360"/>
              <a:gd name="T39" fmla="*/ 40 h 360"/>
              <a:gd name="T40" fmla="*/ 39 w 360"/>
              <a:gd name="T41" fmla="*/ 40 h 360"/>
              <a:gd name="T42" fmla="*/ 78 w 360"/>
              <a:gd name="T43" fmla="*/ 221 h 360"/>
              <a:gd name="T44" fmla="*/ 82 w 360"/>
              <a:gd name="T45" fmla="*/ 240 h 360"/>
              <a:gd name="T46" fmla="*/ 82 w 360"/>
              <a:gd name="T47" fmla="*/ 270 h 360"/>
              <a:gd name="T48" fmla="*/ 90 w 360"/>
              <a:gd name="T49" fmla="*/ 278 h 360"/>
              <a:gd name="T50" fmla="*/ 100 w 360"/>
              <a:gd name="T51" fmla="*/ 278 h 360"/>
              <a:gd name="T52" fmla="*/ 300 w 360"/>
              <a:gd name="T53" fmla="*/ 278 h 360"/>
              <a:gd name="T54" fmla="*/ 352 w 360"/>
              <a:gd name="T55" fmla="*/ 278 h 360"/>
              <a:gd name="T56" fmla="*/ 360 w 360"/>
              <a:gd name="T57" fmla="*/ 270 h 360"/>
              <a:gd name="T58" fmla="*/ 360 w 360"/>
              <a:gd name="T59" fmla="*/ 240 h 360"/>
              <a:gd name="T60" fmla="*/ 135 w 360"/>
              <a:gd name="T61" fmla="*/ 240 h 360"/>
              <a:gd name="T62" fmla="*/ 131 w 360"/>
              <a:gd name="T63" fmla="*/ 225 h 3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360" h="360">
                <a:moveTo>
                  <a:pt x="60" y="320"/>
                </a:moveTo>
                <a:cubicBezTo>
                  <a:pt x="60" y="342"/>
                  <a:pt x="78" y="360"/>
                  <a:pt x="100" y="360"/>
                </a:cubicBezTo>
                <a:cubicBezTo>
                  <a:pt x="122" y="360"/>
                  <a:pt x="140" y="342"/>
                  <a:pt x="140" y="320"/>
                </a:cubicBezTo>
                <a:cubicBezTo>
                  <a:pt x="140" y="298"/>
                  <a:pt x="122" y="280"/>
                  <a:pt x="100" y="280"/>
                </a:cubicBezTo>
                <a:cubicBezTo>
                  <a:pt x="78" y="280"/>
                  <a:pt x="60" y="298"/>
                  <a:pt x="60" y="320"/>
                </a:cubicBezTo>
                <a:close/>
                <a:moveTo>
                  <a:pt x="260" y="320"/>
                </a:moveTo>
                <a:cubicBezTo>
                  <a:pt x="260" y="342"/>
                  <a:pt x="278" y="360"/>
                  <a:pt x="300" y="360"/>
                </a:cubicBezTo>
                <a:cubicBezTo>
                  <a:pt x="322" y="360"/>
                  <a:pt x="340" y="342"/>
                  <a:pt x="340" y="320"/>
                </a:cubicBezTo>
                <a:cubicBezTo>
                  <a:pt x="340" y="298"/>
                  <a:pt x="322" y="280"/>
                  <a:pt x="300" y="280"/>
                </a:cubicBezTo>
                <a:cubicBezTo>
                  <a:pt x="278" y="280"/>
                  <a:pt x="260" y="298"/>
                  <a:pt x="260" y="320"/>
                </a:cubicBezTo>
                <a:close/>
                <a:moveTo>
                  <a:pt x="131" y="225"/>
                </a:moveTo>
                <a:cubicBezTo>
                  <a:pt x="352" y="162"/>
                  <a:pt x="352" y="162"/>
                  <a:pt x="352" y="162"/>
                </a:cubicBezTo>
                <a:cubicBezTo>
                  <a:pt x="356" y="161"/>
                  <a:pt x="360" y="156"/>
                  <a:pt x="360" y="152"/>
                </a:cubicBezTo>
                <a:cubicBezTo>
                  <a:pt x="360" y="42"/>
                  <a:pt x="360" y="42"/>
                  <a:pt x="360" y="42"/>
                </a:cubicBezTo>
                <a:cubicBezTo>
                  <a:pt x="78" y="42"/>
                  <a:pt x="78" y="42"/>
                  <a:pt x="78" y="42"/>
                </a:cubicBezTo>
                <a:cubicBezTo>
                  <a:pt x="78" y="8"/>
                  <a:pt x="78" y="8"/>
                  <a:pt x="78" y="8"/>
                </a:cubicBezTo>
                <a:cubicBezTo>
                  <a:pt x="78" y="3"/>
                  <a:pt x="74" y="0"/>
                  <a:pt x="70" y="0"/>
                </a:cubicBezTo>
                <a:cubicBezTo>
                  <a:pt x="8" y="0"/>
                  <a:pt x="8" y="0"/>
                  <a:pt x="8" y="0"/>
                </a:cubicBezTo>
                <a:cubicBezTo>
                  <a:pt x="3" y="0"/>
                  <a:pt x="0" y="3"/>
                  <a:pt x="0" y="8"/>
                </a:cubicBezTo>
                <a:cubicBezTo>
                  <a:pt x="0" y="40"/>
                  <a:pt x="0" y="40"/>
                  <a:pt x="0" y="40"/>
                </a:cubicBezTo>
                <a:cubicBezTo>
                  <a:pt x="39" y="40"/>
                  <a:pt x="39" y="40"/>
                  <a:pt x="39" y="40"/>
                </a:cubicBezTo>
                <a:cubicBezTo>
                  <a:pt x="78" y="221"/>
                  <a:pt x="78" y="221"/>
                  <a:pt x="78" y="221"/>
                </a:cubicBezTo>
                <a:cubicBezTo>
                  <a:pt x="82" y="240"/>
                  <a:pt x="82" y="240"/>
                  <a:pt x="82" y="240"/>
                </a:cubicBezTo>
                <a:cubicBezTo>
                  <a:pt x="82" y="270"/>
                  <a:pt x="82" y="270"/>
                  <a:pt x="82" y="270"/>
                </a:cubicBezTo>
                <a:cubicBezTo>
                  <a:pt x="82" y="274"/>
                  <a:pt x="85" y="278"/>
                  <a:pt x="90" y="278"/>
                </a:cubicBezTo>
                <a:cubicBezTo>
                  <a:pt x="100" y="278"/>
                  <a:pt x="100" y="278"/>
                  <a:pt x="100" y="278"/>
                </a:cubicBezTo>
                <a:cubicBezTo>
                  <a:pt x="300" y="278"/>
                  <a:pt x="300" y="278"/>
                  <a:pt x="300" y="278"/>
                </a:cubicBezTo>
                <a:cubicBezTo>
                  <a:pt x="352" y="278"/>
                  <a:pt x="352" y="278"/>
                  <a:pt x="352" y="278"/>
                </a:cubicBezTo>
                <a:cubicBezTo>
                  <a:pt x="356" y="278"/>
                  <a:pt x="360" y="274"/>
                  <a:pt x="360" y="270"/>
                </a:cubicBezTo>
                <a:cubicBezTo>
                  <a:pt x="360" y="240"/>
                  <a:pt x="360" y="240"/>
                  <a:pt x="360" y="240"/>
                </a:cubicBezTo>
                <a:cubicBezTo>
                  <a:pt x="135" y="240"/>
                  <a:pt x="135" y="240"/>
                  <a:pt x="135" y="240"/>
                </a:cubicBezTo>
                <a:cubicBezTo>
                  <a:pt x="112" y="240"/>
                  <a:pt x="111" y="231"/>
                  <a:pt x="131" y="225"/>
                </a:cubicBezTo>
                <a:close/>
              </a:path>
            </a:pathLst>
          </a:custGeom>
          <a:solidFill>
            <a:schemeClr val="accent6">
              <a:lumMod val="5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en-AU">
              <a:latin typeface="Arial" panose="020B0604020202020204" pitchFamily="34" charset="0"/>
              <a:ea typeface="微软雅黑" panose="020B0503020204020204" pitchFamily="34" charset="-122"/>
              <a:cs typeface="思源黑体 CN Regular" panose="020B0500000000000000" charset="-122"/>
              <a:sym typeface="Arial" panose="020B0604020202020204" pitchFamily="34" charset="0"/>
            </a:endParaRPr>
          </a:p>
        </p:txBody>
      </p:sp>
      <p:sp>
        <p:nvSpPr>
          <p:cNvPr id="33" name="Freeform 96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SpPr>
            <a:spLocks noEditPoints="1"/>
          </p:cNvSpPr>
          <p:nvPr/>
        </p:nvSpPr>
        <p:spPr bwMode="auto">
          <a:xfrm>
            <a:off x="7551908" y="4639024"/>
            <a:ext cx="958308" cy="958308"/>
          </a:xfrm>
          <a:custGeom>
            <a:avLst/>
            <a:gdLst>
              <a:gd name="T0" fmla="*/ 309 w 319"/>
              <a:gd name="T1" fmla="*/ 267 h 318"/>
              <a:gd name="T2" fmla="*/ 233 w 319"/>
              <a:gd name="T3" fmla="*/ 192 h 318"/>
              <a:gd name="T4" fmla="*/ 251 w 319"/>
              <a:gd name="T5" fmla="*/ 127 h 318"/>
              <a:gd name="T6" fmla="*/ 123 w 319"/>
              <a:gd name="T7" fmla="*/ 0 h 318"/>
              <a:gd name="T8" fmla="*/ 0 w 319"/>
              <a:gd name="T9" fmla="*/ 124 h 318"/>
              <a:gd name="T10" fmla="*/ 127 w 319"/>
              <a:gd name="T11" fmla="*/ 251 h 318"/>
              <a:gd name="T12" fmla="*/ 190 w 319"/>
              <a:gd name="T13" fmla="*/ 234 h 318"/>
              <a:gd name="T14" fmla="*/ 266 w 319"/>
              <a:gd name="T15" fmla="*/ 310 h 318"/>
              <a:gd name="T16" fmla="*/ 293 w 319"/>
              <a:gd name="T17" fmla="*/ 310 h 318"/>
              <a:gd name="T18" fmla="*/ 311 w 319"/>
              <a:gd name="T19" fmla="*/ 291 h 318"/>
              <a:gd name="T20" fmla="*/ 309 w 319"/>
              <a:gd name="T21" fmla="*/ 267 h 318"/>
              <a:gd name="T22" fmla="*/ 38 w 319"/>
              <a:gd name="T23" fmla="*/ 124 h 318"/>
              <a:gd name="T24" fmla="*/ 123 w 319"/>
              <a:gd name="T25" fmla="*/ 38 h 318"/>
              <a:gd name="T26" fmla="*/ 213 w 319"/>
              <a:gd name="T27" fmla="*/ 127 h 318"/>
              <a:gd name="T28" fmla="*/ 127 w 319"/>
              <a:gd name="T29" fmla="*/ 213 h 318"/>
              <a:gd name="T30" fmla="*/ 38 w 319"/>
              <a:gd name="T31" fmla="*/ 124 h 3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319" h="318">
                <a:moveTo>
                  <a:pt x="309" y="267"/>
                </a:moveTo>
                <a:cubicBezTo>
                  <a:pt x="233" y="192"/>
                  <a:pt x="233" y="192"/>
                  <a:pt x="233" y="192"/>
                </a:cubicBezTo>
                <a:cubicBezTo>
                  <a:pt x="244" y="173"/>
                  <a:pt x="251" y="151"/>
                  <a:pt x="251" y="127"/>
                </a:cubicBezTo>
                <a:cubicBezTo>
                  <a:pt x="251" y="59"/>
                  <a:pt x="192" y="0"/>
                  <a:pt x="123" y="0"/>
                </a:cubicBezTo>
                <a:cubicBezTo>
                  <a:pt x="55" y="0"/>
                  <a:pt x="0" y="55"/>
                  <a:pt x="0" y="124"/>
                </a:cubicBezTo>
                <a:cubicBezTo>
                  <a:pt x="0" y="192"/>
                  <a:pt x="59" y="251"/>
                  <a:pt x="127" y="251"/>
                </a:cubicBezTo>
                <a:cubicBezTo>
                  <a:pt x="150" y="251"/>
                  <a:pt x="171" y="245"/>
                  <a:pt x="190" y="234"/>
                </a:cubicBezTo>
                <a:cubicBezTo>
                  <a:pt x="266" y="310"/>
                  <a:pt x="266" y="310"/>
                  <a:pt x="266" y="310"/>
                </a:cubicBezTo>
                <a:cubicBezTo>
                  <a:pt x="273" y="318"/>
                  <a:pt x="285" y="318"/>
                  <a:pt x="293" y="310"/>
                </a:cubicBezTo>
                <a:cubicBezTo>
                  <a:pt x="311" y="291"/>
                  <a:pt x="311" y="291"/>
                  <a:pt x="311" y="291"/>
                </a:cubicBezTo>
                <a:cubicBezTo>
                  <a:pt x="319" y="284"/>
                  <a:pt x="316" y="275"/>
                  <a:pt x="309" y="267"/>
                </a:cubicBezTo>
                <a:close/>
                <a:moveTo>
                  <a:pt x="38" y="124"/>
                </a:moveTo>
                <a:cubicBezTo>
                  <a:pt x="38" y="76"/>
                  <a:pt x="76" y="38"/>
                  <a:pt x="123" y="38"/>
                </a:cubicBezTo>
                <a:cubicBezTo>
                  <a:pt x="171" y="38"/>
                  <a:pt x="213" y="80"/>
                  <a:pt x="213" y="127"/>
                </a:cubicBezTo>
                <a:cubicBezTo>
                  <a:pt x="213" y="175"/>
                  <a:pt x="175" y="213"/>
                  <a:pt x="127" y="213"/>
                </a:cubicBezTo>
                <a:cubicBezTo>
                  <a:pt x="80" y="213"/>
                  <a:pt x="38" y="171"/>
                  <a:pt x="38" y="124"/>
                </a:cubicBezTo>
                <a:close/>
              </a:path>
            </a:pathLst>
          </a:custGeom>
          <a:solidFill>
            <a:schemeClr val="accent6">
              <a:lumMod val="5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en-AU">
              <a:latin typeface="Arial" panose="020B0604020202020204" pitchFamily="34" charset="0"/>
              <a:ea typeface="微软雅黑" panose="020B0503020204020204" pitchFamily="34" charset="-122"/>
              <a:cs typeface="思源黑体 CN Regular" panose="020B0500000000000000" charset="-122"/>
              <a:sym typeface="Arial" panose="020B0604020202020204" pitchFamily="34" charset="0"/>
            </a:endParaRPr>
          </a:p>
        </p:txBody>
      </p:sp>
      <p:sp>
        <p:nvSpPr>
          <p:cNvPr id="34" name="Rectangle 60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SpPr/>
          <p:nvPr/>
        </p:nvSpPr>
        <p:spPr>
          <a:xfrm>
            <a:off x="8798254" y="4964517"/>
            <a:ext cx="2306685" cy="72962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30000"/>
              </a:lnSpc>
            </a:pPr>
            <a:r>
              <a:rPr lang="en-US" sz="1100" b="1">
                <a:solidFill>
                  <a:schemeClr val="accent6">
                    <a:lumMod val="50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rPr>
              <a:t>Project Research</a:t>
            </a:r>
          </a:p>
          <a:p>
            <a:pPr>
              <a:lnSpc>
                <a:spcPct val="130000"/>
              </a:lnSpc>
            </a:pPr>
            <a:r>
              <a:rPr lang="en-US" sz="1100">
                <a:solidFill>
                  <a:schemeClr val="accent6">
                    <a:lumMod val="50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rPr>
              <a:t>Objectively disintermediate leveraged manufactured products</a:t>
            </a:r>
          </a:p>
        </p:txBody>
      </p:sp>
      <p:pic>
        <p:nvPicPr>
          <p:cNvPr id="35" name="Picture 2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PicPr>
            <a:picLocks noGrp="1" noChangeAspect="1" noChangeArrowheads="1"/>
          </p:cNvPicPr>
          <p:nvPr>
            <p:ph type="pic" sz="quarter" idx="10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1195388" y="1190625"/>
            <a:ext cx="1736725" cy="1498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6" name="Picture 2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PicPr>
            <a:picLocks noGrp="1" noChangeAspect="1" noChangeArrowheads="1"/>
          </p:cNvPicPr>
          <p:nvPr>
            <p:ph type="pic" sz="quarter" idx="13"/>
          </p:nvPr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7" name="图片占位符 36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PicPr>
            <a:picLocks noGrp="1" noChangeAspect="1"/>
          </p:cNvPicPr>
          <p:nvPr>
            <p:ph type="pic" sz="quarter" idx="11"/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prstGeom prst="rect">
            <a:avLst/>
          </a:prstGeom>
        </p:spPr>
      </p:pic>
      <p:pic>
        <p:nvPicPr>
          <p:cNvPr id="38" name="图片占位符 37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PicPr>
            <a:picLocks noGrp="1" noChangeAspect="1"/>
          </p:cNvPicPr>
          <p:nvPr>
            <p:ph type="pic" sz="quarter" idx="14"/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prstGeom prst="rect">
            <a:avLst/>
          </a:prstGeom>
        </p:spPr>
      </p:pic>
      <p:pic>
        <p:nvPicPr>
          <p:cNvPr id="39" name="图片占位符 38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PicPr>
            <a:picLocks noGrp="1" noChangeAspect="1"/>
          </p:cNvPicPr>
          <p:nvPr>
            <p:ph type="pic" sz="quarter" idx="12"/>
          </p:nvPr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prstGeom prst="rect">
            <a:avLst/>
          </a:prstGeom>
        </p:spPr>
      </p:pic>
      <p:pic>
        <p:nvPicPr>
          <p:cNvPr id="40" name="图片占位符 39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PicPr>
            <a:picLocks noGrp="1" noChangeAspect="1"/>
          </p:cNvPicPr>
          <p:nvPr>
            <p:ph type="pic" sz="quarter" idx="15"/>
          </p:nvPr>
        </p:nvPicPr>
        <p:blipFill>
          <a:blip r:embed="rId8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prstGeom prst="rect">
            <a:avLst/>
          </a:prstGeom>
        </p:spPr>
      </p:pic>
      <p:sp>
        <p:nvSpPr>
          <p:cNvPr id="41" name="Text Placeholder 4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SpPr txBox="1"/>
          <p:nvPr/>
        </p:nvSpPr>
        <p:spPr>
          <a:xfrm>
            <a:off x="6299634" y="1909537"/>
            <a:ext cx="3374718" cy="211871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/>
          <a:lstStyle>
            <a:lvl1pPr marL="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8800" b="0" kern="1200">
                <a:solidFill>
                  <a:schemeClr val="bg1"/>
                </a:solidFill>
                <a:latin typeface="Levenim MT" panose="02010502060101010101" pitchFamily="2" charset="-79"/>
                <a:ea typeface="Yu Gothic" panose="020B0400000000000000" pitchFamily="34" charset="-128"/>
                <a:cs typeface="Levenim MT" panose="02010502060101010101" pitchFamily="2" charset="-79"/>
              </a:defRPr>
            </a:lvl1pPr>
            <a:lvl2pPr marL="742950" indent="-28575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dist"/>
            <a:r>
              <a:rPr lang="en-US" sz="1100" spc="-300">
                <a:latin typeface="Arial" panose="020B0604020202020204" pitchFamily="34" charset="0"/>
                <a:ea typeface="微软雅黑" panose="020B0503020204020204" pitchFamily="34" charset="-122"/>
                <a:cs typeface="等线" panose="02010600030101010101" charset="-122"/>
                <a:sym typeface="Arial" panose="020B0604020202020204" pitchFamily="34" charset="0"/>
              </a:rPr>
              <a:t>T     H     E               M     O     D     E     R     N               P     R    E     S     E    N     T     A     T     I     O     N</a:t>
            </a:r>
          </a:p>
        </p:txBody>
      </p:sp>
      <p:sp>
        <p:nvSpPr>
          <p:cNvPr id="42" name="TextBox 6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SpPr txBox="1"/>
          <p:nvPr/>
        </p:nvSpPr>
        <p:spPr>
          <a:xfrm>
            <a:off x="1184628" y="880610"/>
            <a:ext cx="1219693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1200" i="1">
                <a:solidFill>
                  <a:schemeClr val="tx2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rPr>
              <a:t>TEMPLATE 20XX</a:t>
            </a:r>
          </a:p>
        </p:txBody>
      </p:sp>
      <p:sp>
        <p:nvSpPr>
          <p:cNvPr id="43" name="Прямоугольник 9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SpPr/>
          <p:nvPr/>
        </p:nvSpPr>
        <p:spPr>
          <a:xfrm>
            <a:off x="0" y="0"/>
            <a:ext cx="45719" cy="3429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rial" panose="020B0604020202020204" pitchFamily="34" charset="0"/>
              <a:ea typeface="微软雅黑" panose="020B0503020204020204" pitchFamily="34" charset="-122"/>
              <a:cs typeface="思源黑体 CN Regular" panose="020B0500000000000000" charset="-122"/>
              <a:sym typeface="Arial" panose="020B0604020202020204" pitchFamily="34" charset="0"/>
            </a:endParaRPr>
          </a:p>
        </p:txBody>
      </p:sp>
      <p:sp>
        <p:nvSpPr>
          <p:cNvPr id="4" name="e7d195523061f1c0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 hidden="1"/>
          <p:cNvSpPr txBox="1"/>
          <p:nvPr/>
        </p:nvSpPr>
        <p:spPr>
          <a:xfrm>
            <a:off x="-355600" y="1803400"/>
            <a:ext cx="284693" cy="1016000"/>
          </a:xfrm>
          <a:prstGeom prst="rect">
            <a:avLst/>
          </a:prstGeom>
          <a:noFill/>
        </p:spPr>
        <p:txBody>
          <a:bodyPr vert="wordArtVert" rtlCol="0">
            <a:spAutoFit/>
          </a:bodyPr>
          <a:lstStyle/>
          <a:p>
            <a:r>
              <a:rPr lang="en-US" altLang="zh-CN" sz="100"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rPr>
              <a:t>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</a:t>
            </a:r>
            <a:endParaRPr lang="zh-CN" altLang="en-US" sz="100">
              <a:latin typeface="Arial" panose="020B0604020202020204" pitchFamily="34" charset="0"/>
              <a:ea typeface="微软雅黑" panose="020B0503020204020204" pitchFamily="34" charset="-122"/>
              <a:cs typeface="思源黑体 CN Regular" panose="020B0500000000000000" charset="-122"/>
              <a:sym typeface="Arial" panose="020B0604020202020204" pitchFamily="34" charset="0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random/>
      </p:transition>
    </mc:Choice>
    <mc:Fallback xmlns:p159="http://schemas.microsoft.com/office/powerpoint/2015/09/main" xmlns:p15="http://schemas.microsoft.com/office/powerpoint/2012/main" xmlns:a14="http://schemas.microsoft.com/office/drawing/2010/main" xmlns:wp="http://schemas.openxmlformats.org/drawingml/2006/wordprocessingDrawing" xmlns:w="http://schemas.openxmlformats.org/wordprocessingml/2006/main" xmlns:m="http://schemas.openxmlformats.org/officeDocument/2006/math" xmlns="">
      <p:transition spd="slow">
        <p:random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dur="50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 nodeType="clickPar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31" presetClass="entr" presetSubtype="0" dur="1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" dur="10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5" dur="10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31" presetClass="entr" presetSubtype="0" dur="1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8" dur="10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10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1" dur="10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31" presetClass="entr" presetSubtype="0" dur="1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4" dur="10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5" dur="10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10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7" dur="10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31" presetClass="entr" presetSubtype="0" dur="1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0" dur="10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1" dur="10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10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3" dur="10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31" presetClass="entr" presetSubtype="0" dur="1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6" dur="10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7" dur="10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8" dur="10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9" dur="10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31" presetClass="entr" presetSubtype="0" dur="1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2" dur="10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3" dur="10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4" dur="10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5" dur="10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6" fill="hold" nodeType="clickPar">
                      <p:stCondLst>
                        <p:cond delay="indefinite"/>
                      </p:stCondLst>
                      <p:childTnLst>
                        <p:par>
                          <p:cTn id="47" fill="hold">
                            <p:stCondLst>
                              <p:cond delay="0"/>
                            </p:stCondLst>
                            <p:childTnLst>
                              <p:par>
                                <p:cTn id="48" presetID="10" presetClass="entr" presetSubtype="0" dur="50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 nodeType="clickPar">
                      <p:stCondLst>
                        <p:cond delay="indefinite"/>
                      </p:stCondLst>
                      <p:childTnLst>
                        <p:par>
                          <p:cTn id="52" fill="hold">
                            <p:stCondLst>
                              <p:cond delay="0"/>
                            </p:stCondLst>
                            <p:childTnLst>
                              <p:par>
                                <p:cTn id="53" presetID="14" presetClass="entr" presetSubtype="10" dur="50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55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6" presetID="14" presetClass="entr" presetSubtype="10" dur="5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58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9" presetID="14" presetClass="entr" presetSubtype="10" dur="5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61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28" grpId="0"/>
      <p:bldP spid="20" grpId="0"/>
      <p:bldP spid="41" grpId="0" animBg="1"/>
      <p:bldP spid="42" grpId="0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100000">
              <a:srgbClr val="C8C8C8"/>
            </a:gs>
            <a:gs pos="0">
              <a:schemeClr val="bg1">
                <a:alpha val="64000"/>
              </a:schemeClr>
            </a:gs>
          </a:gsLst>
          <a:path path="circle">
            <a:fillToRect l="50000" t="50000" r="50000" b="50000"/>
          </a:path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图片 1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793420">
            <a:off x="-1095472" y="-311217"/>
            <a:ext cx="13049470" cy="9656607"/>
          </a:xfrm>
          <a:prstGeom prst="rect">
            <a:avLst/>
          </a:prstGeom>
        </p:spPr>
      </p:pic>
      <p:sp>
        <p:nvSpPr>
          <p:cNvPr id="3" name="文本框 2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SpPr txBox="1"/>
          <p:nvPr/>
        </p:nvSpPr>
        <p:spPr>
          <a:xfrm>
            <a:off x="5825492" y="1882985"/>
            <a:ext cx="5147308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6000"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rPr>
              <a:t>PART THREE</a:t>
            </a:r>
            <a:endParaRPr lang="zh-CN" altLang="en-US" sz="6000">
              <a:latin typeface="Arial" panose="020B0604020202020204" pitchFamily="34" charset="0"/>
              <a:ea typeface="微软雅黑" panose="020B0503020204020204" pitchFamily="34" charset="-122"/>
              <a:cs typeface="思源黑体 CN Regular" panose="020B0500000000000000" charset="-122"/>
              <a:sym typeface="Arial" panose="020B0604020202020204" pitchFamily="34" charset="0"/>
            </a:endParaRPr>
          </a:p>
        </p:txBody>
      </p:sp>
      <p:sp>
        <p:nvSpPr>
          <p:cNvPr id="7" name="文本框 6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SpPr txBox="1"/>
          <p:nvPr/>
        </p:nvSpPr>
        <p:spPr>
          <a:xfrm>
            <a:off x="5852160" y="2724912"/>
            <a:ext cx="5010912" cy="3657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dist"/>
            <a:r>
              <a:rPr lang="en-US" altLang="zh-CN"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rPr>
              <a:t>THE MODERN PRESENTATION</a:t>
            </a:r>
            <a:endParaRPr lang="zh-CN" altLang="en-US">
              <a:latin typeface="Arial" panose="020B0604020202020204" pitchFamily="34" charset="0"/>
              <a:ea typeface="微软雅黑" panose="020B0503020204020204" pitchFamily="34" charset="-122"/>
              <a:cs typeface="思源黑体 CN Regular" panose="020B0500000000000000" charset="-122"/>
              <a:sym typeface="Arial" panose="020B0604020202020204" pitchFamily="34" charset="0"/>
            </a:endParaRPr>
          </a:p>
        </p:txBody>
      </p:sp>
      <p:sp>
        <p:nvSpPr>
          <p:cNvPr id="8" name="文本框 7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SpPr txBox="1"/>
          <p:nvPr/>
        </p:nvSpPr>
        <p:spPr>
          <a:xfrm>
            <a:off x="5821680" y="1652016"/>
            <a:ext cx="120091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dist"/>
            <a:r>
              <a:rPr lang="en-US" altLang="zh-CN" sz="1600">
                <a:solidFill>
                  <a:schemeClr val="tx2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rPr>
              <a:t>About Us</a:t>
            </a:r>
            <a:endParaRPr lang="zh-CN" altLang="en-US" sz="1600">
              <a:solidFill>
                <a:schemeClr val="tx2"/>
              </a:solidFill>
              <a:latin typeface="Arial" panose="020B0604020202020204" pitchFamily="34" charset="0"/>
              <a:ea typeface="微软雅黑" panose="020B0503020204020204" pitchFamily="34" charset="-122"/>
              <a:cs typeface="思源黑体 CN Regular" panose="020B0500000000000000" charset="-122"/>
              <a:sym typeface="Arial" panose="020B0604020202020204" pitchFamily="34" charset="0"/>
            </a:endParaRPr>
          </a:p>
        </p:txBody>
      </p:sp>
      <p:sp>
        <p:nvSpPr>
          <p:cNvPr id="9" name="矩形 8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SpPr/>
          <p:nvPr/>
        </p:nvSpPr>
        <p:spPr>
          <a:xfrm>
            <a:off x="10083800" y="0"/>
            <a:ext cx="596900" cy="723900"/>
          </a:xfrm>
          <a:prstGeom prst="rect">
            <a:avLst/>
          </a:prstGeom>
          <a:solidFill>
            <a:srgbClr val="002BF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latin typeface="Arial" panose="020B0604020202020204" pitchFamily="34" charset="0"/>
              <a:ea typeface="微软雅黑" panose="020B0503020204020204" pitchFamily="34" charset="-122"/>
              <a:cs typeface="思源黑体 CN Regular" panose="020B0500000000000000" charset="-122"/>
              <a:sym typeface="Arial" panose="020B0604020202020204" pitchFamily="34" charset="0"/>
            </a:endParaRPr>
          </a:p>
        </p:txBody>
      </p:sp>
      <p:sp>
        <p:nvSpPr>
          <p:cNvPr id="10" name="Shape 3891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SpPr/>
          <p:nvPr/>
        </p:nvSpPr>
        <p:spPr>
          <a:xfrm>
            <a:off x="10245293" y="162829"/>
            <a:ext cx="279033" cy="279033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8429" y="14128"/>
                </a:moveTo>
                <a:cubicBezTo>
                  <a:pt x="17041" y="13430"/>
                  <a:pt x="15777" y="12523"/>
                  <a:pt x="14684" y="11440"/>
                </a:cubicBezTo>
                <a:cubicBezTo>
                  <a:pt x="15214" y="10618"/>
                  <a:pt x="15664" y="9739"/>
                  <a:pt x="16034" y="8820"/>
                </a:cubicBezTo>
                <a:cubicBezTo>
                  <a:pt x="16089" y="8826"/>
                  <a:pt x="16143" y="8836"/>
                  <a:pt x="16200" y="8836"/>
                </a:cubicBezTo>
                <a:cubicBezTo>
                  <a:pt x="17013" y="8836"/>
                  <a:pt x="17673" y="8178"/>
                  <a:pt x="17673" y="7364"/>
                </a:cubicBezTo>
                <a:cubicBezTo>
                  <a:pt x="17673" y="6787"/>
                  <a:pt x="17339" y="6295"/>
                  <a:pt x="16856" y="6052"/>
                </a:cubicBezTo>
                <a:cubicBezTo>
                  <a:pt x="17033" y="5170"/>
                  <a:pt x="17144" y="4264"/>
                  <a:pt x="17167" y="3336"/>
                </a:cubicBezTo>
                <a:cubicBezTo>
                  <a:pt x="19277" y="5136"/>
                  <a:pt x="20618" y="7809"/>
                  <a:pt x="20618" y="10800"/>
                </a:cubicBezTo>
                <a:cubicBezTo>
                  <a:pt x="20618" y="11764"/>
                  <a:pt x="20469" y="12690"/>
                  <a:pt x="20209" y="13568"/>
                </a:cubicBezTo>
                <a:cubicBezTo>
                  <a:pt x="19628" y="13783"/>
                  <a:pt x="19034" y="13971"/>
                  <a:pt x="18429" y="14128"/>
                </a:cubicBezTo>
                <a:moveTo>
                  <a:pt x="10800" y="20618"/>
                </a:moveTo>
                <a:cubicBezTo>
                  <a:pt x="8406" y="20618"/>
                  <a:pt x="6213" y="19759"/>
                  <a:pt x="4509" y="18335"/>
                </a:cubicBezTo>
                <a:cubicBezTo>
                  <a:pt x="6552" y="17934"/>
                  <a:pt x="8450" y="17135"/>
                  <a:pt x="10128" y="16031"/>
                </a:cubicBezTo>
                <a:cubicBezTo>
                  <a:pt x="10330" y="16136"/>
                  <a:pt x="10556" y="16200"/>
                  <a:pt x="10800" y="16200"/>
                </a:cubicBezTo>
                <a:cubicBezTo>
                  <a:pt x="11273" y="16200"/>
                  <a:pt x="11689" y="15974"/>
                  <a:pt x="11959" y="15627"/>
                </a:cubicBezTo>
                <a:cubicBezTo>
                  <a:pt x="12547" y="15680"/>
                  <a:pt x="13142" y="15709"/>
                  <a:pt x="13745" y="15709"/>
                </a:cubicBezTo>
                <a:cubicBezTo>
                  <a:pt x="15323" y="15709"/>
                  <a:pt x="16852" y="15508"/>
                  <a:pt x="18322" y="15156"/>
                </a:cubicBezTo>
                <a:cubicBezTo>
                  <a:pt x="18660" y="15317"/>
                  <a:pt x="18998" y="15480"/>
                  <a:pt x="19350" y="15618"/>
                </a:cubicBezTo>
                <a:cubicBezTo>
                  <a:pt x="17665" y="18601"/>
                  <a:pt x="14470" y="20618"/>
                  <a:pt x="10800" y="20618"/>
                </a:cubicBezTo>
                <a:moveTo>
                  <a:pt x="3539" y="17393"/>
                </a:moveTo>
                <a:cubicBezTo>
                  <a:pt x="3476" y="16840"/>
                  <a:pt x="3436" y="16280"/>
                  <a:pt x="3436" y="15709"/>
                </a:cubicBezTo>
                <a:cubicBezTo>
                  <a:pt x="3436" y="14764"/>
                  <a:pt x="3536" y="13842"/>
                  <a:pt x="3707" y="12946"/>
                </a:cubicBezTo>
                <a:cubicBezTo>
                  <a:pt x="5455" y="13988"/>
                  <a:pt x="7377" y="14767"/>
                  <a:pt x="9421" y="15227"/>
                </a:cubicBezTo>
                <a:cubicBezTo>
                  <a:pt x="9431" y="15254"/>
                  <a:pt x="9436" y="15282"/>
                  <a:pt x="9447" y="15308"/>
                </a:cubicBezTo>
                <a:cubicBezTo>
                  <a:pt x="7724" y="16421"/>
                  <a:pt x="5761" y="17193"/>
                  <a:pt x="3643" y="17507"/>
                </a:cubicBezTo>
                <a:cubicBezTo>
                  <a:pt x="3608" y="17469"/>
                  <a:pt x="3573" y="17430"/>
                  <a:pt x="3539" y="17393"/>
                </a:cubicBezTo>
                <a:moveTo>
                  <a:pt x="3075" y="11369"/>
                </a:moveTo>
                <a:cubicBezTo>
                  <a:pt x="2361" y="10869"/>
                  <a:pt x="1683" y="10322"/>
                  <a:pt x="1046" y="9729"/>
                </a:cubicBezTo>
                <a:cubicBezTo>
                  <a:pt x="1528" y="5299"/>
                  <a:pt x="4955" y="1762"/>
                  <a:pt x="9331" y="1104"/>
                </a:cubicBezTo>
                <a:cubicBezTo>
                  <a:pt x="9335" y="1629"/>
                  <a:pt x="9363" y="2148"/>
                  <a:pt x="9417" y="2660"/>
                </a:cubicBezTo>
                <a:cubicBezTo>
                  <a:pt x="8572" y="3227"/>
                  <a:pt x="7787" y="3879"/>
                  <a:pt x="7069" y="4597"/>
                </a:cubicBezTo>
                <a:cubicBezTo>
                  <a:pt x="6863" y="4486"/>
                  <a:pt x="6632" y="4418"/>
                  <a:pt x="6382" y="4418"/>
                </a:cubicBezTo>
                <a:cubicBezTo>
                  <a:pt x="5569" y="4418"/>
                  <a:pt x="4909" y="5078"/>
                  <a:pt x="4909" y="5891"/>
                </a:cubicBezTo>
                <a:cubicBezTo>
                  <a:pt x="4909" y="6236"/>
                  <a:pt x="5033" y="6549"/>
                  <a:pt x="5231" y="6800"/>
                </a:cubicBezTo>
                <a:cubicBezTo>
                  <a:pt x="4279" y="8179"/>
                  <a:pt x="3550" y="9719"/>
                  <a:pt x="3075" y="11369"/>
                </a:cubicBezTo>
                <a:moveTo>
                  <a:pt x="2466" y="15973"/>
                </a:moveTo>
                <a:cubicBezTo>
                  <a:pt x="1563" y="14521"/>
                  <a:pt x="1025" y="12821"/>
                  <a:pt x="989" y="10995"/>
                </a:cubicBezTo>
                <a:cubicBezTo>
                  <a:pt x="1570" y="11492"/>
                  <a:pt x="2180" y="11955"/>
                  <a:pt x="2817" y="12383"/>
                </a:cubicBezTo>
                <a:cubicBezTo>
                  <a:pt x="2585" y="13456"/>
                  <a:pt x="2455" y="14567"/>
                  <a:pt x="2455" y="15709"/>
                </a:cubicBezTo>
                <a:cubicBezTo>
                  <a:pt x="2455" y="15798"/>
                  <a:pt x="2464" y="15885"/>
                  <a:pt x="2466" y="15973"/>
                </a:cubicBezTo>
                <a:moveTo>
                  <a:pt x="13428" y="11540"/>
                </a:moveTo>
                <a:cubicBezTo>
                  <a:pt x="12907" y="12264"/>
                  <a:pt x="12315" y="12931"/>
                  <a:pt x="11674" y="13548"/>
                </a:cubicBezTo>
                <a:cubicBezTo>
                  <a:pt x="11429" y="13366"/>
                  <a:pt x="11129" y="13255"/>
                  <a:pt x="10800" y="13255"/>
                </a:cubicBezTo>
                <a:cubicBezTo>
                  <a:pt x="10166" y="13255"/>
                  <a:pt x="9631" y="13657"/>
                  <a:pt x="9423" y="14218"/>
                </a:cubicBezTo>
                <a:cubicBezTo>
                  <a:pt x="7455" y="13751"/>
                  <a:pt x="5607" y="12974"/>
                  <a:pt x="3936" y="11937"/>
                </a:cubicBezTo>
                <a:cubicBezTo>
                  <a:pt x="4379" y="10266"/>
                  <a:pt x="5100" y="8709"/>
                  <a:pt x="6060" y="7326"/>
                </a:cubicBezTo>
                <a:cubicBezTo>
                  <a:pt x="6164" y="7349"/>
                  <a:pt x="6271" y="7364"/>
                  <a:pt x="6382" y="7364"/>
                </a:cubicBezTo>
                <a:cubicBezTo>
                  <a:pt x="7195" y="7364"/>
                  <a:pt x="7855" y="6705"/>
                  <a:pt x="7855" y="5891"/>
                </a:cubicBezTo>
                <a:cubicBezTo>
                  <a:pt x="7855" y="5688"/>
                  <a:pt x="7813" y="5494"/>
                  <a:pt x="7739" y="5318"/>
                </a:cubicBezTo>
                <a:cubicBezTo>
                  <a:pt x="8307" y="4747"/>
                  <a:pt x="8920" y="4221"/>
                  <a:pt x="9575" y="3749"/>
                </a:cubicBezTo>
                <a:cubicBezTo>
                  <a:pt x="10104" y="6723"/>
                  <a:pt x="11479" y="9397"/>
                  <a:pt x="13428" y="11540"/>
                </a:cubicBezTo>
                <a:moveTo>
                  <a:pt x="10800" y="982"/>
                </a:moveTo>
                <a:cubicBezTo>
                  <a:pt x="11347" y="982"/>
                  <a:pt x="11881" y="1038"/>
                  <a:pt x="12403" y="1125"/>
                </a:cubicBezTo>
                <a:cubicBezTo>
                  <a:pt x="11696" y="1401"/>
                  <a:pt x="11005" y="1708"/>
                  <a:pt x="10354" y="2082"/>
                </a:cubicBezTo>
                <a:cubicBezTo>
                  <a:pt x="10328" y="1726"/>
                  <a:pt x="10311" y="1368"/>
                  <a:pt x="10310" y="1007"/>
                </a:cubicBezTo>
                <a:cubicBezTo>
                  <a:pt x="10474" y="999"/>
                  <a:pt x="10635" y="982"/>
                  <a:pt x="10800" y="982"/>
                </a:cubicBezTo>
                <a:moveTo>
                  <a:pt x="14120" y="12262"/>
                </a:moveTo>
                <a:cubicBezTo>
                  <a:pt x="14982" y="13097"/>
                  <a:pt x="15950" y="13819"/>
                  <a:pt x="16986" y="14440"/>
                </a:cubicBezTo>
                <a:cubicBezTo>
                  <a:pt x="15933" y="14626"/>
                  <a:pt x="14852" y="14727"/>
                  <a:pt x="13745" y="14727"/>
                </a:cubicBezTo>
                <a:cubicBezTo>
                  <a:pt x="13246" y="14727"/>
                  <a:pt x="12754" y="14702"/>
                  <a:pt x="12265" y="14664"/>
                </a:cubicBezTo>
                <a:cubicBezTo>
                  <a:pt x="12259" y="14569"/>
                  <a:pt x="12250" y="14475"/>
                  <a:pt x="12229" y="14386"/>
                </a:cubicBezTo>
                <a:cubicBezTo>
                  <a:pt x="12921" y="13737"/>
                  <a:pt x="13555" y="13027"/>
                  <a:pt x="14120" y="12262"/>
                </a:cubicBezTo>
                <a:moveTo>
                  <a:pt x="16188" y="2597"/>
                </a:moveTo>
                <a:cubicBezTo>
                  <a:pt x="16191" y="2713"/>
                  <a:pt x="16200" y="2828"/>
                  <a:pt x="16200" y="2945"/>
                </a:cubicBezTo>
                <a:cubicBezTo>
                  <a:pt x="16200" y="3967"/>
                  <a:pt x="16092" y="4962"/>
                  <a:pt x="15894" y="5924"/>
                </a:cubicBezTo>
                <a:cubicBezTo>
                  <a:pt x="15227" y="6065"/>
                  <a:pt x="14727" y="6656"/>
                  <a:pt x="14727" y="7364"/>
                </a:cubicBezTo>
                <a:cubicBezTo>
                  <a:pt x="14727" y="7765"/>
                  <a:pt x="14888" y="8128"/>
                  <a:pt x="15149" y="8393"/>
                </a:cubicBezTo>
                <a:cubicBezTo>
                  <a:pt x="14827" y="9199"/>
                  <a:pt x="14443" y="9974"/>
                  <a:pt x="13991" y="10701"/>
                </a:cubicBezTo>
                <a:cubicBezTo>
                  <a:pt x="12159" y="8620"/>
                  <a:pt x="10894" y="6025"/>
                  <a:pt x="10469" y="3152"/>
                </a:cubicBezTo>
                <a:cubicBezTo>
                  <a:pt x="11590" y="2463"/>
                  <a:pt x="12813" y="1934"/>
                  <a:pt x="14106" y="1565"/>
                </a:cubicBezTo>
                <a:cubicBezTo>
                  <a:pt x="14844" y="1829"/>
                  <a:pt x="15544" y="2174"/>
                  <a:pt x="16188" y="2597"/>
                </a:cubicBezTo>
                <a:moveTo>
                  <a:pt x="10800" y="0"/>
                </a:moveTo>
                <a:cubicBezTo>
                  <a:pt x="4835" y="0"/>
                  <a:pt x="0" y="4835"/>
                  <a:pt x="0" y="10800"/>
                </a:cubicBezTo>
                <a:cubicBezTo>
                  <a:pt x="0" y="16765"/>
                  <a:pt x="4835" y="21600"/>
                  <a:pt x="10800" y="21600"/>
                </a:cubicBezTo>
                <a:cubicBezTo>
                  <a:pt x="16765" y="21600"/>
                  <a:pt x="21600" y="16765"/>
                  <a:pt x="21600" y="10800"/>
                </a:cubicBezTo>
                <a:cubicBezTo>
                  <a:pt x="21600" y="4835"/>
                  <a:pt x="16765" y="0"/>
                  <a:pt x="10800" y="0"/>
                </a:cubicBezTo>
              </a:path>
            </a:pathLst>
          </a:custGeom>
          <a:solidFill>
            <a:schemeClr val="bg1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endParaRPr>
              <a:solidFill>
                <a:prstClr val="black"/>
              </a:solidFill>
              <a:latin typeface="Arial" panose="020B0604020202020204" pitchFamily="34" charset="0"/>
              <a:ea typeface="微软雅黑" panose="020B0503020204020204" pitchFamily="34" charset="-122"/>
              <a:cs typeface="思源黑体 CN Regular" panose="020B0500000000000000" charset="-122"/>
              <a:sym typeface="Arial" panose="020B0604020202020204" pitchFamily="34" charset="0"/>
            </a:endParaRPr>
          </a:p>
        </p:txBody>
      </p:sp>
      <p:sp>
        <p:nvSpPr>
          <p:cNvPr id="11" name="文本框 10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SpPr txBox="1"/>
          <p:nvPr/>
        </p:nvSpPr>
        <p:spPr>
          <a:xfrm>
            <a:off x="10100734" y="448734"/>
            <a:ext cx="572593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1050">
                <a:solidFill>
                  <a:schemeClr val="bg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rPr>
              <a:t>LOGO</a:t>
            </a:r>
            <a:endParaRPr lang="zh-CN" altLang="en-US" sz="1050">
              <a:solidFill>
                <a:schemeClr val="bg1"/>
              </a:solidFill>
              <a:latin typeface="Arial" panose="020B0604020202020204" pitchFamily="34" charset="0"/>
              <a:ea typeface="微软雅黑" panose="020B0503020204020204" pitchFamily="34" charset="-122"/>
              <a:cs typeface="思源黑体 CN Regular" panose="020B0500000000000000" charset="-122"/>
              <a:sym typeface="Arial" panose="020B0604020202020204" pitchFamily="34" charset="0"/>
            </a:endParaRPr>
          </a:p>
        </p:txBody>
      </p:sp>
      <p:sp>
        <p:nvSpPr>
          <p:cNvPr id="12" name="矩形 11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SpPr/>
          <p:nvPr/>
        </p:nvSpPr>
        <p:spPr>
          <a:xfrm>
            <a:off x="5940184" y="3557016"/>
            <a:ext cx="954392" cy="265176"/>
          </a:xfrm>
          <a:prstGeom prst="rect">
            <a:avLst/>
          </a:prstGeom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600">
              <a:latin typeface="Arial" panose="020B0604020202020204" pitchFamily="34" charset="0"/>
              <a:ea typeface="微软雅黑" panose="020B0503020204020204" pitchFamily="34" charset="-122"/>
              <a:cs typeface="思源黑体 CN Regular" panose="020B0500000000000000" charset="-122"/>
              <a:sym typeface="Arial" panose="020B0604020202020204" pitchFamily="34" charset="0"/>
            </a:endParaRPr>
          </a:p>
        </p:txBody>
      </p:sp>
      <p:sp>
        <p:nvSpPr>
          <p:cNvPr id="13" name="文本框 12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SpPr txBox="1"/>
          <p:nvPr/>
        </p:nvSpPr>
        <p:spPr>
          <a:xfrm>
            <a:off x="6077712" y="3561488"/>
            <a:ext cx="87172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200">
                <a:solidFill>
                  <a:schemeClr val="bg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rPr>
              <a:t>START</a:t>
            </a:r>
            <a:r>
              <a:rPr lang="zh-CN" altLang="en-US" sz="1200">
                <a:solidFill>
                  <a:schemeClr val="bg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rPr>
              <a:t>→</a:t>
            </a:r>
          </a:p>
        </p:txBody>
      </p:sp>
      <p:sp>
        <p:nvSpPr>
          <p:cNvPr id="14" name="e7d195523061f1c0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 hidden="1"/>
          <p:cNvSpPr txBox="1"/>
          <p:nvPr/>
        </p:nvSpPr>
        <p:spPr>
          <a:xfrm>
            <a:off x="-355600" y="1803400"/>
            <a:ext cx="284693" cy="1016000"/>
          </a:xfrm>
          <a:prstGeom prst="rect">
            <a:avLst/>
          </a:prstGeom>
          <a:noFill/>
        </p:spPr>
        <p:txBody>
          <a:bodyPr vert="wordArtVert" rtlCol="0">
            <a:spAutoFit/>
          </a:bodyPr>
          <a:lstStyle/>
          <a:p>
            <a:r>
              <a:rPr lang="en-US" altLang="zh-CN" sz="100"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rPr>
              <a:t>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</a:t>
            </a:r>
            <a:endParaRPr lang="zh-CN" altLang="en-US" sz="100">
              <a:latin typeface="Arial" panose="020B0604020202020204" pitchFamily="34" charset="0"/>
              <a:ea typeface="微软雅黑" panose="020B0503020204020204" pitchFamily="34" charset="-122"/>
              <a:cs typeface="思源黑体 CN Regular" panose="020B0500000000000000" charset="-122"/>
              <a:sym typeface="Arial" panose="020B0604020202020204" pitchFamily="34" charset="0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random/>
      </p:transition>
    </mc:Choice>
    <mc:Fallback xmlns:p159="http://schemas.microsoft.com/office/powerpoint/2015/09/main" xmlns:p15="http://schemas.microsoft.com/office/powerpoint/2012/main" xmlns:a14="http://schemas.microsoft.com/office/drawing/2010/main" xmlns:wp="http://schemas.openxmlformats.org/drawingml/2006/wordprocessingDrawing" xmlns:w="http://schemas.openxmlformats.org/wordprocessingml/2006/main" xmlns:m="http://schemas.openxmlformats.org/officeDocument/2006/math" xmlns="">
      <p:transition spd="slow">
        <p:random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6" presetClass="emph" presetSubtype="0" dur="5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0" tmFilter="0, 0; .2, .5; .8, .5; 1, 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7" dur="250" autoRev="1" fill="hold"/>
                                        <p:tgtEl>
                                          <p:spTgt spid="2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 nodeType="clickPar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6" presetClass="entr" presetSubtype="26" dur="50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Horizontal)">
                                      <p:cBhvr>
                                        <p:cTn id="12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6" presetClass="entr" presetSubtype="26" dur="5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Horizontal)">
                                      <p:cBhvr>
                                        <p:cTn id="15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6" presetClass="entr" presetSubtype="26" dur="5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Horizontal)">
                                      <p:cBhvr>
                                        <p:cTn id="18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6" presetClass="entr" presetSubtype="26" dur="5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Horizontal)">
                                      <p:cBhvr>
                                        <p:cTn id="21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6" presetClass="entr" presetSubtype="26" dur="5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Horizontal)">
                                      <p:cBhvr>
                                        <p:cTn id="24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  <p:bldP spid="7" grpId="0"/>
      <p:bldP spid="8" grpId="0"/>
      <p:bldP spid="12" grpId="0" animBg="1"/>
      <p:bldP spid="13" grpId="0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riangle 7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SpPr/>
          <p:nvPr/>
        </p:nvSpPr>
        <p:spPr>
          <a:xfrm>
            <a:off x="5030317" y="1187598"/>
            <a:ext cx="4807512" cy="4144406"/>
          </a:xfrm>
          <a:prstGeom prst="triangle">
            <a:avLst/>
          </a:prstGeom>
          <a:noFill/>
          <a:ln w="38100">
            <a:solidFill>
              <a:schemeClr val="tx1">
                <a:alpha val="20000"/>
              </a:schemeClr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rial" panose="020B0604020202020204" pitchFamily="34" charset="0"/>
              <a:ea typeface="微软雅黑" panose="020B0503020204020204" pitchFamily="34" charset="-122"/>
              <a:cs typeface="思源黑体 CN Regular" panose="020B0500000000000000" charset="-122"/>
              <a:sym typeface="Arial" panose="020B0604020202020204" pitchFamily="34" charset="0"/>
            </a:endParaRPr>
          </a:p>
        </p:txBody>
      </p:sp>
      <p:sp>
        <p:nvSpPr>
          <p:cNvPr id="2" name="Title 1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SpPr>
            <a:spLocks noGrp="1"/>
          </p:cNvSpPr>
          <p:nvPr>
            <p:ph type="title" idx="4294967295"/>
          </p:nvPr>
        </p:nvSpPr>
        <p:spPr>
          <a:xfrm>
            <a:off x="685800" y="1262315"/>
            <a:ext cx="8610600" cy="495486"/>
          </a:xfrm>
        </p:spPr>
        <p:txBody>
          <a:bodyPr>
            <a:noAutofit/>
          </a:bodyPr>
          <a:lstStyle/>
          <a:p>
            <a:r>
              <a:rPr lang="en-US">
                <a:latin typeface="Arial" panose="020B0604020202020204" pitchFamily="34" charset="0"/>
                <a:ea typeface="微软雅黑" panose="020B0503020204020204" pitchFamily="34" charset="-122"/>
                <a:cs typeface="Gill Sans MT" panose="020B0502020104020203" charset="0"/>
                <a:sym typeface="Arial" panose="020B0604020202020204" pitchFamily="34" charset="0"/>
              </a:rPr>
              <a:t>PYRAMID</a:t>
            </a:r>
            <a:br>
              <a:rPr lang="en-US">
                <a:latin typeface="Arial" panose="020B0604020202020204" pitchFamily="34" charset="0"/>
                <a:ea typeface="微软雅黑" panose="020B0503020204020204" pitchFamily="34" charset="-122"/>
                <a:cs typeface="Gill Sans MT" panose="020B0502020104020203" charset="0"/>
                <a:sym typeface="Arial" panose="020B0604020202020204" pitchFamily="34" charset="0"/>
              </a:rPr>
            </a:br>
            <a:r>
              <a:rPr lang="en-US">
                <a:latin typeface="Arial" panose="020B0604020202020204" pitchFamily="34" charset="0"/>
                <a:ea typeface="微软雅黑" panose="020B0503020204020204" pitchFamily="34" charset="-122"/>
                <a:cs typeface="Gill Sans MT" panose="020B0502020104020203" charset="0"/>
                <a:sym typeface="Arial" panose="020B0604020202020204" pitchFamily="34" charset="0"/>
              </a:rPr>
              <a:t>PROCESS</a:t>
            </a:r>
            <a:br>
              <a:rPr lang="en-US">
                <a:latin typeface="Arial" panose="020B0604020202020204" pitchFamily="34" charset="0"/>
                <a:ea typeface="微软雅黑" panose="020B0503020204020204" pitchFamily="34" charset="-122"/>
                <a:cs typeface="Gill Sans MT" panose="020B0502020104020203" charset="0"/>
                <a:sym typeface="Arial" panose="020B0604020202020204" pitchFamily="34" charset="0"/>
              </a:rPr>
            </a:br>
            <a:r>
              <a:rPr lang="en-US">
                <a:latin typeface="Arial" panose="020B0604020202020204" pitchFamily="34" charset="0"/>
                <a:ea typeface="微软雅黑" panose="020B0503020204020204" pitchFamily="34" charset="-122"/>
                <a:cs typeface="Gill Sans MT" panose="020B0502020104020203" charset="0"/>
                <a:sym typeface="Arial" panose="020B0604020202020204" pitchFamily="34" charset="0"/>
              </a:rPr>
              <a:t>INFOGRAPHIC</a:t>
            </a:r>
          </a:p>
        </p:txBody>
      </p:sp>
      <p:grpSp>
        <p:nvGrpSpPr>
          <p:cNvPr id="7" name="Group 6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GrpSpPr/>
          <p:nvPr/>
        </p:nvGrpSpPr>
        <p:grpSpPr>
          <a:xfrm>
            <a:off x="6651482" y="765027"/>
            <a:ext cx="1598639" cy="1382751"/>
            <a:chOff x="7906214" y="1644805"/>
            <a:chExt cx="1598639" cy="1382751"/>
          </a:xfrm>
        </p:grpSpPr>
        <p:sp>
          <p:nvSpPr>
            <p:cNvPr id="5" name="Triangle 4"/>
            <p:cNvSpPr/>
            <p:nvPr/>
          </p:nvSpPr>
          <p:spPr>
            <a:xfrm>
              <a:off x="7939667" y="1678258"/>
              <a:ext cx="1565186" cy="1349298"/>
            </a:xfrm>
            <a:prstGeom prst="triangle">
              <a:avLst/>
            </a:prstGeom>
            <a:pattFill prst="wdUpDiag">
              <a:fgClr>
                <a:schemeClr val="bg1">
                  <a:lumMod val="65000"/>
                </a:schemeClr>
              </a:fgClr>
              <a:bgClr>
                <a:schemeClr val="bg1"/>
              </a:bgClr>
            </a:pattFill>
            <a:ln w="254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0" bIns="180000" rtlCol="0" anchor="b"/>
            <a:lstStyle/>
            <a:p>
              <a:pPr algn="ctr"/>
              <a:endParaRPr lang="en-US" sz="140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endParaRPr>
            </a:p>
          </p:txBody>
        </p:sp>
        <p:sp>
          <p:nvSpPr>
            <p:cNvPr id="4" name="Triangle 3"/>
            <p:cNvSpPr/>
            <p:nvPr/>
          </p:nvSpPr>
          <p:spPr>
            <a:xfrm>
              <a:off x="7906214" y="1644805"/>
              <a:ext cx="1565186" cy="1349298"/>
            </a:xfrm>
            <a:prstGeom prst="triangle">
              <a:avLst/>
            </a:prstGeom>
            <a:solidFill>
              <a:schemeClr val="bg1"/>
            </a:solidFill>
            <a:ln w="2540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0" bIns="180000" rtlCol="0" anchor="b"/>
            <a:lstStyle/>
            <a:p>
              <a:pPr algn="ctr"/>
              <a:r>
                <a:rPr lang="en-US" sz="1400">
                  <a:solidFill>
                    <a:schemeClr val="tx1"/>
                  </a:solidFill>
                  <a:latin typeface="Arial" panose="020B0604020202020204" pitchFamily="34" charset="0"/>
                  <a:ea typeface="微软雅黑" panose="020B0503020204020204" pitchFamily="34" charset="-122"/>
                  <a:cs typeface="思源黑体 CN Regular" panose="020B0500000000000000" charset="-122"/>
                  <a:sym typeface="Arial" panose="020B0604020202020204" pitchFamily="34" charset="0"/>
                </a:rPr>
                <a:t>Step -3</a:t>
              </a:r>
            </a:p>
          </p:txBody>
        </p:sp>
        <p:sp>
          <p:nvSpPr>
            <p:cNvPr id="6" name="Triangle 5"/>
            <p:cNvSpPr/>
            <p:nvPr/>
          </p:nvSpPr>
          <p:spPr>
            <a:xfrm flipH="1">
              <a:off x="7906214" y="1644805"/>
              <a:ext cx="1565185" cy="1349298"/>
            </a:xfrm>
            <a:prstGeom prst="triangle">
              <a:avLst/>
            </a:prstGeom>
            <a:gradFill>
              <a:gsLst>
                <a:gs pos="0">
                  <a:schemeClr val="accent4">
                    <a:alpha val="20000"/>
                  </a:schemeClr>
                </a:gs>
                <a:gs pos="99000">
                  <a:schemeClr val="bg1">
                    <a:alpha val="0"/>
                  </a:schemeClr>
                </a:gs>
              </a:gsLst>
              <a:lin ang="5400000" scaled="0"/>
            </a:gradFill>
            <a:ln w="254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endParaRPr>
            </a:p>
          </p:txBody>
        </p:sp>
      </p:grpSp>
      <p:grpSp>
        <p:nvGrpSpPr>
          <p:cNvPr id="9" name="Group 8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GrpSpPr/>
          <p:nvPr/>
        </p:nvGrpSpPr>
        <p:grpSpPr>
          <a:xfrm>
            <a:off x="4230997" y="4479694"/>
            <a:ext cx="1598639" cy="1382751"/>
            <a:chOff x="7906214" y="1644805"/>
            <a:chExt cx="1598639" cy="1382751"/>
          </a:xfrm>
        </p:grpSpPr>
        <p:sp>
          <p:nvSpPr>
            <p:cNvPr id="10" name="Triangle 9"/>
            <p:cNvSpPr/>
            <p:nvPr/>
          </p:nvSpPr>
          <p:spPr>
            <a:xfrm>
              <a:off x="7939667" y="1678258"/>
              <a:ext cx="1565186" cy="1349298"/>
            </a:xfrm>
            <a:prstGeom prst="triangle">
              <a:avLst/>
            </a:prstGeom>
            <a:pattFill prst="wdUpDiag">
              <a:fgClr>
                <a:schemeClr val="bg1">
                  <a:lumMod val="65000"/>
                </a:schemeClr>
              </a:fgClr>
              <a:bgClr>
                <a:schemeClr val="bg1"/>
              </a:bgClr>
            </a:pattFill>
            <a:ln w="254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0" bIns="180000" rtlCol="0" anchor="b"/>
            <a:lstStyle/>
            <a:p>
              <a:pPr algn="ctr"/>
              <a:endParaRPr lang="en-US" sz="140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endParaRPr>
            </a:p>
          </p:txBody>
        </p:sp>
        <p:sp>
          <p:nvSpPr>
            <p:cNvPr id="11" name="Triangle 10"/>
            <p:cNvSpPr/>
            <p:nvPr/>
          </p:nvSpPr>
          <p:spPr>
            <a:xfrm>
              <a:off x="7906214" y="1644805"/>
              <a:ext cx="1565186" cy="1349298"/>
            </a:xfrm>
            <a:prstGeom prst="triangle">
              <a:avLst/>
            </a:prstGeom>
            <a:solidFill>
              <a:schemeClr val="bg1"/>
            </a:solidFill>
            <a:ln w="2540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0" bIns="180000" rtlCol="0" anchor="b"/>
            <a:lstStyle/>
            <a:p>
              <a:pPr algn="ctr"/>
              <a:r>
                <a:rPr lang="en-US" sz="1400">
                  <a:solidFill>
                    <a:schemeClr val="tx1"/>
                  </a:solidFill>
                  <a:latin typeface="Arial" panose="020B0604020202020204" pitchFamily="34" charset="0"/>
                  <a:ea typeface="微软雅黑" panose="020B0503020204020204" pitchFamily="34" charset="-122"/>
                  <a:cs typeface="思源黑体 CN Regular" panose="020B0500000000000000" charset="-122"/>
                  <a:sym typeface="Arial" panose="020B0604020202020204" pitchFamily="34" charset="0"/>
                </a:rPr>
                <a:t>Step -1</a:t>
              </a:r>
            </a:p>
          </p:txBody>
        </p:sp>
      </p:grpSp>
      <p:grpSp>
        <p:nvGrpSpPr>
          <p:cNvPr id="13" name="Group 12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GrpSpPr/>
          <p:nvPr/>
        </p:nvGrpSpPr>
        <p:grpSpPr>
          <a:xfrm>
            <a:off x="9038509" y="4513147"/>
            <a:ext cx="1598639" cy="1382751"/>
            <a:chOff x="7906214" y="1644805"/>
            <a:chExt cx="1598639" cy="1382751"/>
          </a:xfrm>
        </p:grpSpPr>
        <p:sp>
          <p:nvSpPr>
            <p:cNvPr id="14" name="Triangle 13"/>
            <p:cNvSpPr/>
            <p:nvPr/>
          </p:nvSpPr>
          <p:spPr>
            <a:xfrm>
              <a:off x="7939667" y="1678258"/>
              <a:ext cx="1565186" cy="1349298"/>
            </a:xfrm>
            <a:prstGeom prst="triangle">
              <a:avLst/>
            </a:prstGeom>
            <a:pattFill prst="wdUpDiag">
              <a:fgClr>
                <a:schemeClr val="bg1">
                  <a:lumMod val="65000"/>
                </a:schemeClr>
              </a:fgClr>
              <a:bgClr>
                <a:schemeClr val="bg1"/>
              </a:bgClr>
            </a:pattFill>
            <a:ln w="254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0" bIns="180000" rtlCol="0" anchor="b"/>
            <a:lstStyle/>
            <a:p>
              <a:pPr algn="ctr"/>
              <a:endParaRPr lang="en-US" sz="140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endParaRPr>
            </a:p>
          </p:txBody>
        </p:sp>
        <p:sp>
          <p:nvSpPr>
            <p:cNvPr id="15" name="Triangle 14"/>
            <p:cNvSpPr/>
            <p:nvPr/>
          </p:nvSpPr>
          <p:spPr>
            <a:xfrm>
              <a:off x="7906214" y="1644805"/>
              <a:ext cx="1565186" cy="1349298"/>
            </a:xfrm>
            <a:prstGeom prst="triangle">
              <a:avLst/>
            </a:prstGeom>
            <a:solidFill>
              <a:schemeClr val="bg1"/>
            </a:solidFill>
            <a:ln w="25400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0" bIns="180000" rtlCol="0" anchor="b"/>
            <a:lstStyle/>
            <a:p>
              <a:pPr algn="ctr"/>
              <a:r>
                <a:rPr lang="en-US" sz="1400">
                  <a:solidFill>
                    <a:schemeClr val="tx1"/>
                  </a:solidFill>
                  <a:latin typeface="Arial" panose="020B0604020202020204" pitchFamily="34" charset="0"/>
                  <a:ea typeface="微软雅黑" panose="020B0503020204020204" pitchFamily="34" charset="-122"/>
                  <a:cs typeface="思源黑体 CN Regular" panose="020B0500000000000000" charset="-122"/>
                  <a:sym typeface="Arial" panose="020B0604020202020204" pitchFamily="34" charset="0"/>
                </a:rPr>
                <a:t>Step -5</a:t>
              </a:r>
            </a:p>
          </p:txBody>
        </p:sp>
      </p:grpSp>
      <p:grpSp>
        <p:nvGrpSpPr>
          <p:cNvPr id="17" name="Group 16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GrpSpPr/>
          <p:nvPr/>
        </p:nvGrpSpPr>
        <p:grpSpPr>
          <a:xfrm>
            <a:off x="7823467" y="2605464"/>
            <a:ext cx="1598639" cy="1382751"/>
            <a:chOff x="7906214" y="1644805"/>
            <a:chExt cx="1598639" cy="1382751"/>
          </a:xfrm>
        </p:grpSpPr>
        <p:sp>
          <p:nvSpPr>
            <p:cNvPr id="18" name="Triangle 17"/>
            <p:cNvSpPr/>
            <p:nvPr/>
          </p:nvSpPr>
          <p:spPr>
            <a:xfrm>
              <a:off x="7939667" y="1678258"/>
              <a:ext cx="1565186" cy="1349298"/>
            </a:xfrm>
            <a:prstGeom prst="triangle">
              <a:avLst/>
            </a:prstGeom>
            <a:pattFill prst="wdUpDiag">
              <a:fgClr>
                <a:schemeClr val="bg1">
                  <a:lumMod val="65000"/>
                </a:schemeClr>
              </a:fgClr>
              <a:bgClr>
                <a:schemeClr val="bg1"/>
              </a:bgClr>
            </a:pattFill>
            <a:ln w="254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0" bIns="180000" rtlCol="0" anchor="b"/>
            <a:lstStyle/>
            <a:p>
              <a:pPr algn="ctr"/>
              <a:endParaRPr lang="en-US" sz="140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endParaRPr>
            </a:p>
          </p:txBody>
        </p:sp>
        <p:sp>
          <p:nvSpPr>
            <p:cNvPr id="19" name="Triangle 18"/>
            <p:cNvSpPr/>
            <p:nvPr/>
          </p:nvSpPr>
          <p:spPr>
            <a:xfrm>
              <a:off x="7906214" y="1644805"/>
              <a:ext cx="1565186" cy="1349298"/>
            </a:xfrm>
            <a:prstGeom prst="triangle">
              <a:avLst/>
            </a:prstGeom>
            <a:solidFill>
              <a:schemeClr val="bg1"/>
            </a:solidFill>
            <a:ln w="254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0" bIns="180000" rtlCol="0" anchor="b"/>
            <a:lstStyle/>
            <a:p>
              <a:pPr algn="ctr"/>
              <a:r>
                <a:rPr lang="en-US" sz="1400">
                  <a:solidFill>
                    <a:schemeClr val="tx1"/>
                  </a:solidFill>
                  <a:latin typeface="Arial" panose="020B0604020202020204" pitchFamily="34" charset="0"/>
                  <a:ea typeface="微软雅黑" panose="020B0503020204020204" pitchFamily="34" charset="-122"/>
                  <a:cs typeface="思源黑体 CN Regular" panose="020B0500000000000000" charset="-122"/>
                  <a:sym typeface="Arial" panose="020B0604020202020204" pitchFamily="34" charset="0"/>
                </a:rPr>
                <a:t>Step -4</a:t>
              </a:r>
            </a:p>
          </p:txBody>
        </p:sp>
      </p:grpSp>
      <p:grpSp>
        <p:nvGrpSpPr>
          <p:cNvPr id="21" name="Group 20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GrpSpPr/>
          <p:nvPr/>
        </p:nvGrpSpPr>
        <p:grpSpPr>
          <a:xfrm>
            <a:off x="5448258" y="2605464"/>
            <a:ext cx="1598639" cy="1382751"/>
            <a:chOff x="7906214" y="1644805"/>
            <a:chExt cx="1598639" cy="1382751"/>
          </a:xfrm>
        </p:grpSpPr>
        <p:sp>
          <p:nvSpPr>
            <p:cNvPr id="22" name="Triangle 21"/>
            <p:cNvSpPr/>
            <p:nvPr/>
          </p:nvSpPr>
          <p:spPr>
            <a:xfrm>
              <a:off x="7939667" y="1678258"/>
              <a:ext cx="1565186" cy="1349298"/>
            </a:xfrm>
            <a:prstGeom prst="triangle">
              <a:avLst/>
            </a:prstGeom>
            <a:pattFill prst="wdUpDiag">
              <a:fgClr>
                <a:schemeClr val="bg1">
                  <a:lumMod val="65000"/>
                </a:schemeClr>
              </a:fgClr>
              <a:bgClr>
                <a:schemeClr val="bg1"/>
              </a:bgClr>
            </a:pattFill>
            <a:ln w="254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0" bIns="180000" rtlCol="0" anchor="b"/>
            <a:lstStyle/>
            <a:p>
              <a:pPr algn="ctr"/>
              <a:endParaRPr lang="en-US" sz="140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endParaRPr>
            </a:p>
          </p:txBody>
        </p:sp>
        <p:sp>
          <p:nvSpPr>
            <p:cNvPr id="23" name="Triangle 22"/>
            <p:cNvSpPr/>
            <p:nvPr/>
          </p:nvSpPr>
          <p:spPr>
            <a:xfrm>
              <a:off x="7906214" y="1644805"/>
              <a:ext cx="1565186" cy="1349298"/>
            </a:xfrm>
            <a:prstGeom prst="triangle">
              <a:avLst/>
            </a:prstGeom>
            <a:solidFill>
              <a:schemeClr val="bg1"/>
            </a:solidFill>
            <a:ln w="25400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0" bIns="180000" rtlCol="0" anchor="b"/>
            <a:lstStyle/>
            <a:p>
              <a:pPr algn="ctr"/>
              <a:r>
                <a:rPr lang="en-US" sz="1400">
                  <a:solidFill>
                    <a:schemeClr val="tx1"/>
                  </a:solidFill>
                  <a:latin typeface="Arial" panose="020B0604020202020204" pitchFamily="34" charset="0"/>
                  <a:ea typeface="微软雅黑" panose="020B0503020204020204" pitchFamily="34" charset="-122"/>
                  <a:cs typeface="思源黑体 CN Regular" panose="020B0500000000000000" charset="-122"/>
                  <a:sym typeface="Arial" panose="020B0604020202020204" pitchFamily="34" charset="0"/>
                </a:rPr>
                <a:t>Step -2</a:t>
              </a:r>
            </a:p>
          </p:txBody>
        </p:sp>
      </p:grpSp>
      <p:grpSp>
        <p:nvGrpSpPr>
          <p:cNvPr id="25" name="Group 24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GrpSpPr/>
          <p:nvPr/>
        </p:nvGrpSpPr>
        <p:grpSpPr>
          <a:xfrm>
            <a:off x="6628956" y="4513147"/>
            <a:ext cx="1598639" cy="1382751"/>
            <a:chOff x="7906214" y="1644805"/>
            <a:chExt cx="1598639" cy="1382751"/>
          </a:xfrm>
        </p:grpSpPr>
        <p:sp>
          <p:nvSpPr>
            <p:cNvPr id="26" name="Triangle 25"/>
            <p:cNvSpPr/>
            <p:nvPr/>
          </p:nvSpPr>
          <p:spPr>
            <a:xfrm>
              <a:off x="7939667" y="1678258"/>
              <a:ext cx="1565186" cy="1349298"/>
            </a:xfrm>
            <a:prstGeom prst="triangle">
              <a:avLst/>
            </a:prstGeom>
            <a:pattFill prst="wdUpDiag">
              <a:fgClr>
                <a:schemeClr val="bg1">
                  <a:lumMod val="65000"/>
                </a:schemeClr>
              </a:fgClr>
              <a:bgClr>
                <a:schemeClr val="bg1"/>
              </a:bgClr>
            </a:pattFill>
            <a:ln w="254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0" bIns="180000" rtlCol="0" anchor="b"/>
            <a:lstStyle/>
            <a:p>
              <a:pPr algn="ctr"/>
              <a:endParaRPr lang="en-US" sz="140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endParaRPr>
            </a:p>
          </p:txBody>
        </p:sp>
        <p:sp>
          <p:nvSpPr>
            <p:cNvPr id="27" name="Triangle 26"/>
            <p:cNvSpPr/>
            <p:nvPr/>
          </p:nvSpPr>
          <p:spPr>
            <a:xfrm>
              <a:off x="7906214" y="1644805"/>
              <a:ext cx="1565186" cy="1349298"/>
            </a:xfrm>
            <a:prstGeom prst="triangle">
              <a:avLst/>
            </a:prstGeom>
            <a:solidFill>
              <a:schemeClr val="bg1"/>
            </a:solidFill>
            <a:ln w="25400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0" bIns="180000" rtlCol="0" anchor="b"/>
            <a:lstStyle/>
            <a:p>
              <a:pPr algn="ctr"/>
              <a:r>
                <a:rPr lang="en-US" sz="1400">
                  <a:solidFill>
                    <a:schemeClr val="tx1"/>
                  </a:solidFill>
                  <a:latin typeface="Arial" panose="020B0604020202020204" pitchFamily="34" charset="0"/>
                  <a:ea typeface="微软雅黑" panose="020B0503020204020204" pitchFamily="34" charset="-122"/>
                  <a:cs typeface="思源黑体 CN Regular" panose="020B0500000000000000" charset="-122"/>
                  <a:sym typeface="Arial" panose="020B0604020202020204" pitchFamily="34" charset="0"/>
                </a:rPr>
                <a:t>Step -6</a:t>
              </a:r>
            </a:p>
          </p:txBody>
        </p:sp>
      </p:grpSp>
      <p:sp>
        <p:nvSpPr>
          <p:cNvPr id="32" name="Freeform 851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SpPr>
            <a:spLocks noEditPoints="1"/>
          </p:cNvSpPr>
          <p:nvPr/>
        </p:nvSpPr>
        <p:spPr bwMode="auto">
          <a:xfrm>
            <a:off x="4851409" y="4966219"/>
            <a:ext cx="328539" cy="376247"/>
          </a:xfrm>
          <a:custGeom>
            <a:avLst/>
            <a:gdLst>
              <a:gd name="T0" fmla="*/ 119 w 141"/>
              <a:gd name="T1" fmla="*/ 84 h 160"/>
              <a:gd name="T2" fmla="*/ 95 w 141"/>
              <a:gd name="T3" fmla="*/ 20 h 160"/>
              <a:gd name="T4" fmla="*/ 84 w 141"/>
              <a:gd name="T5" fmla="*/ 15 h 160"/>
              <a:gd name="T6" fmla="*/ 55 w 141"/>
              <a:gd name="T7" fmla="*/ 15 h 160"/>
              <a:gd name="T8" fmla="*/ 46 w 141"/>
              <a:gd name="T9" fmla="*/ 20 h 160"/>
              <a:gd name="T10" fmla="*/ 20 w 141"/>
              <a:gd name="T11" fmla="*/ 84 h 160"/>
              <a:gd name="T12" fmla="*/ 0 w 141"/>
              <a:gd name="T13" fmla="*/ 135 h 160"/>
              <a:gd name="T14" fmla="*/ 30 w 141"/>
              <a:gd name="T15" fmla="*/ 141 h 160"/>
              <a:gd name="T16" fmla="*/ 70 w 141"/>
              <a:gd name="T17" fmla="*/ 160 h 160"/>
              <a:gd name="T18" fmla="*/ 111 w 141"/>
              <a:gd name="T19" fmla="*/ 141 h 160"/>
              <a:gd name="T20" fmla="*/ 140 w 141"/>
              <a:gd name="T21" fmla="*/ 135 h 160"/>
              <a:gd name="T22" fmla="*/ 61 w 141"/>
              <a:gd name="T23" fmla="*/ 15 h 160"/>
              <a:gd name="T24" fmla="*/ 79 w 141"/>
              <a:gd name="T25" fmla="*/ 15 h 160"/>
              <a:gd name="T26" fmla="*/ 61 w 141"/>
              <a:gd name="T27" fmla="*/ 15 h 160"/>
              <a:gd name="T28" fmla="*/ 52 w 141"/>
              <a:gd name="T29" fmla="*/ 145 h 160"/>
              <a:gd name="T30" fmla="*/ 89 w 141"/>
              <a:gd name="T31" fmla="*/ 145 h 160"/>
              <a:gd name="T32" fmla="*/ 110 w 141"/>
              <a:gd name="T33" fmla="*/ 136 h 160"/>
              <a:gd name="T34" fmla="*/ 94 w 141"/>
              <a:gd name="T35" fmla="*/ 138 h 160"/>
              <a:gd name="T36" fmla="*/ 88 w 141"/>
              <a:gd name="T37" fmla="*/ 139 h 160"/>
              <a:gd name="T38" fmla="*/ 81 w 141"/>
              <a:gd name="T39" fmla="*/ 139 h 160"/>
              <a:gd name="T40" fmla="*/ 76 w 141"/>
              <a:gd name="T41" fmla="*/ 140 h 160"/>
              <a:gd name="T42" fmla="*/ 64 w 141"/>
              <a:gd name="T43" fmla="*/ 140 h 160"/>
              <a:gd name="T44" fmla="*/ 58 w 141"/>
              <a:gd name="T45" fmla="*/ 139 h 160"/>
              <a:gd name="T46" fmla="*/ 53 w 141"/>
              <a:gd name="T47" fmla="*/ 139 h 160"/>
              <a:gd name="T48" fmla="*/ 47 w 141"/>
              <a:gd name="T49" fmla="*/ 138 h 160"/>
              <a:gd name="T50" fmla="*/ 9 w 141"/>
              <a:gd name="T51" fmla="*/ 132 h 160"/>
              <a:gd name="T52" fmla="*/ 26 w 141"/>
              <a:gd name="T53" fmla="*/ 58 h 160"/>
              <a:gd name="T54" fmla="*/ 59 w 141"/>
              <a:gd name="T55" fmla="*/ 22 h 160"/>
              <a:gd name="T56" fmla="*/ 81 w 141"/>
              <a:gd name="T57" fmla="*/ 21 h 160"/>
              <a:gd name="T58" fmla="*/ 92 w 141"/>
              <a:gd name="T59" fmla="*/ 25 h 160"/>
              <a:gd name="T60" fmla="*/ 114 w 141"/>
              <a:gd name="T61" fmla="*/ 84 h 160"/>
              <a:gd name="T62" fmla="*/ 110 w 141"/>
              <a:gd name="T63" fmla="*/ 136 h 160"/>
              <a:gd name="T64" fmla="*/ 86 w 141"/>
              <a:gd name="T65" fmla="*/ 38 h 160"/>
              <a:gd name="T66" fmla="*/ 41 w 141"/>
              <a:gd name="T67" fmla="*/ 58 h 160"/>
              <a:gd name="T68" fmla="*/ 38 w 141"/>
              <a:gd name="T69" fmla="*/ 61 h 160"/>
              <a:gd name="T70" fmla="*/ 52 w 141"/>
              <a:gd name="T71" fmla="*/ 33 h 160"/>
              <a:gd name="T72" fmla="*/ 90 w 141"/>
              <a:gd name="T73" fmla="*/ 37 h 1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141" h="160">
                <a:moveTo>
                  <a:pt x="140" y="132"/>
                </a:moveTo>
                <a:cubicBezTo>
                  <a:pt x="126" y="118"/>
                  <a:pt x="119" y="102"/>
                  <a:pt x="119" y="84"/>
                </a:cubicBezTo>
                <a:cubicBezTo>
                  <a:pt x="119" y="58"/>
                  <a:pt x="119" y="58"/>
                  <a:pt x="119" y="58"/>
                </a:cubicBezTo>
                <a:cubicBezTo>
                  <a:pt x="119" y="38"/>
                  <a:pt x="106" y="25"/>
                  <a:pt x="95" y="20"/>
                </a:cubicBezTo>
                <a:cubicBezTo>
                  <a:pt x="91" y="18"/>
                  <a:pt x="88" y="17"/>
                  <a:pt x="84" y="16"/>
                </a:cubicBezTo>
                <a:cubicBezTo>
                  <a:pt x="84" y="15"/>
                  <a:pt x="84" y="15"/>
                  <a:pt x="84" y="15"/>
                </a:cubicBezTo>
                <a:cubicBezTo>
                  <a:pt x="84" y="7"/>
                  <a:pt x="78" y="0"/>
                  <a:pt x="70" y="0"/>
                </a:cubicBezTo>
                <a:cubicBezTo>
                  <a:pt x="62" y="0"/>
                  <a:pt x="55" y="7"/>
                  <a:pt x="55" y="15"/>
                </a:cubicBezTo>
                <a:cubicBezTo>
                  <a:pt x="55" y="16"/>
                  <a:pt x="55" y="16"/>
                  <a:pt x="55" y="16"/>
                </a:cubicBezTo>
                <a:cubicBezTo>
                  <a:pt x="52" y="17"/>
                  <a:pt x="49" y="18"/>
                  <a:pt x="46" y="20"/>
                </a:cubicBezTo>
                <a:cubicBezTo>
                  <a:pt x="33" y="26"/>
                  <a:pt x="20" y="40"/>
                  <a:pt x="20" y="58"/>
                </a:cubicBezTo>
                <a:cubicBezTo>
                  <a:pt x="20" y="84"/>
                  <a:pt x="20" y="84"/>
                  <a:pt x="20" y="84"/>
                </a:cubicBezTo>
                <a:cubicBezTo>
                  <a:pt x="20" y="103"/>
                  <a:pt x="14" y="119"/>
                  <a:pt x="1" y="132"/>
                </a:cubicBezTo>
                <a:cubicBezTo>
                  <a:pt x="0" y="133"/>
                  <a:pt x="0" y="134"/>
                  <a:pt x="0" y="135"/>
                </a:cubicBezTo>
                <a:cubicBezTo>
                  <a:pt x="0" y="136"/>
                  <a:pt x="1" y="137"/>
                  <a:pt x="2" y="137"/>
                </a:cubicBezTo>
                <a:cubicBezTo>
                  <a:pt x="30" y="141"/>
                  <a:pt x="30" y="141"/>
                  <a:pt x="30" y="141"/>
                </a:cubicBezTo>
                <a:cubicBezTo>
                  <a:pt x="35" y="142"/>
                  <a:pt x="40" y="143"/>
                  <a:pt x="44" y="144"/>
                </a:cubicBezTo>
                <a:cubicBezTo>
                  <a:pt x="49" y="154"/>
                  <a:pt x="59" y="160"/>
                  <a:pt x="70" y="160"/>
                </a:cubicBezTo>
                <a:cubicBezTo>
                  <a:pt x="81" y="160"/>
                  <a:pt x="91" y="154"/>
                  <a:pt x="96" y="144"/>
                </a:cubicBezTo>
                <a:cubicBezTo>
                  <a:pt x="101" y="143"/>
                  <a:pt x="105" y="142"/>
                  <a:pt x="111" y="141"/>
                </a:cubicBezTo>
                <a:cubicBezTo>
                  <a:pt x="138" y="137"/>
                  <a:pt x="138" y="137"/>
                  <a:pt x="138" y="137"/>
                </a:cubicBezTo>
                <a:cubicBezTo>
                  <a:pt x="139" y="137"/>
                  <a:pt x="140" y="136"/>
                  <a:pt x="140" y="135"/>
                </a:cubicBezTo>
                <a:cubicBezTo>
                  <a:pt x="141" y="134"/>
                  <a:pt x="141" y="133"/>
                  <a:pt x="140" y="132"/>
                </a:cubicBezTo>
                <a:close/>
                <a:moveTo>
                  <a:pt x="61" y="15"/>
                </a:moveTo>
                <a:cubicBezTo>
                  <a:pt x="61" y="10"/>
                  <a:pt x="65" y="6"/>
                  <a:pt x="70" y="6"/>
                </a:cubicBezTo>
                <a:cubicBezTo>
                  <a:pt x="75" y="6"/>
                  <a:pt x="79" y="10"/>
                  <a:pt x="79" y="15"/>
                </a:cubicBezTo>
                <a:cubicBezTo>
                  <a:pt x="79" y="15"/>
                  <a:pt x="79" y="15"/>
                  <a:pt x="79" y="15"/>
                </a:cubicBezTo>
                <a:cubicBezTo>
                  <a:pt x="73" y="14"/>
                  <a:pt x="67" y="14"/>
                  <a:pt x="61" y="15"/>
                </a:cubicBezTo>
                <a:close/>
                <a:moveTo>
                  <a:pt x="70" y="154"/>
                </a:moveTo>
                <a:cubicBezTo>
                  <a:pt x="63" y="154"/>
                  <a:pt x="56" y="151"/>
                  <a:pt x="52" y="145"/>
                </a:cubicBezTo>
                <a:cubicBezTo>
                  <a:pt x="58" y="145"/>
                  <a:pt x="64" y="146"/>
                  <a:pt x="70" y="146"/>
                </a:cubicBezTo>
                <a:cubicBezTo>
                  <a:pt x="76" y="146"/>
                  <a:pt x="82" y="145"/>
                  <a:pt x="89" y="145"/>
                </a:cubicBezTo>
                <a:cubicBezTo>
                  <a:pt x="85" y="151"/>
                  <a:pt x="78" y="154"/>
                  <a:pt x="70" y="154"/>
                </a:cubicBezTo>
                <a:close/>
                <a:moveTo>
                  <a:pt x="110" y="136"/>
                </a:moveTo>
                <a:cubicBezTo>
                  <a:pt x="104" y="137"/>
                  <a:pt x="99" y="137"/>
                  <a:pt x="94" y="138"/>
                </a:cubicBezTo>
                <a:cubicBezTo>
                  <a:pt x="94" y="138"/>
                  <a:pt x="94" y="138"/>
                  <a:pt x="94" y="138"/>
                </a:cubicBezTo>
                <a:cubicBezTo>
                  <a:pt x="92" y="138"/>
                  <a:pt x="90" y="139"/>
                  <a:pt x="88" y="139"/>
                </a:cubicBezTo>
                <a:cubicBezTo>
                  <a:pt x="88" y="139"/>
                  <a:pt x="88" y="139"/>
                  <a:pt x="88" y="139"/>
                </a:cubicBezTo>
                <a:cubicBezTo>
                  <a:pt x="86" y="139"/>
                  <a:pt x="84" y="139"/>
                  <a:pt x="82" y="139"/>
                </a:cubicBezTo>
                <a:cubicBezTo>
                  <a:pt x="82" y="139"/>
                  <a:pt x="82" y="139"/>
                  <a:pt x="81" y="139"/>
                </a:cubicBezTo>
                <a:cubicBezTo>
                  <a:pt x="80" y="139"/>
                  <a:pt x="78" y="140"/>
                  <a:pt x="77" y="140"/>
                </a:cubicBezTo>
                <a:cubicBezTo>
                  <a:pt x="76" y="140"/>
                  <a:pt x="76" y="140"/>
                  <a:pt x="76" y="140"/>
                </a:cubicBezTo>
                <a:cubicBezTo>
                  <a:pt x="72" y="140"/>
                  <a:pt x="69" y="140"/>
                  <a:pt x="65" y="140"/>
                </a:cubicBezTo>
                <a:cubicBezTo>
                  <a:pt x="65" y="140"/>
                  <a:pt x="64" y="140"/>
                  <a:pt x="64" y="140"/>
                </a:cubicBezTo>
                <a:cubicBezTo>
                  <a:pt x="62" y="140"/>
                  <a:pt x="61" y="139"/>
                  <a:pt x="59" y="139"/>
                </a:cubicBezTo>
                <a:cubicBezTo>
                  <a:pt x="59" y="139"/>
                  <a:pt x="59" y="139"/>
                  <a:pt x="58" y="139"/>
                </a:cubicBezTo>
                <a:cubicBezTo>
                  <a:pt x="57" y="139"/>
                  <a:pt x="55" y="139"/>
                  <a:pt x="53" y="139"/>
                </a:cubicBezTo>
                <a:cubicBezTo>
                  <a:pt x="53" y="139"/>
                  <a:pt x="53" y="139"/>
                  <a:pt x="53" y="139"/>
                </a:cubicBezTo>
                <a:cubicBezTo>
                  <a:pt x="51" y="139"/>
                  <a:pt x="49" y="138"/>
                  <a:pt x="47" y="138"/>
                </a:cubicBezTo>
                <a:cubicBezTo>
                  <a:pt x="47" y="138"/>
                  <a:pt x="47" y="138"/>
                  <a:pt x="47" y="138"/>
                </a:cubicBezTo>
                <a:cubicBezTo>
                  <a:pt x="42" y="137"/>
                  <a:pt x="37" y="137"/>
                  <a:pt x="31" y="136"/>
                </a:cubicBezTo>
                <a:cubicBezTo>
                  <a:pt x="9" y="132"/>
                  <a:pt x="9" y="132"/>
                  <a:pt x="9" y="132"/>
                </a:cubicBezTo>
                <a:cubicBezTo>
                  <a:pt x="20" y="119"/>
                  <a:pt x="26" y="103"/>
                  <a:pt x="26" y="84"/>
                </a:cubicBezTo>
                <a:cubicBezTo>
                  <a:pt x="26" y="58"/>
                  <a:pt x="26" y="58"/>
                  <a:pt x="26" y="58"/>
                </a:cubicBezTo>
                <a:cubicBezTo>
                  <a:pt x="26" y="42"/>
                  <a:pt x="37" y="30"/>
                  <a:pt x="49" y="25"/>
                </a:cubicBezTo>
                <a:cubicBezTo>
                  <a:pt x="52" y="24"/>
                  <a:pt x="55" y="22"/>
                  <a:pt x="59" y="22"/>
                </a:cubicBezTo>
                <a:cubicBezTo>
                  <a:pt x="59" y="22"/>
                  <a:pt x="59" y="22"/>
                  <a:pt x="59" y="22"/>
                </a:cubicBezTo>
                <a:cubicBezTo>
                  <a:pt x="66" y="20"/>
                  <a:pt x="74" y="20"/>
                  <a:pt x="81" y="21"/>
                </a:cubicBezTo>
                <a:cubicBezTo>
                  <a:pt x="81" y="21"/>
                  <a:pt x="81" y="21"/>
                  <a:pt x="81" y="21"/>
                </a:cubicBezTo>
                <a:cubicBezTo>
                  <a:pt x="85" y="22"/>
                  <a:pt x="89" y="23"/>
                  <a:pt x="92" y="25"/>
                </a:cubicBezTo>
                <a:cubicBezTo>
                  <a:pt x="103" y="30"/>
                  <a:pt x="114" y="42"/>
                  <a:pt x="114" y="58"/>
                </a:cubicBezTo>
                <a:cubicBezTo>
                  <a:pt x="114" y="84"/>
                  <a:pt x="114" y="84"/>
                  <a:pt x="114" y="84"/>
                </a:cubicBezTo>
                <a:cubicBezTo>
                  <a:pt x="114" y="102"/>
                  <a:pt x="120" y="118"/>
                  <a:pt x="132" y="132"/>
                </a:cubicBezTo>
                <a:lnTo>
                  <a:pt x="110" y="136"/>
                </a:lnTo>
                <a:close/>
                <a:moveTo>
                  <a:pt x="90" y="37"/>
                </a:moveTo>
                <a:cubicBezTo>
                  <a:pt x="89" y="38"/>
                  <a:pt x="88" y="39"/>
                  <a:pt x="86" y="38"/>
                </a:cubicBezTo>
                <a:cubicBezTo>
                  <a:pt x="76" y="34"/>
                  <a:pt x="64" y="34"/>
                  <a:pt x="55" y="38"/>
                </a:cubicBezTo>
                <a:cubicBezTo>
                  <a:pt x="50" y="41"/>
                  <a:pt x="41" y="48"/>
                  <a:pt x="41" y="58"/>
                </a:cubicBezTo>
                <a:cubicBezTo>
                  <a:pt x="41" y="60"/>
                  <a:pt x="39" y="61"/>
                  <a:pt x="38" y="61"/>
                </a:cubicBezTo>
                <a:cubicBezTo>
                  <a:pt x="38" y="61"/>
                  <a:pt x="38" y="61"/>
                  <a:pt x="38" y="61"/>
                </a:cubicBezTo>
                <a:cubicBezTo>
                  <a:pt x="36" y="61"/>
                  <a:pt x="35" y="60"/>
                  <a:pt x="35" y="58"/>
                </a:cubicBezTo>
                <a:cubicBezTo>
                  <a:pt x="35" y="45"/>
                  <a:pt x="46" y="36"/>
                  <a:pt x="52" y="33"/>
                </a:cubicBezTo>
                <a:cubicBezTo>
                  <a:pt x="63" y="28"/>
                  <a:pt x="77" y="28"/>
                  <a:pt x="88" y="33"/>
                </a:cubicBezTo>
                <a:cubicBezTo>
                  <a:pt x="90" y="34"/>
                  <a:pt x="91" y="35"/>
                  <a:pt x="90" y="37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en-US">
              <a:latin typeface="Arial" panose="020B0604020202020204" pitchFamily="34" charset="0"/>
              <a:ea typeface="微软雅黑" panose="020B0503020204020204" pitchFamily="34" charset="-122"/>
              <a:cs typeface="思源黑体 CN Regular" panose="020B0500000000000000" charset="-122"/>
              <a:sym typeface="Arial" panose="020B0604020202020204" pitchFamily="34" charset="0"/>
            </a:endParaRPr>
          </a:p>
        </p:txBody>
      </p:sp>
      <p:sp>
        <p:nvSpPr>
          <p:cNvPr id="33" name="Freeform 1050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SpPr>
            <a:spLocks noEditPoints="1"/>
          </p:cNvSpPr>
          <p:nvPr/>
        </p:nvSpPr>
        <p:spPr bwMode="auto">
          <a:xfrm>
            <a:off x="7226452" y="1272228"/>
            <a:ext cx="372995" cy="338296"/>
          </a:xfrm>
          <a:custGeom>
            <a:avLst/>
            <a:gdLst>
              <a:gd name="T0" fmla="*/ 115 w 160"/>
              <a:gd name="T1" fmla="*/ 0 h 144"/>
              <a:gd name="T2" fmla="*/ 89 w 160"/>
              <a:gd name="T3" fmla="*/ 37 h 144"/>
              <a:gd name="T4" fmla="*/ 63 w 160"/>
              <a:gd name="T5" fmla="*/ 7 h 144"/>
              <a:gd name="T6" fmla="*/ 4 w 160"/>
              <a:gd name="T7" fmla="*/ 91 h 144"/>
              <a:gd name="T8" fmla="*/ 71 w 160"/>
              <a:gd name="T9" fmla="*/ 110 h 144"/>
              <a:gd name="T10" fmla="*/ 71 w 160"/>
              <a:gd name="T11" fmla="*/ 82 h 144"/>
              <a:gd name="T12" fmla="*/ 89 w 160"/>
              <a:gd name="T13" fmla="*/ 110 h 144"/>
              <a:gd name="T14" fmla="*/ 160 w 160"/>
              <a:gd name="T15" fmla="*/ 109 h 144"/>
              <a:gd name="T16" fmla="*/ 6 w 160"/>
              <a:gd name="T17" fmla="*/ 109 h 144"/>
              <a:gd name="T18" fmla="*/ 12 w 160"/>
              <a:gd name="T19" fmla="*/ 90 h 144"/>
              <a:gd name="T20" fmla="*/ 20 w 160"/>
              <a:gd name="T21" fmla="*/ 83 h 144"/>
              <a:gd name="T22" fmla="*/ 28 w 160"/>
              <a:gd name="T23" fmla="*/ 80 h 144"/>
              <a:gd name="T24" fmla="*/ 36 w 160"/>
              <a:gd name="T25" fmla="*/ 79 h 144"/>
              <a:gd name="T26" fmla="*/ 65 w 160"/>
              <a:gd name="T27" fmla="*/ 110 h 144"/>
              <a:gd name="T28" fmla="*/ 63 w 160"/>
              <a:gd name="T29" fmla="*/ 86 h 144"/>
              <a:gd name="T30" fmla="*/ 59 w 160"/>
              <a:gd name="T31" fmla="*/ 82 h 144"/>
              <a:gd name="T32" fmla="*/ 53 w 160"/>
              <a:gd name="T33" fmla="*/ 78 h 144"/>
              <a:gd name="T34" fmla="*/ 48 w 160"/>
              <a:gd name="T35" fmla="*/ 75 h 144"/>
              <a:gd name="T36" fmla="*/ 41 w 160"/>
              <a:gd name="T37" fmla="*/ 73 h 144"/>
              <a:gd name="T38" fmla="*/ 32 w 160"/>
              <a:gd name="T39" fmla="*/ 73 h 144"/>
              <a:gd name="T40" fmla="*/ 27 w 160"/>
              <a:gd name="T41" fmla="*/ 74 h 144"/>
              <a:gd name="T42" fmla="*/ 23 w 160"/>
              <a:gd name="T43" fmla="*/ 75 h 144"/>
              <a:gd name="T44" fmla="*/ 18 w 160"/>
              <a:gd name="T45" fmla="*/ 78 h 144"/>
              <a:gd name="T46" fmla="*/ 15 w 160"/>
              <a:gd name="T47" fmla="*/ 80 h 144"/>
              <a:gd name="T48" fmla="*/ 45 w 160"/>
              <a:gd name="T49" fmla="*/ 6 h 144"/>
              <a:gd name="T50" fmla="*/ 65 w 160"/>
              <a:gd name="T51" fmla="*/ 40 h 144"/>
              <a:gd name="T52" fmla="*/ 65 w 160"/>
              <a:gd name="T53" fmla="*/ 89 h 144"/>
              <a:gd name="T54" fmla="*/ 71 w 160"/>
              <a:gd name="T55" fmla="*/ 43 h 144"/>
              <a:gd name="T56" fmla="*/ 71 w 160"/>
              <a:gd name="T57" fmla="*/ 76 h 144"/>
              <a:gd name="T58" fmla="*/ 95 w 160"/>
              <a:gd name="T59" fmla="*/ 40 h 144"/>
              <a:gd name="T60" fmla="*/ 114 w 160"/>
              <a:gd name="T61" fmla="*/ 6 h 144"/>
              <a:gd name="T62" fmla="*/ 147 w 160"/>
              <a:gd name="T63" fmla="*/ 81 h 144"/>
              <a:gd name="T64" fmla="*/ 140 w 160"/>
              <a:gd name="T65" fmla="*/ 77 h 144"/>
              <a:gd name="T66" fmla="*/ 136 w 160"/>
              <a:gd name="T67" fmla="*/ 75 h 144"/>
              <a:gd name="T68" fmla="*/ 131 w 160"/>
              <a:gd name="T69" fmla="*/ 74 h 144"/>
              <a:gd name="T70" fmla="*/ 124 w 160"/>
              <a:gd name="T71" fmla="*/ 73 h 144"/>
              <a:gd name="T72" fmla="*/ 116 w 160"/>
              <a:gd name="T73" fmla="*/ 74 h 144"/>
              <a:gd name="T74" fmla="*/ 111 w 160"/>
              <a:gd name="T75" fmla="*/ 76 h 144"/>
              <a:gd name="T76" fmla="*/ 104 w 160"/>
              <a:gd name="T77" fmla="*/ 79 h 144"/>
              <a:gd name="T78" fmla="*/ 100 w 160"/>
              <a:gd name="T79" fmla="*/ 83 h 144"/>
              <a:gd name="T80" fmla="*/ 95 w 160"/>
              <a:gd name="T81" fmla="*/ 89 h 144"/>
              <a:gd name="T82" fmla="*/ 95 w 160"/>
              <a:gd name="T83" fmla="*/ 110 h 144"/>
              <a:gd name="T84" fmla="*/ 95 w 160"/>
              <a:gd name="T85" fmla="*/ 109 h 144"/>
              <a:gd name="T86" fmla="*/ 129 w 160"/>
              <a:gd name="T87" fmla="*/ 79 h 144"/>
              <a:gd name="T88" fmla="*/ 139 w 160"/>
              <a:gd name="T89" fmla="*/ 83 h 144"/>
              <a:gd name="T90" fmla="*/ 143 w 160"/>
              <a:gd name="T91" fmla="*/ 85 h 144"/>
              <a:gd name="T92" fmla="*/ 150 w 160"/>
              <a:gd name="T93" fmla="*/ 94 h 14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160" h="144">
                <a:moveTo>
                  <a:pt x="156" y="91"/>
                </a:moveTo>
                <a:cubicBezTo>
                  <a:pt x="138" y="20"/>
                  <a:pt x="138" y="20"/>
                  <a:pt x="138" y="20"/>
                </a:cubicBezTo>
                <a:cubicBezTo>
                  <a:pt x="135" y="9"/>
                  <a:pt x="126" y="1"/>
                  <a:pt x="115" y="0"/>
                </a:cubicBezTo>
                <a:cubicBezTo>
                  <a:pt x="108" y="0"/>
                  <a:pt x="102" y="2"/>
                  <a:pt x="97" y="7"/>
                </a:cubicBezTo>
                <a:cubicBezTo>
                  <a:pt x="92" y="12"/>
                  <a:pt x="89" y="18"/>
                  <a:pt x="89" y="25"/>
                </a:cubicBezTo>
                <a:cubicBezTo>
                  <a:pt x="89" y="37"/>
                  <a:pt x="89" y="37"/>
                  <a:pt x="89" y="37"/>
                </a:cubicBezTo>
                <a:cubicBezTo>
                  <a:pt x="71" y="37"/>
                  <a:pt x="71" y="37"/>
                  <a:pt x="71" y="37"/>
                </a:cubicBezTo>
                <a:cubicBezTo>
                  <a:pt x="71" y="25"/>
                  <a:pt x="71" y="25"/>
                  <a:pt x="71" y="25"/>
                </a:cubicBezTo>
                <a:cubicBezTo>
                  <a:pt x="71" y="18"/>
                  <a:pt x="68" y="12"/>
                  <a:pt x="63" y="7"/>
                </a:cubicBezTo>
                <a:cubicBezTo>
                  <a:pt x="58" y="2"/>
                  <a:pt x="52" y="0"/>
                  <a:pt x="45" y="0"/>
                </a:cubicBezTo>
                <a:cubicBezTo>
                  <a:pt x="34" y="1"/>
                  <a:pt x="25" y="9"/>
                  <a:pt x="22" y="20"/>
                </a:cubicBezTo>
                <a:cubicBezTo>
                  <a:pt x="4" y="91"/>
                  <a:pt x="4" y="91"/>
                  <a:pt x="4" y="91"/>
                </a:cubicBezTo>
                <a:cubicBezTo>
                  <a:pt x="2" y="97"/>
                  <a:pt x="0" y="102"/>
                  <a:pt x="0" y="109"/>
                </a:cubicBezTo>
                <a:cubicBezTo>
                  <a:pt x="0" y="128"/>
                  <a:pt x="16" y="144"/>
                  <a:pt x="36" y="144"/>
                </a:cubicBezTo>
                <a:cubicBezTo>
                  <a:pt x="55" y="144"/>
                  <a:pt x="70" y="129"/>
                  <a:pt x="71" y="110"/>
                </a:cubicBezTo>
                <a:cubicBezTo>
                  <a:pt x="71" y="110"/>
                  <a:pt x="71" y="110"/>
                  <a:pt x="71" y="110"/>
                </a:cubicBezTo>
                <a:cubicBezTo>
                  <a:pt x="71" y="109"/>
                  <a:pt x="71" y="109"/>
                  <a:pt x="71" y="109"/>
                </a:cubicBezTo>
                <a:cubicBezTo>
                  <a:pt x="71" y="82"/>
                  <a:pt x="71" y="82"/>
                  <a:pt x="71" y="82"/>
                </a:cubicBezTo>
                <a:cubicBezTo>
                  <a:pt x="89" y="82"/>
                  <a:pt x="89" y="82"/>
                  <a:pt x="89" y="82"/>
                </a:cubicBezTo>
                <a:cubicBezTo>
                  <a:pt x="89" y="109"/>
                  <a:pt x="89" y="109"/>
                  <a:pt x="89" y="109"/>
                </a:cubicBezTo>
                <a:cubicBezTo>
                  <a:pt x="89" y="110"/>
                  <a:pt x="89" y="110"/>
                  <a:pt x="89" y="110"/>
                </a:cubicBezTo>
                <a:cubicBezTo>
                  <a:pt x="89" y="110"/>
                  <a:pt x="89" y="110"/>
                  <a:pt x="89" y="110"/>
                </a:cubicBezTo>
                <a:cubicBezTo>
                  <a:pt x="90" y="129"/>
                  <a:pt x="105" y="144"/>
                  <a:pt x="124" y="144"/>
                </a:cubicBezTo>
                <a:cubicBezTo>
                  <a:pt x="144" y="144"/>
                  <a:pt x="160" y="128"/>
                  <a:pt x="160" y="109"/>
                </a:cubicBezTo>
                <a:cubicBezTo>
                  <a:pt x="160" y="102"/>
                  <a:pt x="158" y="97"/>
                  <a:pt x="156" y="91"/>
                </a:cubicBezTo>
                <a:close/>
                <a:moveTo>
                  <a:pt x="36" y="138"/>
                </a:moveTo>
                <a:cubicBezTo>
                  <a:pt x="19" y="138"/>
                  <a:pt x="6" y="125"/>
                  <a:pt x="6" y="109"/>
                </a:cubicBezTo>
                <a:cubicBezTo>
                  <a:pt x="6" y="103"/>
                  <a:pt x="7" y="98"/>
                  <a:pt x="10" y="94"/>
                </a:cubicBezTo>
                <a:cubicBezTo>
                  <a:pt x="10" y="93"/>
                  <a:pt x="11" y="92"/>
                  <a:pt x="12" y="91"/>
                </a:cubicBezTo>
                <a:cubicBezTo>
                  <a:pt x="12" y="91"/>
                  <a:pt x="12" y="91"/>
                  <a:pt x="12" y="90"/>
                </a:cubicBezTo>
                <a:cubicBezTo>
                  <a:pt x="14" y="89"/>
                  <a:pt x="15" y="87"/>
                  <a:pt x="17" y="85"/>
                </a:cubicBezTo>
                <a:cubicBezTo>
                  <a:pt x="17" y="85"/>
                  <a:pt x="18" y="85"/>
                  <a:pt x="18" y="85"/>
                </a:cubicBezTo>
                <a:cubicBezTo>
                  <a:pt x="19" y="84"/>
                  <a:pt x="19" y="84"/>
                  <a:pt x="20" y="83"/>
                </a:cubicBezTo>
                <a:cubicBezTo>
                  <a:pt x="21" y="83"/>
                  <a:pt x="21" y="83"/>
                  <a:pt x="21" y="83"/>
                </a:cubicBezTo>
                <a:cubicBezTo>
                  <a:pt x="23" y="82"/>
                  <a:pt x="25" y="81"/>
                  <a:pt x="28" y="80"/>
                </a:cubicBezTo>
                <a:cubicBezTo>
                  <a:pt x="28" y="80"/>
                  <a:pt x="28" y="80"/>
                  <a:pt x="28" y="80"/>
                </a:cubicBezTo>
                <a:cubicBezTo>
                  <a:pt x="29" y="80"/>
                  <a:pt x="30" y="79"/>
                  <a:pt x="31" y="79"/>
                </a:cubicBezTo>
                <a:cubicBezTo>
                  <a:pt x="31" y="79"/>
                  <a:pt x="32" y="79"/>
                  <a:pt x="32" y="79"/>
                </a:cubicBezTo>
                <a:cubicBezTo>
                  <a:pt x="33" y="79"/>
                  <a:pt x="34" y="79"/>
                  <a:pt x="36" y="79"/>
                </a:cubicBezTo>
                <a:cubicBezTo>
                  <a:pt x="52" y="79"/>
                  <a:pt x="65" y="92"/>
                  <a:pt x="65" y="109"/>
                </a:cubicBezTo>
                <a:cubicBezTo>
                  <a:pt x="65" y="109"/>
                  <a:pt x="65" y="109"/>
                  <a:pt x="65" y="109"/>
                </a:cubicBezTo>
                <a:cubicBezTo>
                  <a:pt x="65" y="110"/>
                  <a:pt x="65" y="110"/>
                  <a:pt x="65" y="110"/>
                </a:cubicBezTo>
                <a:cubicBezTo>
                  <a:pt x="65" y="110"/>
                  <a:pt x="65" y="110"/>
                  <a:pt x="65" y="110"/>
                </a:cubicBezTo>
                <a:cubicBezTo>
                  <a:pt x="64" y="126"/>
                  <a:pt x="51" y="138"/>
                  <a:pt x="36" y="138"/>
                </a:cubicBezTo>
                <a:close/>
                <a:moveTo>
                  <a:pt x="63" y="86"/>
                </a:moveTo>
                <a:cubicBezTo>
                  <a:pt x="63" y="85"/>
                  <a:pt x="62" y="85"/>
                  <a:pt x="62" y="85"/>
                </a:cubicBezTo>
                <a:cubicBezTo>
                  <a:pt x="61" y="84"/>
                  <a:pt x="61" y="83"/>
                  <a:pt x="60" y="83"/>
                </a:cubicBezTo>
                <a:cubicBezTo>
                  <a:pt x="60" y="83"/>
                  <a:pt x="59" y="82"/>
                  <a:pt x="59" y="82"/>
                </a:cubicBezTo>
                <a:cubicBezTo>
                  <a:pt x="58" y="81"/>
                  <a:pt x="58" y="81"/>
                  <a:pt x="57" y="80"/>
                </a:cubicBezTo>
                <a:cubicBezTo>
                  <a:pt x="57" y="80"/>
                  <a:pt x="56" y="80"/>
                  <a:pt x="56" y="79"/>
                </a:cubicBezTo>
                <a:cubicBezTo>
                  <a:pt x="55" y="79"/>
                  <a:pt x="54" y="78"/>
                  <a:pt x="53" y="78"/>
                </a:cubicBezTo>
                <a:cubicBezTo>
                  <a:pt x="53" y="78"/>
                  <a:pt x="53" y="77"/>
                  <a:pt x="53" y="77"/>
                </a:cubicBezTo>
                <a:cubicBezTo>
                  <a:pt x="51" y="77"/>
                  <a:pt x="50" y="76"/>
                  <a:pt x="49" y="76"/>
                </a:cubicBezTo>
                <a:cubicBezTo>
                  <a:pt x="49" y="76"/>
                  <a:pt x="48" y="75"/>
                  <a:pt x="48" y="75"/>
                </a:cubicBezTo>
                <a:cubicBezTo>
                  <a:pt x="47" y="75"/>
                  <a:pt x="46" y="75"/>
                  <a:pt x="45" y="74"/>
                </a:cubicBezTo>
                <a:cubicBezTo>
                  <a:pt x="45" y="74"/>
                  <a:pt x="44" y="74"/>
                  <a:pt x="44" y="74"/>
                </a:cubicBezTo>
                <a:cubicBezTo>
                  <a:pt x="43" y="74"/>
                  <a:pt x="42" y="74"/>
                  <a:pt x="41" y="73"/>
                </a:cubicBezTo>
                <a:cubicBezTo>
                  <a:pt x="41" y="73"/>
                  <a:pt x="40" y="73"/>
                  <a:pt x="40" y="73"/>
                </a:cubicBezTo>
                <a:cubicBezTo>
                  <a:pt x="38" y="73"/>
                  <a:pt x="37" y="73"/>
                  <a:pt x="36" y="73"/>
                </a:cubicBezTo>
                <a:cubicBezTo>
                  <a:pt x="34" y="73"/>
                  <a:pt x="33" y="73"/>
                  <a:pt x="32" y="73"/>
                </a:cubicBezTo>
                <a:cubicBezTo>
                  <a:pt x="32" y="73"/>
                  <a:pt x="31" y="73"/>
                  <a:pt x="31" y="73"/>
                </a:cubicBezTo>
                <a:cubicBezTo>
                  <a:pt x="30" y="73"/>
                  <a:pt x="30" y="74"/>
                  <a:pt x="29" y="74"/>
                </a:cubicBezTo>
                <a:cubicBezTo>
                  <a:pt x="28" y="74"/>
                  <a:pt x="28" y="74"/>
                  <a:pt x="27" y="74"/>
                </a:cubicBezTo>
                <a:cubicBezTo>
                  <a:pt x="27" y="74"/>
                  <a:pt x="26" y="74"/>
                  <a:pt x="26" y="74"/>
                </a:cubicBezTo>
                <a:cubicBezTo>
                  <a:pt x="25" y="75"/>
                  <a:pt x="25" y="75"/>
                  <a:pt x="24" y="75"/>
                </a:cubicBezTo>
                <a:cubicBezTo>
                  <a:pt x="24" y="75"/>
                  <a:pt x="23" y="75"/>
                  <a:pt x="23" y="75"/>
                </a:cubicBezTo>
                <a:cubicBezTo>
                  <a:pt x="22" y="76"/>
                  <a:pt x="22" y="76"/>
                  <a:pt x="21" y="76"/>
                </a:cubicBezTo>
                <a:cubicBezTo>
                  <a:pt x="21" y="76"/>
                  <a:pt x="20" y="76"/>
                  <a:pt x="20" y="77"/>
                </a:cubicBezTo>
                <a:cubicBezTo>
                  <a:pt x="19" y="77"/>
                  <a:pt x="19" y="77"/>
                  <a:pt x="18" y="78"/>
                </a:cubicBezTo>
                <a:cubicBezTo>
                  <a:pt x="18" y="78"/>
                  <a:pt x="18" y="78"/>
                  <a:pt x="17" y="78"/>
                </a:cubicBezTo>
                <a:cubicBezTo>
                  <a:pt x="17" y="79"/>
                  <a:pt x="16" y="79"/>
                  <a:pt x="15" y="79"/>
                </a:cubicBezTo>
                <a:cubicBezTo>
                  <a:pt x="15" y="79"/>
                  <a:pt x="15" y="79"/>
                  <a:pt x="15" y="80"/>
                </a:cubicBezTo>
                <a:cubicBezTo>
                  <a:pt x="14" y="80"/>
                  <a:pt x="14" y="81"/>
                  <a:pt x="13" y="81"/>
                </a:cubicBezTo>
                <a:cubicBezTo>
                  <a:pt x="28" y="21"/>
                  <a:pt x="28" y="21"/>
                  <a:pt x="28" y="21"/>
                </a:cubicBezTo>
                <a:cubicBezTo>
                  <a:pt x="30" y="13"/>
                  <a:pt x="37" y="6"/>
                  <a:pt x="45" y="6"/>
                </a:cubicBezTo>
                <a:cubicBezTo>
                  <a:pt x="51" y="6"/>
                  <a:pt x="56" y="8"/>
                  <a:pt x="59" y="11"/>
                </a:cubicBezTo>
                <a:cubicBezTo>
                  <a:pt x="63" y="15"/>
                  <a:pt x="65" y="20"/>
                  <a:pt x="65" y="25"/>
                </a:cubicBezTo>
                <a:cubicBezTo>
                  <a:pt x="65" y="40"/>
                  <a:pt x="65" y="40"/>
                  <a:pt x="65" y="40"/>
                </a:cubicBezTo>
                <a:cubicBezTo>
                  <a:pt x="65" y="79"/>
                  <a:pt x="65" y="79"/>
                  <a:pt x="65" y="79"/>
                </a:cubicBezTo>
                <a:cubicBezTo>
                  <a:pt x="65" y="89"/>
                  <a:pt x="65" y="89"/>
                  <a:pt x="65" y="89"/>
                </a:cubicBezTo>
                <a:cubicBezTo>
                  <a:pt x="65" y="89"/>
                  <a:pt x="65" y="89"/>
                  <a:pt x="65" y="89"/>
                </a:cubicBezTo>
                <a:cubicBezTo>
                  <a:pt x="64" y="88"/>
                  <a:pt x="64" y="87"/>
                  <a:pt x="63" y="86"/>
                </a:cubicBezTo>
                <a:close/>
                <a:moveTo>
                  <a:pt x="71" y="76"/>
                </a:moveTo>
                <a:cubicBezTo>
                  <a:pt x="71" y="43"/>
                  <a:pt x="71" y="43"/>
                  <a:pt x="71" y="43"/>
                </a:cubicBezTo>
                <a:cubicBezTo>
                  <a:pt x="89" y="43"/>
                  <a:pt x="89" y="43"/>
                  <a:pt x="89" y="43"/>
                </a:cubicBezTo>
                <a:cubicBezTo>
                  <a:pt x="89" y="76"/>
                  <a:pt x="89" y="76"/>
                  <a:pt x="89" y="76"/>
                </a:cubicBezTo>
                <a:lnTo>
                  <a:pt x="71" y="76"/>
                </a:lnTo>
                <a:close/>
                <a:moveTo>
                  <a:pt x="95" y="89"/>
                </a:moveTo>
                <a:cubicBezTo>
                  <a:pt x="95" y="79"/>
                  <a:pt x="95" y="79"/>
                  <a:pt x="95" y="79"/>
                </a:cubicBezTo>
                <a:cubicBezTo>
                  <a:pt x="95" y="40"/>
                  <a:pt x="95" y="40"/>
                  <a:pt x="95" y="40"/>
                </a:cubicBezTo>
                <a:cubicBezTo>
                  <a:pt x="95" y="25"/>
                  <a:pt x="95" y="25"/>
                  <a:pt x="95" y="25"/>
                </a:cubicBezTo>
                <a:cubicBezTo>
                  <a:pt x="95" y="20"/>
                  <a:pt x="97" y="15"/>
                  <a:pt x="101" y="11"/>
                </a:cubicBezTo>
                <a:cubicBezTo>
                  <a:pt x="104" y="8"/>
                  <a:pt x="109" y="6"/>
                  <a:pt x="114" y="6"/>
                </a:cubicBezTo>
                <a:cubicBezTo>
                  <a:pt x="114" y="6"/>
                  <a:pt x="114" y="6"/>
                  <a:pt x="115" y="6"/>
                </a:cubicBezTo>
                <a:cubicBezTo>
                  <a:pt x="123" y="6"/>
                  <a:pt x="130" y="13"/>
                  <a:pt x="132" y="21"/>
                </a:cubicBezTo>
                <a:cubicBezTo>
                  <a:pt x="147" y="81"/>
                  <a:pt x="147" y="81"/>
                  <a:pt x="147" y="81"/>
                </a:cubicBezTo>
                <a:cubicBezTo>
                  <a:pt x="146" y="80"/>
                  <a:pt x="144" y="79"/>
                  <a:pt x="143" y="78"/>
                </a:cubicBezTo>
                <a:cubicBezTo>
                  <a:pt x="142" y="78"/>
                  <a:pt x="142" y="78"/>
                  <a:pt x="142" y="78"/>
                </a:cubicBezTo>
                <a:cubicBezTo>
                  <a:pt x="141" y="77"/>
                  <a:pt x="141" y="77"/>
                  <a:pt x="140" y="77"/>
                </a:cubicBezTo>
                <a:cubicBezTo>
                  <a:pt x="140" y="76"/>
                  <a:pt x="139" y="76"/>
                  <a:pt x="139" y="76"/>
                </a:cubicBezTo>
                <a:cubicBezTo>
                  <a:pt x="138" y="76"/>
                  <a:pt x="138" y="76"/>
                  <a:pt x="137" y="75"/>
                </a:cubicBezTo>
                <a:cubicBezTo>
                  <a:pt x="137" y="75"/>
                  <a:pt x="136" y="75"/>
                  <a:pt x="136" y="75"/>
                </a:cubicBezTo>
                <a:cubicBezTo>
                  <a:pt x="135" y="75"/>
                  <a:pt x="135" y="75"/>
                  <a:pt x="134" y="74"/>
                </a:cubicBezTo>
                <a:cubicBezTo>
                  <a:pt x="134" y="74"/>
                  <a:pt x="133" y="74"/>
                  <a:pt x="133" y="74"/>
                </a:cubicBezTo>
                <a:cubicBezTo>
                  <a:pt x="132" y="74"/>
                  <a:pt x="132" y="74"/>
                  <a:pt x="131" y="74"/>
                </a:cubicBezTo>
                <a:cubicBezTo>
                  <a:pt x="130" y="74"/>
                  <a:pt x="130" y="73"/>
                  <a:pt x="129" y="73"/>
                </a:cubicBezTo>
                <a:cubicBezTo>
                  <a:pt x="129" y="73"/>
                  <a:pt x="128" y="73"/>
                  <a:pt x="128" y="73"/>
                </a:cubicBezTo>
                <a:cubicBezTo>
                  <a:pt x="127" y="73"/>
                  <a:pt x="126" y="73"/>
                  <a:pt x="124" y="73"/>
                </a:cubicBezTo>
                <a:cubicBezTo>
                  <a:pt x="123" y="73"/>
                  <a:pt x="122" y="73"/>
                  <a:pt x="120" y="73"/>
                </a:cubicBezTo>
                <a:cubicBezTo>
                  <a:pt x="120" y="73"/>
                  <a:pt x="119" y="73"/>
                  <a:pt x="119" y="73"/>
                </a:cubicBezTo>
                <a:cubicBezTo>
                  <a:pt x="118" y="74"/>
                  <a:pt x="117" y="74"/>
                  <a:pt x="116" y="74"/>
                </a:cubicBezTo>
                <a:cubicBezTo>
                  <a:pt x="116" y="74"/>
                  <a:pt x="115" y="74"/>
                  <a:pt x="115" y="74"/>
                </a:cubicBezTo>
                <a:cubicBezTo>
                  <a:pt x="114" y="75"/>
                  <a:pt x="113" y="75"/>
                  <a:pt x="112" y="75"/>
                </a:cubicBezTo>
                <a:cubicBezTo>
                  <a:pt x="112" y="75"/>
                  <a:pt x="111" y="76"/>
                  <a:pt x="111" y="76"/>
                </a:cubicBezTo>
                <a:cubicBezTo>
                  <a:pt x="110" y="76"/>
                  <a:pt x="109" y="77"/>
                  <a:pt x="107" y="77"/>
                </a:cubicBezTo>
                <a:cubicBezTo>
                  <a:pt x="107" y="77"/>
                  <a:pt x="107" y="78"/>
                  <a:pt x="107" y="78"/>
                </a:cubicBezTo>
                <a:cubicBezTo>
                  <a:pt x="106" y="78"/>
                  <a:pt x="105" y="79"/>
                  <a:pt x="104" y="79"/>
                </a:cubicBezTo>
                <a:cubicBezTo>
                  <a:pt x="104" y="80"/>
                  <a:pt x="103" y="80"/>
                  <a:pt x="103" y="80"/>
                </a:cubicBezTo>
                <a:cubicBezTo>
                  <a:pt x="102" y="81"/>
                  <a:pt x="102" y="81"/>
                  <a:pt x="101" y="82"/>
                </a:cubicBezTo>
                <a:cubicBezTo>
                  <a:pt x="101" y="82"/>
                  <a:pt x="100" y="83"/>
                  <a:pt x="100" y="83"/>
                </a:cubicBezTo>
                <a:cubicBezTo>
                  <a:pt x="99" y="83"/>
                  <a:pt x="99" y="84"/>
                  <a:pt x="98" y="85"/>
                </a:cubicBezTo>
                <a:cubicBezTo>
                  <a:pt x="98" y="85"/>
                  <a:pt x="97" y="85"/>
                  <a:pt x="97" y="86"/>
                </a:cubicBezTo>
                <a:cubicBezTo>
                  <a:pt x="96" y="87"/>
                  <a:pt x="96" y="88"/>
                  <a:pt x="95" y="89"/>
                </a:cubicBezTo>
                <a:cubicBezTo>
                  <a:pt x="95" y="89"/>
                  <a:pt x="95" y="89"/>
                  <a:pt x="95" y="89"/>
                </a:cubicBezTo>
                <a:close/>
                <a:moveTo>
                  <a:pt x="124" y="138"/>
                </a:moveTo>
                <a:cubicBezTo>
                  <a:pt x="109" y="138"/>
                  <a:pt x="96" y="126"/>
                  <a:pt x="95" y="110"/>
                </a:cubicBezTo>
                <a:cubicBezTo>
                  <a:pt x="95" y="110"/>
                  <a:pt x="95" y="110"/>
                  <a:pt x="95" y="110"/>
                </a:cubicBezTo>
                <a:cubicBezTo>
                  <a:pt x="95" y="109"/>
                  <a:pt x="95" y="109"/>
                  <a:pt x="95" y="109"/>
                </a:cubicBezTo>
                <a:cubicBezTo>
                  <a:pt x="95" y="109"/>
                  <a:pt x="95" y="109"/>
                  <a:pt x="95" y="109"/>
                </a:cubicBezTo>
                <a:cubicBezTo>
                  <a:pt x="95" y="92"/>
                  <a:pt x="108" y="79"/>
                  <a:pt x="124" y="79"/>
                </a:cubicBezTo>
                <a:cubicBezTo>
                  <a:pt x="126" y="79"/>
                  <a:pt x="127" y="79"/>
                  <a:pt x="128" y="79"/>
                </a:cubicBezTo>
                <a:cubicBezTo>
                  <a:pt x="128" y="79"/>
                  <a:pt x="129" y="79"/>
                  <a:pt x="129" y="79"/>
                </a:cubicBezTo>
                <a:cubicBezTo>
                  <a:pt x="130" y="79"/>
                  <a:pt x="131" y="80"/>
                  <a:pt x="132" y="80"/>
                </a:cubicBezTo>
                <a:cubicBezTo>
                  <a:pt x="132" y="80"/>
                  <a:pt x="132" y="80"/>
                  <a:pt x="132" y="80"/>
                </a:cubicBezTo>
                <a:cubicBezTo>
                  <a:pt x="135" y="81"/>
                  <a:pt x="137" y="82"/>
                  <a:pt x="139" y="83"/>
                </a:cubicBezTo>
                <a:cubicBezTo>
                  <a:pt x="139" y="83"/>
                  <a:pt x="139" y="83"/>
                  <a:pt x="140" y="83"/>
                </a:cubicBezTo>
                <a:cubicBezTo>
                  <a:pt x="141" y="84"/>
                  <a:pt x="141" y="84"/>
                  <a:pt x="142" y="85"/>
                </a:cubicBezTo>
                <a:cubicBezTo>
                  <a:pt x="142" y="85"/>
                  <a:pt x="143" y="85"/>
                  <a:pt x="143" y="85"/>
                </a:cubicBezTo>
                <a:cubicBezTo>
                  <a:pt x="145" y="87"/>
                  <a:pt x="146" y="89"/>
                  <a:pt x="148" y="90"/>
                </a:cubicBezTo>
                <a:cubicBezTo>
                  <a:pt x="148" y="91"/>
                  <a:pt x="148" y="91"/>
                  <a:pt x="148" y="91"/>
                </a:cubicBezTo>
                <a:cubicBezTo>
                  <a:pt x="149" y="92"/>
                  <a:pt x="150" y="93"/>
                  <a:pt x="150" y="94"/>
                </a:cubicBezTo>
                <a:cubicBezTo>
                  <a:pt x="153" y="98"/>
                  <a:pt x="154" y="103"/>
                  <a:pt x="154" y="109"/>
                </a:cubicBezTo>
                <a:cubicBezTo>
                  <a:pt x="154" y="125"/>
                  <a:pt x="141" y="138"/>
                  <a:pt x="124" y="138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en-US">
              <a:latin typeface="Arial" panose="020B0604020202020204" pitchFamily="34" charset="0"/>
              <a:ea typeface="微软雅黑" panose="020B0503020204020204" pitchFamily="34" charset="-122"/>
              <a:cs typeface="思源黑体 CN Regular" panose="020B0500000000000000" charset="-122"/>
              <a:sym typeface="Arial" panose="020B0604020202020204" pitchFamily="34" charset="0"/>
            </a:endParaRPr>
          </a:p>
        </p:txBody>
      </p:sp>
      <p:sp>
        <p:nvSpPr>
          <p:cNvPr id="34" name="Freeform 1137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SpPr>
            <a:spLocks noEditPoints="1"/>
          </p:cNvSpPr>
          <p:nvPr/>
        </p:nvSpPr>
        <p:spPr bwMode="auto">
          <a:xfrm>
            <a:off x="8396173" y="3102157"/>
            <a:ext cx="372995" cy="338296"/>
          </a:xfrm>
          <a:custGeom>
            <a:avLst/>
            <a:gdLst>
              <a:gd name="T0" fmla="*/ 160 w 160"/>
              <a:gd name="T1" fmla="*/ 45 h 144"/>
              <a:gd name="T2" fmla="*/ 160 w 160"/>
              <a:gd name="T3" fmla="*/ 45 h 144"/>
              <a:gd name="T4" fmla="*/ 160 w 160"/>
              <a:gd name="T5" fmla="*/ 44 h 144"/>
              <a:gd name="T6" fmla="*/ 160 w 160"/>
              <a:gd name="T7" fmla="*/ 44 h 144"/>
              <a:gd name="T8" fmla="*/ 133 w 160"/>
              <a:gd name="T9" fmla="*/ 1 h 144"/>
              <a:gd name="T10" fmla="*/ 132 w 160"/>
              <a:gd name="T11" fmla="*/ 0 h 144"/>
              <a:gd name="T12" fmla="*/ 132 w 160"/>
              <a:gd name="T13" fmla="*/ 0 h 144"/>
              <a:gd name="T14" fmla="*/ 29 w 160"/>
              <a:gd name="T15" fmla="*/ 0 h 144"/>
              <a:gd name="T16" fmla="*/ 28 w 160"/>
              <a:gd name="T17" fmla="*/ 0 h 144"/>
              <a:gd name="T18" fmla="*/ 28 w 160"/>
              <a:gd name="T19" fmla="*/ 1 h 144"/>
              <a:gd name="T20" fmla="*/ 27 w 160"/>
              <a:gd name="T21" fmla="*/ 1 h 144"/>
              <a:gd name="T22" fmla="*/ 0 w 160"/>
              <a:gd name="T23" fmla="*/ 44 h 144"/>
              <a:gd name="T24" fmla="*/ 0 w 160"/>
              <a:gd name="T25" fmla="*/ 44 h 144"/>
              <a:gd name="T26" fmla="*/ 0 w 160"/>
              <a:gd name="T27" fmla="*/ 45 h 144"/>
              <a:gd name="T28" fmla="*/ 0 w 160"/>
              <a:gd name="T29" fmla="*/ 46 h 144"/>
              <a:gd name="T30" fmla="*/ 0 w 160"/>
              <a:gd name="T31" fmla="*/ 46 h 144"/>
              <a:gd name="T32" fmla="*/ 0 w 160"/>
              <a:gd name="T33" fmla="*/ 47 h 144"/>
              <a:gd name="T34" fmla="*/ 78 w 160"/>
              <a:gd name="T35" fmla="*/ 143 h 144"/>
              <a:gd name="T36" fmla="*/ 78 w 160"/>
              <a:gd name="T37" fmla="*/ 143 h 144"/>
              <a:gd name="T38" fmla="*/ 79 w 160"/>
              <a:gd name="T39" fmla="*/ 144 h 144"/>
              <a:gd name="T40" fmla="*/ 80 w 160"/>
              <a:gd name="T41" fmla="*/ 144 h 144"/>
              <a:gd name="T42" fmla="*/ 81 w 160"/>
              <a:gd name="T43" fmla="*/ 144 h 144"/>
              <a:gd name="T44" fmla="*/ 82 w 160"/>
              <a:gd name="T45" fmla="*/ 143 h 144"/>
              <a:gd name="T46" fmla="*/ 159 w 160"/>
              <a:gd name="T47" fmla="*/ 47 h 144"/>
              <a:gd name="T48" fmla="*/ 160 w 160"/>
              <a:gd name="T49" fmla="*/ 47 h 144"/>
              <a:gd name="T50" fmla="*/ 160 w 160"/>
              <a:gd name="T51" fmla="*/ 46 h 144"/>
              <a:gd name="T52" fmla="*/ 86 w 160"/>
              <a:gd name="T53" fmla="*/ 5 h 144"/>
              <a:gd name="T54" fmla="*/ 114 w 160"/>
              <a:gd name="T55" fmla="*/ 40 h 144"/>
              <a:gd name="T56" fmla="*/ 109 w 160"/>
              <a:gd name="T57" fmla="*/ 43 h 144"/>
              <a:gd name="T58" fmla="*/ 80 w 160"/>
              <a:gd name="T59" fmla="*/ 7 h 144"/>
              <a:gd name="T60" fmla="*/ 46 w 160"/>
              <a:gd name="T61" fmla="*/ 40 h 144"/>
              <a:gd name="T62" fmla="*/ 74 w 160"/>
              <a:gd name="T63" fmla="*/ 5 h 144"/>
              <a:gd name="T64" fmla="*/ 111 w 160"/>
              <a:gd name="T65" fmla="*/ 48 h 144"/>
              <a:gd name="T66" fmla="*/ 49 w 160"/>
              <a:gd name="T67" fmla="*/ 48 h 144"/>
              <a:gd name="T68" fmla="*/ 131 w 160"/>
              <a:gd name="T69" fmla="*/ 9 h 144"/>
              <a:gd name="T70" fmla="*/ 119 w 160"/>
              <a:gd name="T71" fmla="*/ 43 h 144"/>
              <a:gd name="T72" fmla="*/ 29 w 160"/>
              <a:gd name="T73" fmla="*/ 9 h 144"/>
              <a:gd name="T74" fmla="*/ 7 w 160"/>
              <a:gd name="T75" fmla="*/ 43 h 144"/>
              <a:gd name="T76" fmla="*/ 43 w 160"/>
              <a:gd name="T77" fmla="*/ 48 h 144"/>
              <a:gd name="T78" fmla="*/ 8 w 160"/>
              <a:gd name="T79" fmla="*/ 48 h 144"/>
              <a:gd name="T80" fmla="*/ 86 w 160"/>
              <a:gd name="T81" fmla="*/ 129 h 144"/>
              <a:gd name="T82" fmla="*/ 152 w 160"/>
              <a:gd name="T83" fmla="*/ 48 h 14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</a:cxnLst>
            <a:rect l="0" t="0" r="r" b="b"/>
            <a:pathLst>
              <a:path w="160" h="144">
                <a:moveTo>
                  <a:pt x="160" y="46"/>
                </a:moveTo>
                <a:cubicBezTo>
                  <a:pt x="160" y="46"/>
                  <a:pt x="160" y="46"/>
                  <a:pt x="160" y="45"/>
                </a:cubicBezTo>
                <a:cubicBezTo>
                  <a:pt x="160" y="45"/>
                  <a:pt x="160" y="45"/>
                  <a:pt x="160" y="45"/>
                </a:cubicBezTo>
                <a:cubicBezTo>
                  <a:pt x="160" y="45"/>
                  <a:pt x="160" y="45"/>
                  <a:pt x="160" y="45"/>
                </a:cubicBezTo>
                <a:cubicBezTo>
                  <a:pt x="160" y="45"/>
                  <a:pt x="160" y="45"/>
                  <a:pt x="160" y="44"/>
                </a:cubicBezTo>
                <a:cubicBezTo>
                  <a:pt x="160" y="44"/>
                  <a:pt x="160" y="44"/>
                  <a:pt x="160" y="44"/>
                </a:cubicBezTo>
                <a:cubicBezTo>
                  <a:pt x="160" y="44"/>
                  <a:pt x="160" y="44"/>
                  <a:pt x="160" y="44"/>
                </a:cubicBezTo>
                <a:cubicBezTo>
                  <a:pt x="160" y="44"/>
                  <a:pt x="160" y="44"/>
                  <a:pt x="160" y="44"/>
                </a:cubicBezTo>
                <a:cubicBezTo>
                  <a:pt x="133" y="1"/>
                  <a:pt x="133" y="1"/>
                  <a:pt x="133" y="1"/>
                </a:cubicBezTo>
                <a:cubicBezTo>
                  <a:pt x="133" y="1"/>
                  <a:pt x="133" y="1"/>
                  <a:pt x="133" y="1"/>
                </a:cubicBezTo>
                <a:cubicBezTo>
                  <a:pt x="133" y="1"/>
                  <a:pt x="133" y="1"/>
                  <a:pt x="133" y="1"/>
                </a:cubicBezTo>
                <a:cubicBezTo>
                  <a:pt x="132" y="1"/>
                  <a:pt x="132" y="0"/>
                  <a:pt x="132" y="0"/>
                </a:cubicBezTo>
                <a:cubicBezTo>
                  <a:pt x="132" y="0"/>
                  <a:pt x="132" y="0"/>
                  <a:pt x="132" y="0"/>
                </a:cubicBezTo>
                <a:cubicBezTo>
                  <a:pt x="132" y="0"/>
                  <a:pt x="132" y="0"/>
                  <a:pt x="132" y="0"/>
                </a:cubicBezTo>
                <a:cubicBezTo>
                  <a:pt x="131" y="0"/>
                  <a:pt x="131" y="0"/>
                  <a:pt x="131" y="0"/>
                </a:cubicBezTo>
                <a:cubicBezTo>
                  <a:pt x="29" y="0"/>
                  <a:pt x="29" y="0"/>
                  <a:pt x="29" y="0"/>
                </a:cubicBezTo>
                <a:cubicBezTo>
                  <a:pt x="29" y="0"/>
                  <a:pt x="29" y="0"/>
                  <a:pt x="29" y="0"/>
                </a:cubicBezTo>
                <a:cubicBezTo>
                  <a:pt x="28" y="0"/>
                  <a:pt x="28" y="0"/>
                  <a:pt x="28" y="0"/>
                </a:cubicBezTo>
                <a:cubicBezTo>
                  <a:pt x="28" y="0"/>
                  <a:pt x="28" y="0"/>
                  <a:pt x="28" y="0"/>
                </a:cubicBezTo>
                <a:cubicBezTo>
                  <a:pt x="28" y="0"/>
                  <a:pt x="28" y="0"/>
                  <a:pt x="28" y="1"/>
                </a:cubicBezTo>
                <a:cubicBezTo>
                  <a:pt x="28" y="1"/>
                  <a:pt x="28" y="1"/>
                  <a:pt x="28" y="1"/>
                </a:cubicBezTo>
                <a:cubicBezTo>
                  <a:pt x="27" y="1"/>
                  <a:pt x="27" y="1"/>
                  <a:pt x="27" y="1"/>
                </a:cubicBezTo>
                <a:cubicBezTo>
                  <a:pt x="0" y="44"/>
                  <a:pt x="0" y="44"/>
                  <a:pt x="0" y="44"/>
                </a:cubicBezTo>
                <a:cubicBezTo>
                  <a:pt x="0" y="44"/>
                  <a:pt x="0" y="44"/>
                  <a:pt x="0" y="44"/>
                </a:cubicBezTo>
                <a:cubicBezTo>
                  <a:pt x="0" y="44"/>
                  <a:pt x="0" y="44"/>
                  <a:pt x="0" y="44"/>
                </a:cubicBezTo>
                <a:cubicBezTo>
                  <a:pt x="0" y="44"/>
                  <a:pt x="0" y="44"/>
                  <a:pt x="0" y="44"/>
                </a:cubicBezTo>
                <a:cubicBezTo>
                  <a:pt x="0" y="45"/>
                  <a:pt x="0" y="45"/>
                  <a:pt x="0" y="45"/>
                </a:cubicBezTo>
                <a:cubicBezTo>
                  <a:pt x="0" y="45"/>
                  <a:pt x="0" y="45"/>
                  <a:pt x="0" y="45"/>
                </a:cubicBezTo>
                <a:cubicBezTo>
                  <a:pt x="0" y="45"/>
                  <a:pt x="0" y="45"/>
                  <a:pt x="0" y="45"/>
                </a:cubicBezTo>
                <a:cubicBezTo>
                  <a:pt x="0" y="46"/>
                  <a:pt x="0" y="46"/>
                  <a:pt x="0" y="46"/>
                </a:cubicBezTo>
                <a:cubicBezTo>
                  <a:pt x="0" y="46"/>
                  <a:pt x="0" y="46"/>
                  <a:pt x="0" y="46"/>
                </a:cubicBezTo>
                <a:cubicBezTo>
                  <a:pt x="0" y="46"/>
                  <a:pt x="0" y="46"/>
                  <a:pt x="0" y="46"/>
                </a:cubicBezTo>
                <a:cubicBezTo>
                  <a:pt x="0" y="47"/>
                  <a:pt x="0" y="47"/>
                  <a:pt x="0" y="47"/>
                </a:cubicBezTo>
                <a:cubicBezTo>
                  <a:pt x="0" y="47"/>
                  <a:pt x="0" y="47"/>
                  <a:pt x="0" y="47"/>
                </a:cubicBezTo>
                <a:cubicBezTo>
                  <a:pt x="1" y="47"/>
                  <a:pt x="1" y="47"/>
                  <a:pt x="1" y="47"/>
                </a:cubicBezTo>
                <a:cubicBezTo>
                  <a:pt x="78" y="143"/>
                  <a:pt x="78" y="143"/>
                  <a:pt x="78" y="143"/>
                </a:cubicBezTo>
                <a:cubicBezTo>
                  <a:pt x="78" y="143"/>
                  <a:pt x="78" y="143"/>
                  <a:pt x="78" y="143"/>
                </a:cubicBezTo>
                <a:cubicBezTo>
                  <a:pt x="78" y="143"/>
                  <a:pt x="78" y="143"/>
                  <a:pt x="78" y="143"/>
                </a:cubicBezTo>
                <a:cubicBezTo>
                  <a:pt x="78" y="143"/>
                  <a:pt x="78" y="143"/>
                  <a:pt x="78" y="143"/>
                </a:cubicBezTo>
                <a:cubicBezTo>
                  <a:pt x="78" y="143"/>
                  <a:pt x="78" y="144"/>
                  <a:pt x="79" y="144"/>
                </a:cubicBezTo>
                <a:cubicBezTo>
                  <a:pt x="79" y="144"/>
                  <a:pt x="79" y="144"/>
                  <a:pt x="79" y="144"/>
                </a:cubicBezTo>
                <a:cubicBezTo>
                  <a:pt x="79" y="144"/>
                  <a:pt x="80" y="144"/>
                  <a:pt x="80" y="144"/>
                </a:cubicBezTo>
                <a:cubicBezTo>
                  <a:pt x="80" y="144"/>
                  <a:pt x="81" y="144"/>
                  <a:pt x="81" y="144"/>
                </a:cubicBezTo>
                <a:cubicBezTo>
                  <a:pt x="81" y="144"/>
                  <a:pt x="81" y="144"/>
                  <a:pt x="81" y="144"/>
                </a:cubicBezTo>
                <a:cubicBezTo>
                  <a:pt x="81" y="144"/>
                  <a:pt x="81" y="144"/>
                  <a:pt x="81" y="144"/>
                </a:cubicBezTo>
                <a:cubicBezTo>
                  <a:pt x="82" y="143"/>
                  <a:pt x="82" y="143"/>
                  <a:pt x="82" y="143"/>
                </a:cubicBezTo>
                <a:cubicBezTo>
                  <a:pt x="82" y="143"/>
                  <a:pt x="82" y="143"/>
                  <a:pt x="82" y="143"/>
                </a:cubicBezTo>
                <a:cubicBezTo>
                  <a:pt x="159" y="47"/>
                  <a:pt x="159" y="47"/>
                  <a:pt x="159" y="47"/>
                </a:cubicBezTo>
                <a:cubicBezTo>
                  <a:pt x="159" y="47"/>
                  <a:pt x="159" y="47"/>
                  <a:pt x="160" y="47"/>
                </a:cubicBezTo>
                <a:cubicBezTo>
                  <a:pt x="160" y="47"/>
                  <a:pt x="160" y="47"/>
                  <a:pt x="160" y="47"/>
                </a:cubicBezTo>
                <a:cubicBezTo>
                  <a:pt x="160" y="47"/>
                  <a:pt x="160" y="47"/>
                  <a:pt x="160" y="46"/>
                </a:cubicBezTo>
                <a:cubicBezTo>
                  <a:pt x="160" y="46"/>
                  <a:pt x="160" y="46"/>
                  <a:pt x="160" y="46"/>
                </a:cubicBezTo>
                <a:cubicBezTo>
                  <a:pt x="160" y="46"/>
                  <a:pt x="160" y="46"/>
                  <a:pt x="160" y="46"/>
                </a:cubicBezTo>
                <a:close/>
                <a:moveTo>
                  <a:pt x="86" y="5"/>
                </a:moveTo>
                <a:cubicBezTo>
                  <a:pt x="127" y="5"/>
                  <a:pt x="127" y="5"/>
                  <a:pt x="127" y="5"/>
                </a:cubicBezTo>
                <a:cubicBezTo>
                  <a:pt x="114" y="40"/>
                  <a:pt x="114" y="40"/>
                  <a:pt x="114" y="40"/>
                </a:cubicBezTo>
                <a:lnTo>
                  <a:pt x="86" y="5"/>
                </a:lnTo>
                <a:close/>
                <a:moveTo>
                  <a:pt x="109" y="43"/>
                </a:moveTo>
                <a:cubicBezTo>
                  <a:pt x="51" y="43"/>
                  <a:pt x="51" y="43"/>
                  <a:pt x="51" y="43"/>
                </a:cubicBezTo>
                <a:cubicBezTo>
                  <a:pt x="80" y="7"/>
                  <a:pt x="80" y="7"/>
                  <a:pt x="80" y="7"/>
                </a:cubicBezTo>
                <a:lnTo>
                  <a:pt x="109" y="43"/>
                </a:lnTo>
                <a:close/>
                <a:moveTo>
                  <a:pt x="46" y="40"/>
                </a:moveTo>
                <a:cubicBezTo>
                  <a:pt x="33" y="5"/>
                  <a:pt x="33" y="5"/>
                  <a:pt x="33" y="5"/>
                </a:cubicBezTo>
                <a:cubicBezTo>
                  <a:pt x="74" y="5"/>
                  <a:pt x="74" y="5"/>
                  <a:pt x="74" y="5"/>
                </a:cubicBezTo>
                <a:lnTo>
                  <a:pt x="46" y="40"/>
                </a:lnTo>
                <a:close/>
                <a:moveTo>
                  <a:pt x="111" y="48"/>
                </a:moveTo>
                <a:cubicBezTo>
                  <a:pt x="80" y="132"/>
                  <a:pt x="80" y="132"/>
                  <a:pt x="80" y="132"/>
                </a:cubicBezTo>
                <a:cubicBezTo>
                  <a:pt x="49" y="48"/>
                  <a:pt x="49" y="48"/>
                  <a:pt x="49" y="48"/>
                </a:cubicBezTo>
                <a:lnTo>
                  <a:pt x="111" y="48"/>
                </a:lnTo>
                <a:close/>
                <a:moveTo>
                  <a:pt x="131" y="9"/>
                </a:moveTo>
                <a:cubicBezTo>
                  <a:pt x="153" y="43"/>
                  <a:pt x="153" y="43"/>
                  <a:pt x="153" y="43"/>
                </a:cubicBezTo>
                <a:cubicBezTo>
                  <a:pt x="119" y="43"/>
                  <a:pt x="119" y="43"/>
                  <a:pt x="119" y="43"/>
                </a:cubicBezTo>
                <a:lnTo>
                  <a:pt x="131" y="9"/>
                </a:lnTo>
                <a:close/>
                <a:moveTo>
                  <a:pt x="29" y="9"/>
                </a:moveTo>
                <a:cubicBezTo>
                  <a:pt x="41" y="43"/>
                  <a:pt x="41" y="43"/>
                  <a:pt x="41" y="43"/>
                </a:cubicBezTo>
                <a:cubicBezTo>
                  <a:pt x="7" y="43"/>
                  <a:pt x="7" y="43"/>
                  <a:pt x="7" y="43"/>
                </a:cubicBezTo>
                <a:lnTo>
                  <a:pt x="29" y="9"/>
                </a:lnTo>
                <a:close/>
                <a:moveTo>
                  <a:pt x="43" y="48"/>
                </a:moveTo>
                <a:cubicBezTo>
                  <a:pt x="72" y="127"/>
                  <a:pt x="72" y="127"/>
                  <a:pt x="72" y="127"/>
                </a:cubicBezTo>
                <a:cubicBezTo>
                  <a:pt x="8" y="48"/>
                  <a:pt x="8" y="48"/>
                  <a:pt x="8" y="48"/>
                </a:cubicBezTo>
                <a:lnTo>
                  <a:pt x="43" y="48"/>
                </a:lnTo>
                <a:close/>
                <a:moveTo>
                  <a:pt x="86" y="129"/>
                </a:moveTo>
                <a:cubicBezTo>
                  <a:pt x="117" y="48"/>
                  <a:pt x="117" y="48"/>
                  <a:pt x="117" y="48"/>
                </a:cubicBezTo>
                <a:cubicBezTo>
                  <a:pt x="152" y="48"/>
                  <a:pt x="152" y="48"/>
                  <a:pt x="152" y="48"/>
                </a:cubicBezTo>
                <a:lnTo>
                  <a:pt x="86" y="129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en-US">
              <a:latin typeface="Arial" panose="020B0604020202020204" pitchFamily="34" charset="0"/>
              <a:ea typeface="微软雅黑" panose="020B0503020204020204" pitchFamily="34" charset="-122"/>
              <a:cs typeface="思源黑体 CN Regular" panose="020B0500000000000000" charset="-122"/>
              <a:sym typeface="Arial" panose="020B0604020202020204" pitchFamily="34" charset="0"/>
            </a:endParaRPr>
          </a:p>
        </p:txBody>
      </p:sp>
      <p:sp>
        <p:nvSpPr>
          <p:cNvPr id="35" name="Freeform 1147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SpPr>
            <a:spLocks noEditPoints="1"/>
          </p:cNvSpPr>
          <p:nvPr/>
        </p:nvSpPr>
        <p:spPr bwMode="auto">
          <a:xfrm>
            <a:off x="6015582" y="3079929"/>
            <a:ext cx="380584" cy="382753"/>
          </a:xfrm>
          <a:custGeom>
            <a:avLst/>
            <a:gdLst>
              <a:gd name="T0" fmla="*/ 116 w 163"/>
              <a:gd name="T1" fmla="*/ 11 h 163"/>
              <a:gd name="T2" fmla="*/ 11 w 163"/>
              <a:gd name="T3" fmla="*/ 115 h 163"/>
              <a:gd name="T4" fmla="*/ 10 w 163"/>
              <a:gd name="T5" fmla="*/ 116 h 163"/>
              <a:gd name="T6" fmla="*/ 10 w 163"/>
              <a:gd name="T7" fmla="*/ 116 h 163"/>
              <a:gd name="T8" fmla="*/ 0 w 163"/>
              <a:gd name="T9" fmla="*/ 160 h 163"/>
              <a:gd name="T10" fmla="*/ 0 w 163"/>
              <a:gd name="T11" fmla="*/ 161 h 163"/>
              <a:gd name="T12" fmla="*/ 1 w 163"/>
              <a:gd name="T13" fmla="*/ 162 h 163"/>
              <a:gd name="T14" fmla="*/ 3 w 163"/>
              <a:gd name="T15" fmla="*/ 163 h 163"/>
              <a:gd name="T16" fmla="*/ 47 w 163"/>
              <a:gd name="T17" fmla="*/ 153 h 163"/>
              <a:gd name="T18" fmla="*/ 47 w 163"/>
              <a:gd name="T19" fmla="*/ 152 h 163"/>
              <a:gd name="T20" fmla="*/ 48 w 163"/>
              <a:gd name="T21" fmla="*/ 152 h 163"/>
              <a:gd name="T22" fmla="*/ 152 w 163"/>
              <a:gd name="T23" fmla="*/ 47 h 163"/>
              <a:gd name="T24" fmla="*/ 148 w 163"/>
              <a:gd name="T25" fmla="*/ 15 h 163"/>
              <a:gd name="T26" fmla="*/ 122 w 163"/>
              <a:gd name="T27" fmla="*/ 13 h 163"/>
              <a:gd name="T28" fmla="*/ 134 w 163"/>
              <a:gd name="T29" fmla="*/ 58 h 163"/>
              <a:gd name="T30" fmla="*/ 109 w 163"/>
              <a:gd name="T31" fmla="*/ 25 h 163"/>
              <a:gd name="T32" fmla="*/ 134 w 163"/>
              <a:gd name="T33" fmla="*/ 58 h 163"/>
              <a:gd name="T34" fmla="*/ 10 w 163"/>
              <a:gd name="T35" fmla="*/ 149 h 163"/>
              <a:gd name="T36" fmla="*/ 15 w 163"/>
              <a:gd name="T37" fmla="*/ 120 h 163"/>
              <a:gd name="T38" fmla="*/ 27 w 163"/>
              <a:gd name="T39" fmla="*/ 133 h 163"/>
              <a:gd name="T40" fmla="*/ 27 w 163"/>
              <a:gd name="T41" fmla="*/ 134 h 163"/>
              <a:gd name="T42" fmla="*/ 27 w 163"/>
              <a:gd name="T43" fmla="*/ 135 h 163"/>
              <a:gd name="T44" fmla="*/ 27 w 163"/>
              <a:gd name="T45" fmla="*/ 135 h 163"/>
              <a:gd name="T46" fmla="*/ 28 w 163"/>
              <a:gd name="T47" fmla="*/ 136 h 163"/>
              <a:gd name="T48" fmla="*/ 29 w 163"/>
              <a:gd name="T49" fmla="*/ 136 h 163"/>
              <a:gd name="T50" fmla="*/ 30 w 163"/>
              <a:gd name="T51" fmla="*/ 136 h 163"/>
              <a:gd name="T52" fmla="*/ 30 w 163"/>
              <a:gd name="T53" fmla="*/ 136 h 163"/>
              <a:gd name="T54" fmla="*/ 30 w 163"/>
              <a:gd name="T55" fmla="*/ 136 h 163"/>
              <a:gd name="T56" fmla="*/ 43 w 163"/>
              <a:gd name="T57" fmla="*/ 148 h 163"/>
              <a:gd name="T58" fmla="*/ 14 w 163"/>
              <a:gd name="T59" fmla="*/ 153 h 163"/>
              <a:gd name="T60" fmla="*/ 51 w 163"/>
              <a:gd name="T61" fmla="*/ 133 h 163"/>
              <a:gd name="T62" fmla="*/ 116 w 163"/>
              <a:gd name="T63" fmla="*/ 64 h 163"/>
              <a:gd name="T64" fmla="*/ 47 w 163"/>
              <a:gd name="T65" fmla="*/ 129 h 163"/>
              <a:gd name="T66" fmla="*/ 34 w 163"/>
              <a:gd name="T67" fmla="*/ 116 h 163"/>
              <a:gd name="T68" fmla="*/ 99 w 163"/>
              <a:gd name="T69" fmla="*/ 47 h 163"/>
              <a:gd name="T70" fmla="*/ 30 w 163"/>
              <a:gd name="T71" fmla="*/ 112 h 163"/>
              <a:gd name="T72" fmla="*/ 101 w 163"/>
              <a:gd name="T73" fmla="*/ 33 h 163"/>
              <a:gd name="T74" fmla="*/ 50 w 163"/>
              <a:gd name="T75" fmla="*/ 142 h 163"/>
              <a:gd name="T76" fmla="*/ 142 w 163"/>
              <a:gd name="T77" fmla="*/ 50 h 163"/>
              <a:gd name="T78" fmla="*/ 118 w 163"/>
              <a:gd name="T79" fmla="*/ 17 h 163"/>
              <a:gd name="T80" fmla="*/ 142 w 163"/>
              <a:gd name="T81" fmla="*/ 50 h 16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163" h="163">
                <a:moveTo>
                  <a:pt x="152" y="11"/>
                </a:moveTo>
                <a:cubicBezTo>
                  <a:pt x="142" y="0"/>
                  <a:pt x="126" y="0"/>
                  <a:pt x="116" y="11"/>
                </a:cubicBezTo>
                <a:cubicBezTo>
                  <a:pt x="11" y="115"/>
                  <a:pt x="11" y="115"/>
                  <a:pt x="11" y="115"/>
                </a:cubicBezTo>
                <a:cubicBezTo>
                  <a:pt x="11" y="115"/>
                  <a:pt x="11" y="115"/>
                  <a:pt x="11" y="115"/>
                </a:cubicBezTo>
                <a:cubicBezTo>
                  <a:pt x="11" y="115"/>
                  <a:pt x="11" y="115"/>
                  <a:pt x="11" y="115"/>
                </a:cubicBezTo>
                <a:cubicBezTo>
                  <a:pt x="11" y="116"/>
                  <a:pt x="11" y="116"/>
                  <a:pt x="10" y="116"/>
                </a:cubicBezTo>
                <a:cubicBezTo>
                  <a:pt x="10" y="116"/>
                  <a:pt x="10" y="116"/>
                  <a:pt x="10" y="116"/>
                </a:cubicBezTo>
                <a:cubicBezTo>
                  <a:pt x="10" y="116"/>
                  <a:pt x="10" y="116"/>
                  <a:pt x="10" y="116"/>
                </a:cubicBezTo>
                <a:cubicBezTo>
                  <a:pt x="0" y="159"/>
                  <a:pt x="0" y="159"/>
                  <a:pt x="0" y="159"/>
                </a:cubicBezTo>
                <a:cubicBezTo>
                  <a:pt x="0" y="160"/>
                  <a:pt x="0" y="160"/>
                  <a:pt x="0" y="160"/>
                </a:cubicBezTo>
                <a:cubicBezTo>
                  <a:pt x="0" y="160"/>
                  <a:pt x="0" y="160"/>
                  <a:pt x="0" y="160"/>
                </a:cubicBezTo>
                <a:cubicBezTo>
                  <a:pt x="0" y="160"/>
                  <a:pt x="0" y="161"/>
                  <a:pt x="0" y="161"/>
                </a:cubicBezTo>
                <a:cubicBezTo>
                  <a:pt x="0" y="161"/>
                  <a:pt x="0" y="161"/>
                  <a:pt x="0" y="161"/>
                </a:cubicBezTo>
                <a:cubicBezTo>
                  <a:pt x="0" y="162"/>
                  <a:pt x="1" y="162"/>
                  <a:pt x="1" y="162"/>
                </a:cubicBezTo>
                <a:cubicBezTo>
                  <a:pt x="1" y="162"/>
                  <a:pt x="1" y="163"/>
                  <a:pt x="2" y="163"/>
                </a:cubicBezTo>
                <a:cubicBezTo>
                  <a:pt x="2" y="163"/>
                  <a:pt x="3" y="163"/>
                  <a:pt x="3" y="163"/>
                </a:cubicBezTo>
                <a:cubicBezTo>
                  <a:pt x="3" y="163"/>
                  <a:pt x="3" y="163"/>
                  <a:pt x="4" y="163"/>
                </a:cubicBezTo>
                <a:cubicBezTo>
                  <a:pt x="47" y="153"/>
                  <a:pt x="47" y="153"/>
                  <a:pt x="47" y="153"/>
                </a:cubicBezTo>
                <a:cubicBezTo>
                  <a:pt x="47" y="153"/>
                  <a:pt x="47" y="153"/>
                  <a:pt x="47" y="153"/>
                </a:cubicBezTo>
                <a:cubicBezTo>
                  <a:pt x="47" y="153"/>
                  <a:pt x="47" y="153"/>
                  <a:pt x="47" y="152"/>
                </a:cubicBezTo>
                <a:cubicBezTo>
                  <a:pt x="47" y="152"/>
                  <a:pt x="47" y="152"/>
                  <a:pt x="48" y="152"/>
                </a:cubicBezTo>
                <a:cubicBezTo>
                  <a:pt x="48" y="152"/>
                  <a:pt x="48" y="152"/>
                  <a:pt x="48" y="152"/>
                </a:cubicBezTo>
                <a:cubicBezTo>
                  <a:pt x="48" y="152"/>
                  <a:pt x="48" y="152"/>
                  <a:pt x="48" y="152"/>
                </a:cubicBezTo>
                <a:cubicBezTo>
                  <a:pt x="152" y="47"/>
                  <a:pt x="152" y="47"/>
                  <a:pt x="152" y="47"/>
                </a:cubicBezTo>
                <a:cubicBezTo>
                  <a:pt x="163" y="37"/>
                  <a:pt x="163" y="21"/>
                  <a:pt x="152" y="11"/>
                </a:cubicBezTo>
                <a:close/>
                <a:moveTo>
                  <a:pt x="148" y="15"/>
                </a:moveTo>
                <a:cubicBezTo>
                  <a:pt x="155" y="22"/>
                  <a:pt x="156" y="33"/>
                  <a:pt x="150" y="41"/>
                </a:cubicBezTo>
                <a:cubicBezTo>
                  <a:pt x="122" y="13"/>
                  <a:pt x="122" y="13"/>
                  <a:pt x="122" y="13"/>
                </a:cubicBezTo>
                <a:cubicBezTo>
                  <a:pt x="130" y="7"/>
                  <a:pt x="141" y="8"/>
                  <a:pt x="148" y="15"/>
                </a:cubicBezTo>
                <a:close/>
                <a:moveTo>
                  <a:pt x="134" y="58"/>
                </a:moveTo>
                <a:cubicBezTo>
                  <a:pt x="105" y="29"/>
                  <a:pt x="105" y="29"/>
                  <a:pt x="105" y="29"/>
                </a:cubicBezTo>
                <a:cubicBezTo>
                  <a:pt x="109" y="25"/>
                  <a:pt x="109" y="25"/>
                  <a:pt x="109" y="25"/>
                </a:cubicBezTo>
                <a:cubicBezTo>
                  <a:pt x="138" y="54"/>
                  <a:pt x="138" y="54"/>
                  <a:pt x="138" y="54"/>
                </a:cubicBezTo>
                <a:lnTo>
                  <a:pt x="134" y="58"/>
                </a:lnTo>
                <a:close/>
                <a:moveTo>
                  <a:pt x="14" y="149"/>
                </a:moveTo>
                <a:cubicBezTo>
                  <a:pt x="13" y="148"/>
                  <a:pt x="11" y="148"/>
                  <a:pt x="10" y="149"/>
                </a:cubicBezTo>
                <a:cubicBezTo>
                  <a:pt x="8" y="151"/>
                  <a:pt x="8" y="151"/>
                  <a:pt x="8" y="151"/>
                </a:cubicBezTo>
                <a:cubicBezTo>
                  <a:pt x="15" y="120"/>
                  <a:pt x="15" y="120"/>
                  <a:pt x="15" y="120"/>
                </a:cubicBezTo>
                <a:cubicBezTo>
                  <a:pt x="28" y="118"/>
                  <a:pt x="28" y="118"/>
                  <a:pt x="28" y="118"/>
                </a:cubicBezTo>
                <a:cubicBezTo>
                  <a:pt x="27" y="133"/>
                  <a:pt x="27" y="133"/>
                  <a:pt x="27" y="133"/>
                </a:cubicBezTo>
                <a:cubicBezTo>
                  <a:pt x="27" y="133"/>
                  <a:pt x="27" y="133"/>
                  <a:pt x="27" y="133"/>
                </a:cubicBezTo>
                <a:cubicBezTo>
                  <a:pt x="27" y="134"/>
                  <a:pt x="27" y="134"/>
                  <a:pt x="27" y="134"/>
                </a:cubicBezTo>
                <a:cubicBezTo>
                  <a:pt x="27" y="134"/>
                  <a:pt x="27" y="134"/>
                  <a:pt x="27" y="134"/>
                </a:cubicBezTo>
                <a:cubicBezTo>
                  <a:pt x="27" y="134"/>
                  <a:pt x="27" y="134"/>
                  <a:pt x="27" y="135"/>
                </a:cubicBezTo>
                <a:cubicBezTo>
                  <a:pt x="27" y="135"/>
                  <a:pt x="27" y="135"/>
                  <a:pt x="27" y="135"/>
                </a:cubicBezTo>
                <a:cubicBezTo>
                  <a:pt x="27" y="135"/>
                  <a:pt x="27" y="135"/>
                  <a:pt x="27" y="135"/>
                </a:cubicBezTo>
                <a:cubicBezTo>
                  <a:pt x="28" y="136"/>
                  <a:pt x="28" y="136"/>
                  <a:pt x="28" y="136"/>
                </a:cubicBezTo>
                <a:cubicBezTo>
                  <a:pt x="28" y="136"/>
                  <a:pt x="28" y="136"/>
                  <a:pt x="28" y="136"/>
                </a:cubicBezTo>
                <a:cubicBezTo>
                  <a:pt x="28" y="136"/>
                  <a:pt x="29" y="136"/>
                  <a:pt x="29" y="136"/>
                </a:cubicBezTo>
                <a:cubicBezTo>
                  <a:pt x="29" y="136"/>
                  <a:pt x="29" y="136"/>
                  <a:pt x="29" y="136"/>
                </a:cubicBezTo>
                <a:cubicBezTo>
                  <a:pt x="29" y="136"/>
                  <a:pt x="29" y="136"/>
                  <a:pt x="30" y="136"/>
                </a:cubicBezTo>
                <a:cubicBezTo>
                  <a:pt x="30" y="136"/>
                  <a:pt x="30" y="136"/>
                  <a:pt x="30" y="136"/>
                </a:cubicBezTo>
                <a:cubicBezTo>
                  <a:pt x="30" y="136"/>
                  <a:pt x="30" y="136"/>
                  <a:pt x="30" y="136"/>
                </a:cubicBezTo>
                <a:cubicBezTo>
                  <a:pt x="30" y="136"/>
                  <a:pt x="30" y="136"/>
                  <a:pt x="30" y="136"/>
                </a:cubicBezTo>
                <a:cubicBezTo>
                  <a:pt x="30" y="136"/>
                  <a:pt x="30" y="136"/>
                  <a:pt x="30" y="136"/>
                </a:cubicBezTo>
                <a:cubicBezTo>
                  <a:pt x="30" y="136"/>
                  <a:pt x="30" y="136"/>
                  <a:pt x="30" y="136"/>
                </a:cubicBezTo>
                <a:cubicBezTo>
                  <a:pt x="45" y="135"/>
                  <a:pt x="45" y="135"/>
                  <a:pt x="45" y="135"/>
                </a:cubicBezTo>
                <a:cubicBezTo>
                  <a:pt x="43" y="148"/>
                  <a:pt x="43" y="148"/>
                  <a:pt x="43" y="148"/>
                </a:cubicBezTo>
                <a:cubicBezTo>
                  <a:pt x="12" y="155"/>
                  <a:pt x="12" y="155"/>
                  <a:pt x="12" y="155"/>
                </a:cubicBezTo>
                <a:cubicBezTo>
                  <a:pt x="14" y="153"/>
                  <a:pt x="14" y="153"/>
                  <a:pt x="14" y="153"/>
                </a:cubicBezTo>
                <a:cubicBezTo>
                  <a:pt x="15" y="152"/>
                  <a:pt x="15" y="150"/>
                  <a:pt x="14" y="149"/>
                </a:cubicBezTo>
                <a:close/>
                <a:moveTo>
                  <a:pt x="51" y="133"/>
                </a:moveTo>
                <a:cubicBezTo>
                  <a:pt x="116" y="68"/>
                  <a:pt x="116" y="68"/>
                  <a:pt x="116" y="68"/>
                </a:cubicBezTo>
                <a:cubicBezTo>
                  <a:pt x="117" y="67"/>
                  <a:pt x="117" y="65"/>
                  <a:pt x="116" y="64"/>
                </a:cubicBezTo>
                <a:cubicBezTo>
                  <a:pt x="114" y="63"/>
                  <a:pt x="113" y="63"/>
                  <a:pt x="111" y="64"/>
                </a:cubicBezTo>
                <a:cubicBezTo>
                  <a:pt x="47" y="129"/>
                  <a:pt x="47" y="129"/>
                  <a:pt x="47" y="129"/>
                </a:cubicBezTo>
                <a:cubicBezTo>
                  <a:pt x="33" y="130"/>
                  <a:pt x="33" y="130"/>
                  <a:pt x="33" y="130"/>
                </a:cubicBezTo>
                <a:cubicBezTo>
                  <a:pt x="34" y="116"/>
                  <a:pt x="34" y="116"/>
                  <a:pt x="34" y="116"/>
                </a:cubicBezTo>
                <a:cubicBezTo>
                  <a:pt x="99" y="52"/>
                  <a:pt x="99" y="52"/>
                  <a:pt x="99" y="52"/>
                </a:cubicBezTo>
                <a:cubicBezTo>
                  <a:pt x="100" y="50"/>
                  <a:pt x="100" y="49"/>
                  <a:pt x="99" y="47"/>
                </a:cubicBezTo>
                <a:cubicBezTo>
                  <a:pt x="98" y="46"/>
                  <a:pt x="96" y="46"/>
                  <a:pt x="95" y="47"/>
                </a:cubicBezTo>
                <a:cubicBezTo>
                  <a:pt x="30" y="112"/>
                  <a:pt x="30" y="112"/>
                  <a:pt x="30" y="112"/>
                </a:cubicBezTo>
                <a:cubicBezTo>
                  <a:pt x="21" y="113"/>
                  <a:pt x="21" y="113"/>
                  <a:pt x="21" y="113"/>
                </a:cubicBezTo>
                <a:cubicBezTo>
                  <a:pt x="101" y="33"/>
                  <a:pt x="101" y="33"/>
                  <a:pt x="101" y="33"/>
                </a:cubicBezTo>
                <a:cubicBezTo>
                  <a:pt x="130" y="62"/>
                  <a:pt x="130" y="62"/>
                  <a:pt x="130" y="62"/>
                </a:cubicBezTo>
                <a:cubicBezTo>
                  <a:pt x="50" y="142"/>
                  <a:pt x="50" y="142"/>
                  <a:pt x="50" y="142"/>
                </a:cubicBezTo>
                <a:lnTo>
                  <a:pt x="51" y="133"/>
                </a:lnTo>
                <a:close/>
                <a:moveTo>
                  <a:pt x="142" y="50"/>
                </a:moveTo>
                <a:cubicBezTo>
                  <a:pt x="113" y="21"/>
                  <a:pt x="113" y="21"/>
                  <a:pt x="113" y="21"/>
                </a:cubicBezTo>
                <a:cubicBezTo>
                  <a:pt x="118" y="17"/>
                  <a:pt x="118" y="17"/>
                  <a:pt x="118" y="17"/>
                </a:cubicBezTo>
                <a:cubicBezTo>
                  <a:pt x="146" y="45"/>
                  <a:pt x="146" y="45"/>
                  <a:pt x="146" y="45"/>
                </a:cubicBezTo>
                <a:lnTo>
                  <a:pt x="142" y="5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en-US">
              <a:latin typeface="Arial" panose="020B0604020202020204" pitchFamily="34" charset="0"/>
              <a:ea typeface="微软雅黑" panose="020B0503020204020204" pitchFamily="34" charset="-122"/>
              <a:cs typeface="思源黑体 CN Regular" panose="020B0500000000000000" charset="-122"/>
              <a:sym typeface="Arial" panose="020B0604020202020204" pitchFamily="34" charset="0"/>
            </a:endParaRPr>
          </a:p>
        </p:txBody>
      </p:sp>
      <p:sp>
        <p:nvSpPr>
          <p:cNvPr id="36" name="Freeform 2123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SpPr>
            <a:spLocks noEditPoints="1"/>
          </p:cNvSpPr>
          <p:nvPr/>
        </p:nvSpPr>
        <p:spPr bwMode="auto">
          <a:xfrm>
            <a:off x="7235070" y="5000215"/>
            <a:ext cx="344803" cy="375162"/>
          </a:xfrm>
          <a:custGeom>
            <a:avLst/>
            <a:gdLst>
              <a:gd name="T0" fmla="*/ 24 w 148"/>
              <a:gd name="T1" fmla="*/ 74 h 160"/>
              <a:gd name="T2" fmla="*/ 56 w 148"/>
              <a:gd name="T3" fmla="*/ 148 h 160"/>
              <a:gd name="T4" fmla="*/ 62 w 148"/>
              <a:gd name="T5" fmla="*/ 151 h 160"/>
              <a:gd name="T6" fmla="*/ 65 w 148"/>
              <a:gd name="T7" fmla="*/ 160 h 160"/>
              <a:gd name="T8" fmla="*/ 86 w 148"/>
              <a:gd name="T9" fmla="*/ 157 h 160"/>
              <a:gd name="T10" fmla="*/ 89 w 148"/>
              <a:gd name="T11" fmla="*/ 151 h 160"/>
              <a:gd name="T12" fmla="*/ 92 w 148"/>
              <a:gd name="T13" fmla="*/ 121 h 160"/>
              <a:gd name="T14" fmla="*/ 74 w 148"/>
              <a:gd name="T15" fmla="*/ 24 h 160"/>
              <a:gd name="T16" fmla="*/ 80 w 148"/>
              <a:gd name="T17" fmla="*/ 148 h 160"/>
              <a:gd name="T18" fmla="*/ 68 w 148"/>
              <a:gd name="T19" fmla="*/ 154 h 160"/>
              <a:gd name="T20" fmla="*/ 65 w 148"/>
              <a:gd name="T21" fmla="*/ 145 h 160"/>
              <a:gd name="T22" fmla="*/ 62 w 148"/>
              <a:gd name="T23" fmla="*/ 130 h 160"/>
              <a:gd name="T24" fmla="*/ 86 w 148"/>
              <a:gd name="T25" fmla="*/ 145 h 160"/>
              <a:gd name="T26" fmla="*/ 88 w 148"/>
              <a:gd name="T27" fmla="*/ 116 h 160"/>
              <a:gd name="T28" fmla="*/ 86 w 148"/>
              <a:gd name="T29" fmla="*/ 124 h 160"/>
              <a:gd name="T30" fmla="*/ 62 w 148"/>
              <a:gd name="T31" fmla="*/ 119 h 160"/>
              <a:gd name="T32" fmla="*/ 30 w 148"/>
              <a:gd name="T33" fmla="*/ 74 h 160"/>
              <a:gd name="T34" fmla="*/ 119 w 148"/>
              <a:gd name="T35" fmla="*/ 74 h 160"/>
              <a:gd name="T36" fmla="*/ 71 w 148"/>
              <a:gd name="T37" fmla="*/ 15 h 160"/>
              <a:gd name="T38" fmla="*/ 74 w 148"/>
              <a:gd name="T39" fmla="*/ 0 h 160"/>
              <a:gd name="T40" fmla="*/ 77 w 148"/>
              <a:gd name="T41" fmla="*/ 15 h 160"/>
              <a:gd name="T42" fmla="*/ 71 w 148"/>
              <a:gd name="T43" fmla="*/ 15 h 160"/>
              <a:gd name="T44" fmla="*/ 145 w 148"/>
              <a:gd name="T45" fmla="*/ 77 h 160"/>
              <a:gd name="T46" fmla="*/ 130 w 148"/>
              <a:gd name="T47" fmla="*/ 74 h 160"/>
              <a:gd name="T48" fmla="*/ 145 w 148"/>
              <a:gd name="T49" fmla="*/ 71 h 160"/>
              <a:gd name="T50" fmla="*/ 18 w 148"/>
              <a:gd name="T51" fmla="*/ 74 h 160"/>
              <a:gd name="T52" fmla="*/ 3 w 148"/>
              <a:gd name="T53" fmla="*/ 77 h 160"/>
              <a:gd name="T54" fmla="*/ 3 w 148"/>
              <a:gd name="T55" fmla="*/ 71 h 160"/>
              <a:gd name="T56" fmla="*/ 18 w 148"/>
              <a:gd name="T57" fmla="*/ 74 h 160"/>
              <a:gd name="T58" fmla="*/ 126 w 148"/>
              <a:gd name="T59" fmla="*/ 26 h 160"/>
              <a:gd name="T60" fmla="*/ 116 w 148"/>
              <a:gd name="T61" fmla="*/ 35 h 160"/>
              <a:gd name="T62" fmla="*/ 114 w 148"/>
              <a:gd name="T63" fmla="*/ 30 h 160"/>
              <a:gd name="T64" fmla="*/ 126 w 148"/>
              <a:gd name="T65" fmla="*/ 22 h 160"/>
              <a:gd name="T66" fmla="*/ 34 w 148"/>
              <a:gd name="T67" fmla="*/ 118 h 160"/>
              <a:gd name="T68" fmla="*/ 24 w 148"/>
              <a:gd name="T69" fmla="*/ 127 h 160"/>
              <a:gd name="T70" fmla="*/ 22 w 148"/>
              <a:gd name="T71" fmla="*/ 122 h 160"/>
              <a:gd name="T72" fmla="*/ 34 w 148"/>
              <a:gd name="T73" fmla="*/ 114 h 160"/>
              <a:gd name="T74" fmla="*/ 126 w 148"/>
              <a:gd name="T75" fmla="*/ 126 h 160"/>
              <a:gd name="T76" fmla="*/ 122 w 148"/>
              <a:gd name="T77" fmla="*/ 126 h 160"/>
              <a:gd name="T78" fmla="*/ 114 w 148"/>
              <a:gd name="T79" fmla="*/ 114 h 160"/>
              <a:gd name="T80" fmla="*/ 126 w 148"/>
              <a:gd name="T81" fmla="*/ 122 h 160"/>
              <a:gd name="T82" fmla="*/ 22 w 148"/>
              <a:gd name="T83" fmla="*/ 22 h 160"/>
              <a:gd name="T84" fmla="*/ 34 w 148"/>
              <a:gd name="T85" fmla="*/ 30 h 160"/>
              <a:gd name="T86" fmla="*/ 32 w 148"/>
              <a:gd name="T87" fmla="*/ 35 h 160"/>
              <a:gd name="T88" fmla="*/ 22 w 148"/>
              <a:gd name="T89" fmla="*/ 26 h 160"/>
              <a:gd name="T90" fmla="*/ 74 w 148"/>
              <a:gd name="T91" fmla="*/ 44 h 160"/>
              <a:gd name="T92" fmla="*/ 41 w 148"/>
              <a:gd name="T93" fmla="*/ 77 h 160"/>
              <a:gd name="T94" fmla="*/ 74 w 148"/>
              <a:gd name="T95" fmla="*/ 39 h 1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148" h="160">
                <a:moveTo>
                  <a:pt x="74" y="24"/>
                </a:moveTo>
                <a:cubicBezTo>
                  <a:pt x="46" y="24"/>
                  <a:pt x="24" y="46"/>
                  <a:pt x="24" y="74"/>
                </a:cubicBezTo>
                <a:cubicBezTo>
                  <a:pt x="24" y="95"/>
                  <a:pt x="37" y="114"/>
                  <a:pt x="56" y="121"/>
                </a:cubicBezTo>
                <a:cubicBezTo>
                  <a:pt x="56" y="148"/>
                  <a:pt x="56" y="148"/>
                  <a:pt x="56" y="148"/>
                </a:cubicBezTo>
                <a:cubicBezTo>
                  <a:pt x="56" y="150"/>
                  <a:pt x="58" y="151"/>
                  <a:pt x="59" y="151"/>
                </a:cubicBezTo>
                <a:cubicBezTo>
                  <a:pt x="62" y="151"/>
                  <a:pt x="62" y="151"/>
                  <a:pt x="62" y="151"/>
                </a:cubicBezTo>
                <a:cubicBezTo>
                  <a:pt x="62" y="157"/>
                  <a:pt x="62" y="157"/>
                  <a:pt x="62" y="157"/>
                </a:cubicBezTo>
                <a:cubicBezTo>
                  <a:pt x="62" y="159"/>
                  <a:pt x="64" y="160"/>
                  <a:pt x="65" y="160"/>
                </a:cubicBezTo>
                <a:cubicBezTo>
                  <a:pt x="83" y="160"/>
                  <a:pt x="83" y="160"/>
                  <a:pt x="83" y="160"/>
                </a:cubicBezTo>
                <a:cubicBezTo>
                  <a:pt x="85" y="160"/>
                  <a:pt x="86" y="159"/>
                  <a:pt x="86" y="157"/>
                </a:cubicBezTo>
                <a:cubicBezTo>
                  <a:pt x="86" y="151"/>
                  <a:pt x="86" y="151"/>
                  <a:pt x="86" y="151"/>
                </a:cubicBezTo>
                <a:cubicBezTo>
                  <a:pt x="89" y="151"/>
                  <a:pt x="89" y="151"/>
                  <a:pt x="89" y="151"/>
                </a:cubicBezTo>
                <a:cubicBezTo>
                  <a:pt x="91" y="151"/>
                  <a:pt x="92" y="150"/>
                  <a:pt x="92" y="148"/>
                </a:cubicBezTo>
                <a:cubicBezTo>
                  <a:pt x="92" y="121"/>
                  <a:pt x="92" y="121"/>
                  <a:pt x="92" y="121"/>
                </a:cubicBezTo>
                <a:cubicBezTo>
                  <a:pt x="111" y="114"/>
                  <a:pt x="124" y="95"/>
                  <a:pt x="124" y="74"/>
                </a:cubicBezTo>
                <a:cubicBezTo>
                  <a:pt x="124" y="46"/>
                  <a:pt x="102" y="24"/>
                  <a:pt x="74" y="24"/>
                </a:cubicBezTo>
                <a:close/>
                <a:moveTo>
                  <a:pt x="83" y="145"/>
                </a:moveTo>
                <a:cubicBezTo>
                  <a:pt x="81" y="145"/>
                  <a:pt x="80" y="147"/>
                  <a:pt x="80" y="148"/>
                </a:cubicBezTo>
                <a:cubicBezTo>
                  <a:pt x="80" y="154"/>
                  <a:pt x="80" y="154"/>
                  <a:pt x="80" y="154"/>
                </a:cubicBezTo>
                <a:cubicBezTo>
                  <a:pt x="68" y="154"/>
                  <a:pt x="68" y="154"/>
                  <a:pt x="68" y="154"/>
                </a:cubicBezTo>
                <a:cubicBezTo>
                  <a:pt x="68" y="148"/>
                  <a:pt x="68" y="148"/>
                  <a:pt x="68" y="148"/>
                </a:cubicBezTo>
                <a:cubicBezTo>
                  <a:pt x="68" y="147"/>
                  <a:pt x="67" y="145"/>
                  <a:pt x="65" y="145"/>
                </a:cubicBezTo>
                <a:cubicBezTo>
                  <a:pt x="62" y="145"/>
                  <a:pt x="62" y="145"/>
                  <a:pt x="62" y="145"/>
                </a:cubicBezTo>
                <a:cubicBezTo>
                  <a:pt x="62" y="130"/>
                  <a:pt x="62" y="130"/>
                  <a:pt x="62" y="130"/>
                </a:cubicBezTo>
                <a:cubicBezTo>
                  <a:pt x="86" y="130"/>
                  <a:pt x="86" y="130"/>
                  <a:pt x="86" y="130"/>
                </a:cubicBezTo>
                <a:cubicBezTo>
                  <a:pt x="86" y="145"/>
                  <a:pt x="86" y="145"/>
                  <a:pt x="86" y="145"/>
                </a:cubicBezTo>
                <a:lnTo>
                  <a:pt x="83" y="145"/>
                </a:lnTo>
                <a:close/>
                <a:moveTo>
                  <a:pt x="88" y="116"/>
                </a:moveTo>
                <a:cubicBezTo>
                  <a:pt x="87" y="117"/>
                  <a:pt x="86" y="118"/>
                  <a:pt x="86" y="119"/>
                </a:cubicBezTo>
                <a:cubicBezTo>
                  <a:pt x="86" y="124"/>
                  <a:pt x="86" y="124"/>
                  <a:pt x="86" y="124"/>
                </a:cubicBezTo>
                <a:cubicBezTo>
                  <a:pt x="62" y="124"/>
                  <a:pt x="62" y="124"/>
                  <a:pt x="62" y="124"/>
                </a:cubicBezTo>
                <a:cubicBezTo>
                  <a:pt x="62" y="119"/>
                  <a:pt x="62" y="119"/>
                  <a:pt x="62" y="119"/>
                </a:cubicBezTo>
                <a:cubicBezTo>
                  <a:pt x="62" y="118"/>
                  <a:pt x="61" y="117"/>
                  <a:pt x="60" y="116"/>
                </a:cubicBezTo>
                <a:cubicBezTo>
                  <a:pt x="42" y="110"/>
                  <a:pt x="30" y="93"/>
                  <a:pt x="30" y="74"/>
                </a:cubicBezTo>
                <a:cubicBezTo>
                  <a:pt x="30" y="50"/>
                  <a:pt x="50" y="30"/>
                  <a:pt x="74" y="30"/>
                </a:cubicBezTo>
                <a:cubicBezTo>
                  <a:pt x="99" y="30"/>
                  <a:pt x="119" y="50"/>
                  <a:pt x="119" y="74"/>
                </a:cubicBezTo>
                <a:cubicBezTo>
                  <a:pt x="119" y="93"/>
                  <a:pt x="106" y="110"/>
                  <a:pt x="88" y="116"/>
                </a:cubicBezTo>
                <a:close/>
                <a:moveTo>
                  <a:pt x="71" y="15"/>
                </a:moveTo>
                <a:cubicBezTo>
                  <a:pt x="71" y="3"/>
                  <a:pt x="71" y="3"/>
                  <a:pt x="71" y="3"/>
                </a:cubicBezTo>
                <a:cubicBezTo>
                  <a:pt x="71" y="1"/>
                  <a:pt x="72" y="0"/>
                  <a:pt x="74" y="0"/>
                </a:cubicBezTo>
                <a:cubicBezTo>
                  <a:pt x="76" y="0"/>
                  <a:pt x="77" y="1"/>
                  <a:pt x="77" y="3"/>
                </a:cubicBezTo>
                <a:cubicBezTo>
                  <a:pt x="77" y="15"/>
                  <a:pt x="77" y="15"/>
                  <a:pt x="77" y="15"/>
                </a:cubicBezTo>
                <a:cubicBezTo>
                  <a:pt x="77" y="16"/>
                  <a:pt x="76" y="18"/>
                  <a:pt x="74" y="18"/>
                </a:cubicBezTo>
                <a:cubicBezTo>
                  <a:pt x="72" y="18"/>
                  <a:pt x="71" y="16"/>
                  <a:pt x="71" y="15"/>
                </a:cubicBezTo>
                <a:close/>
                <a:moveTo>
                  <a:pt x="148" y="74"/>
                </a:moveTo>
                <a:cubicBezTo>
                  <a:pt x="148" y="76"/>
                  <a:pt x="147" y="77"/>
                  <a:pt x="145" y="77"/>
                </a:cubicBezTo>
                <a:cubicBezTo>
                  <a:pt x="133" y="77"/>
                  <a:pt x="133" y="77"/>
                  <a:pt x="133" y="77"/>
                </a:cubicBezTo>
                <a:cubicBezTo>
                  <a:pt x="132" y="77"/>
                  <a:pt x="130" y="76"/>
                  <a:pt x="130" y="74"/>
                </a:cubicBezTo>
                <a:cubicBezTo>
                  <a:pt x="130" y="72"/>
                  <a:pt x="132" y="71"/>
                  <a:pt x="133" y="71"/>
                </a:cubicBezTo>
                <a:cubicBezTo>
                  <a:pt x="145" y="71"/>
                  <a:pt x="145" y="71"/>
                  <a:pt x="145" y="71"/>
                </a:cubicBezTo>
                <a:cubicBezTo>
                  <a:pt x="147" y="71"/>
                  <a:pt x="148" y="72"/>
                  <a:pt x="148" y="74"/>
                </a:cubicBezTo>
                <a:close/>
                <a:moveTo>
                  <a:pt x="18" y="74"/>
                </a:moveTo>
                <a:cubicBezTo>
                  <a:pt x="18" y="76"/>
                  <a:pt x="16" y="77"/>
                  <a:pt x="15" y="77"/>
                </a:cubicBezTo>
                <a:cubicBezTo>
                  <a:pt x="3" y="77"/>
                  <a:pt x="3" y="77"/>
                  <a:pt x="3" y="77"/>
                </a:cubicBezTo>
                <a:cubicBezTo>
                  <a:pt x="1" y="77"/>
                  <a:pt x="0" y="76"/>
                  <a:pt x="0" y="74"/>
                </a:cubicBezTo>
                <a:cubicBezTo>
                  <a:pt x="0" y="72"/>
                  <a:pt x="1" y="71"/>
                  <a:pt x="3" y="71"/>
                </a:cubicBezTo>
                <a:cubicBezTo>
                  <a:pt x="15" y="71"/>
                  <a:pt x="15" y="71"/>
                  <a:pt x="15" y="71"/>
                </a:cubicBezTo>
                <a:cubicBezTo>
                  <a:pt x="16" y="71"/>
                  <a:pt x="18" y="72"/>
                  <a:pt x="18" y="74"/>
                </a:cubicBezTo>
                <a:close/>
                <a:moveTo>
                  <a:pt x="126" y="22"/>
                </a:moveTo>
                <a:cubicBezTo>
                  <a:pt x="128" y="23"/>
                  <a:pt x="128" y="25"/>
                  <a:pt x="126" y="26"/>
                </a:cubicBezTo>
                <a:cubicBezTo>
                  <a:pt x="118" y="34"/>
                  <a:pt x="118" y="34"/>
                  <a:pt x="118" y="34"/>
                </a:cubicBezTo>
                <a:cubicBezTo>
                  <a:pt x="117" y="35"/>
                  <a:pt x="117" y="35"/>
                  <a:pt x="116" y="35"/>
                </a:cubicBezTo>
                <a:cubicBezTo>
                  <a:pt x="115" y="35"/>
                  <a:pt x="114" y="35"/>
                  <a:pt x="114" y="34"/>
                </a:cubicBezTo>
                <a:cubicBezTo>
                  <a:pt x="113" y="33"/>
                  <a:pt x="113" y="31"/>
                  <a:pt x="114" y="30"/>
                </a:cubicBezTo>
                <a:cubicBezTo>
                  <a:pt x="122" y="22"/>
                  <a:pt x="122" y="22"/>
                  <a:pt x="122" y="22"/>
                </a:cubicBezTo>
                <a:cubicBezTo>
                  <a:pt x="123" y="21"/>
                  <a:pt x="125" y="21"/>
                  <a:pt x="126" y="22"/>
                </a:cubicBezTo>
                <a:close/>
                <a:moveTo>
                  <a:pt x="34" y="114"/>
                </a:moveTo>
                <a:cubicBezTo>
                  <a:pt x="35" y="115"/>
                  <a:pt x="35" y="117"/>
                  <a:pt x="34" y="118"/>
                </a:cubicBezTo>
                <a:cubicBezTo>
                  <a:pt x="26" y="126"/>
                  <a:pt x="26" y="126"/>
                  <a:pt x="26" y="126"/>
                </a:cubicBezTo>
                <a:cubicBezTo>
                  <a:pt x="25" y="127"/>
                  <a:pt x="25" y="127"/>
                  <a:pt x="24" y="127"/>
                </a:cubicBezTo>
                <a:cubicBezTo>
                  <a:pt x="23" y="127"/>
                  <a:pt x="22" y="127"/>
                  <a:pt x="22" y="126"/>
                </a:cubicBezTo>
                <a:cubicBezTo>
                  <a:pt x="21" y="125"/>
                  <a:pt x="21" y="123"/>
                  <a:pt x="22" y="122"/>
                </a:cubicBezTo>
                <a:cubicBezTo>
                  <a:pt x="30" y="114"/>
                  <a:pt x="30" y="114"/>
                  <a:pt x="30" y="114"/>
                </a:cubicBezTo>
                <a:cubicBezTo>
                  <a:pt x="31" y="113"/>
                  <a:pt x="33" y="113"/>
                  <a:pt x="34" y="114"/>
                </a:cubicBezTo>
                <a:close/>
                <a:moveTo>
                  <a:pt x="126" y="122"/>
                </a:moveTo>
                <a:cubicBezTo>
                  <a:pt x="128" y="123"/>
                  <a:pt x="128" y="125"/>
                  <a:pt x="126" y="126"/>
                </a:cubicBezTo>
                <a:cubicBezTo>
                  <a:pt x="126" y="127"/>
                  <a:pt x="125" y="127"/>
                  <a:pt x="124" y="127"/>
                </a:cubicBezTo>
                <a:cubicBezTo>
                  <a:pt x="124" y="127"/>
                  <a:pt x="123" y="127"/>
                  <a:pt x="122" y="126"/>
                </a:cubicBezTo>
                <a:cubicBezTo>
                  <a:pt x="114" y="118"/>
                  <a:pt x="114" y="118"/>
                  <a:pt x="114" y="118"/>
                </a:cubicBezTo>
                <a:cubicBezTo>
                  <a:pt x="113" y="117"/>
                  <a:pt x="113" y="115"/>
                  <a:pt x="114" y="114"/>
                </a:cubicBezTo>
                <a:cubicBezTo>
                  <a:pt x="115" y="113"/>
                  <a:pt x="117" y="113"/>
                  <a:pt x="118" y="114"/>
                </a:cubicBezTo>
                <a:lnTo>
                  <a:pt x="126" y="122"/>
                </a:lnTo>
                <a:close/>
                <a:moveTo>
                  <a:pt x="22" y="26"/>
                </a:moveTo>
                <a:cubicBezTo>
                  <a:pt x="21" y="25"/>
                  <a:pt x="21" y="23"/>
                  <a:pt x="22" y="22"/>
                </a:cubicBezTo>
                <a:cubicBezTo>
                  <a:pt x="23" y="21"/>
                  <a:pt x="25" y="21"/>
                  <a:pt x="26" y="22"/>
                </a:cubicBezTo>
                <a:cubicBezTo>
                  <a:pt x="34" y="30"/>
                  <a:pt x="34" y="30"/>
                  <a:pt x="34" y="30"/>
                </a:cubicBezTo>
                <a:cubicBezTo>
                  <a:pt x="35" y="31"/>
                  <a:pt x="35" y="33"/>
                  <a:pt x="34" y="34"/>
                </a:cubicBezTo>
                <a:cubicBezTo>
                  <a:pt x="34" y="35"/>
                  <a:pt x="33" y="35"/>
                  <a:pt x="32" y="35"/>
                </a:cubicBezTo>
                <a:cubicBezTo>
                  <a:pt x="31" y="35"/>
                  <a:pt x="31" y="35"/>
                  <a:pt x="30" y="34"/>
                </a:cubicBezTo>
                <a:lnTo>
                  <a:pt x="22" y="26"/>
                </a:lnTo>
                <a:close/>
                <a:moveTo>
                  <a:pt x="77" y="41"/>
                </a:moveTo>
                <a:cubicBezTo>
                  <a:pt x="77" y="43"/>
                  <a:pt x="76" y="44"/>
                  <a:pt x="74" y="44"/>
                </a:cubicBezTo>
                <a:cubicBezTo>
                  <a:pt x="58" y="44"/>
                  <a:pt x="44" y="58"/>
                  <a:pt x="44" y="74"/>
                </a:cubicBezTo>
                <a:cubicBezTo>
                  <a:pt x="44" y="76"/>
                  <a:pt x="43" y="77"/>
                  <a:pt x="41" y="77"/>
                </a:cubicBezTo>
                <a:cubicBezTo>
                  <a:pt x="40" y="77"/>
                  <a:pt x="39" y="76"/>
                  <a:pt x="39" y="74"/>
                </a:cubicBezTo>
                <a:cubicBezTo>
                  <a:pt x="39" y="54"/>
                  <a:pt x="54" y="39"/>
                  <a:pt x="74" y="39"/>
                </a:cubicBezTo>
                <a:cubicBezTo>
                  <a:pt x="76" y="39"/>
                  <a:pt x="77" y="40"/>
                  <a:pt x="77" y="41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en-US">
              <a:latin typeface="Arial" panose="020B0604020202020204" pitchFamily="34" charset="0"/>
              <a:ea typeface="微软雅黑" panose="020B0503020204020204" pitchFamily="34" charset="-122"/>
              <a:cs typeface="思源黑体 CN Regular" panose="020B0500000000000000" charset="-122"/>
              <a:sym typeface="Arial" panose="020B0604020202020204" pitchFamily="34" charset="0"/>
            </a:endParaRPr>
          </a:p>
        </p:txBody>
      </p:sp>
      <p:sp>
        <p:nvSpPr>
          <p:cNvPr id="37" name="Freeform 1050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SpPr>
            <a:spLocks noEditPoints="1"/>
          </p:cNvSpPr>
          <p:nvPr/>
        </p:nvSpPr>
        <p:spPr bwMode="auto">
          <a:xfrm>
            <a:off x="9623453" y="5010435"/>
            <a:ext cx="372995" cy="338296"/>
          </a:xfrm>
          <a:custGeom>
            <a:avLst/>
            <a:gdLst>
              <a:gd name="T0" fmla="*/ 115 w 160"/>
              <a:gd name="T1" fmla="*/ 0 h 144"/>
              <a:gd name="T2" fmla="*/ 89 w 160"/>
              <a:gd name="T3" fmla="*/ 37 h 144"/>
              <a:gd name="T4" fmla="*/ 63 w 160"/>
              <a:gd name="T5" fmla="*/ 7 h 144"/>
              <a:gd name="T6" fmla="*/ 4 w 160"/>
              <a:gd name="T7" fmla="*/ 91 h 144"/>
              <a:gd name="T8" fmla="*/ 71 w 160"/>
              <a:gd name="T9" fmla="*/ 110 h 144"/>
              <a:gd name="T10" fmla="*/ 71 w 160"/>
              <a:gd name="T11" fmla="*/ 82 h 144"/>
              <a:gd name="T12" fmla="*/ 89 w 160"/>
              <a:gd name="T13" fmla="*/ 110 h 144"/>
              <a:gd name="T14" fmla="*/ 160 w 160"/>
              <a:gd name="T15" fmla="*/ 109 h 144"/>
              <a:gd name="T16" fmla="*/ 6 w 160"/>
              <a:gd name="T17" fmla="*/ 109 h 144"/>
              <a:gd name="T18" fmla="*/ 12 w 160"/>
              <a:gd name="T19" fmla="*/ 90 h 144"/>
              <a:gd name="T20" fmla="*/ 20 w 160"/>
              <a:gd name="T21" fmla="*/ 83 h 144"/>
              <a:gd name="T22" fmla="*/ 28 w 160"/>
              <a:gd name="T23" fmla="*/ 80 h 144"/>
              <a:gd name="T24" fmla="*/ 36 w 160"/>
              <a:gd name="T25" fmla="*/ 79 h 144"/>
              <a:gd name="T26" fmla="*/ 65 w 160"/>
              <a:gd name="T27" fmla="*/ 110 h 144"/>
              <a:gd name="T28" fmla="*/ 63 w 160"/>
              <a:gd name="T29" fmla="*/ 86 h 144"/>
              <a:gd name="T30" fmla="*/ 59 w 160"/>
              <a:gd name="T31" fmla="*/ 82 h 144"/>
              <a:gd name="T32" fmla="*/ 53 w 160"/>
              <a:gd name="T33" fmla="*/ 78 h 144"/>
              <a:gd name="T34" fmla="*/ 48 w 160"/>
              <a:gd name="T35" fmla="*/ 75 h 144"/>
              <a:gd name="T36" fmla="*/ 41 w 160"/>
              <a:gd name="T37" fmla="*/ 73 h 144"/>
              <a:gd name="T38" fmla="*/ 32 w 160"/>
              <a:gd name="T39" fmla="*/ 73 h 144"/>
              <a:gd name="T40" fmla="*/ 27 w 160"/>
              <a:gd name="T41" fmla="*/ 74 h 144"/>
              <a:gd name="T42" fmla="*/ 23 w 160"/>
              <a:gd name="T43" fmla="*/ 75 h 144"/>
              <a:gd name="T44" fmla="*/ 18 w 160"/>
              <a:gd name="T45" fmla="*/ 78 h 144"/>
              <a:gd name="T46" fmla="*/ 15 w 160"/>
              <a:gd name="T47" fmla="*/ 80 h 144"/>
              <a:gd name="T48" fmla="*/ 45 w 160"/>
              <a:gd name="T49" fmla="*/ 6 h 144"/>
              <a:gd name="T50" fmla="*/ 65 w 160"/>
              <a:gd name="T51" fmla="*/ 40 h 144"/>
              <a:gd name="T52" fmla="*/ 65 w 160"/>
              <a:gd name="T53" fmla="*/ 89 h 144"/>
              <a:gd name="T54" fmla="*/ 71 w 160"/>
              <a:gd name="T55" fmla="*/ 43 h 144"/>
              <a:gd name="T56" fmla="*/ 71 w 160"/>
              <a:gd name="T57" fmla="*/ 76 h 144"/>
              <a:gd name="T58" fmla="*/ 95 w 160"/>
              <a:gd name="T59" fmla="*/ 40 h 144"/>
              <a:gd name="T60" fmla="*/ 114 w 160"/>
              <a:gd name="T61" fmla="*/ 6 h 144"/>
              <a:gd name="T62" fmla="*/ 147 w 160"/>
              <a:gd name="T63" fmla="*/ 81 h 144"/>
              <a:gd name="T64" fmla="*/ 140 w 160"/>
              <a:gd name="T65" fmla="*/ 77 h 144"/>
              <a:gd name="T66" fmla="*/ 136 w 160"/>
              <a:gd name="T67" fmla="*/ 75 h 144"/>
              <a:gd name="T68" fmla="*/ 131 w 160"/>
              <a:gd name="T69" fmla="*/ 74 h 144"/>
              <a:gd name="T70" fmla="*/ 124 w 160"/>
              <a:gd name="T71" fmla="*/ 73 h 144"/>
              <a:gd name="T72" fmla="*/ 116 w 160"/>
              <a:gd name="T73" fmla="*/ 74 h 144"/>
              <a:gd name="T74" fmla="*/ 111 w 160"/>
              <a:gd name="T75" fmla="*/ 76 h 144"/>
              <a:gd name="T76" fmla="*/ 104 w 160"/>
              <a:gd name="T77" fmla="*/ 79 h 144"/>
              <a:gd name="T78" fmla="*/ 100 w 160"/>
              <a:gd name="T79" fmla="*/ 83 h 144"/>
              <a:gd name="T80" fmla="*/ 95 w 160"/>
              <a:gd name="T81" fmla="*/ 89 h 144"/>
              <a:gd name="T82" fmla="*/ 95 w 160"/>
              <a:gd name="T83" fmla="*/ 110 h 144"/>
              <a:gd name="T84" fmla="*/ 95 w 160"/>
              <a:gd name="T85" fmla="*/ 109 h 144"/>
              <a:gd name="T86" fmla="*/ 129 w 160"/>
              <a:gd name="T87" fmla="*/ 79 h 144"/>
              <a:gd name="T88" fmla="*/ 139 w 160"/>
              <a:gd name="T89" fmla="*/ 83 h 144"/>
              <a:gd name="T90" fmla="*/ 143 w 160"/>
              <a:gd name="T91" fmla="*/ 85 h 144"/>
              <a:gd name="T92" fmla="*/ 150 w 160"/>
              <a:gd name="T93" fmla="*/ 94 h 14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160" h="144">
                <a:moveTo>
                  <a:pt x="156" y="91"/>
                </a:moveTo>
                <a:cubicBezTo>
                  <a:pt x="138" y="20"/>
                  <a:pt x="138" y="20"/>
                  <a:pt x="138" y="20"/>
                </a:cubicBezTo>
                <a:cubicBezTo>
                  <a:pt x="135" y="9"/>
                  <a:pt x="126" y="1"/>
                  <a:pt x="115" y="0"/>
                </a:cubicBezTo>
                <a:cubicBezTo>
                  <a:pt x="108" y="0"/>
                  <a:pt x="102" y="2"/>
                  <a:pt x="97" y="7"/>
                </a:cubicBezTo>
                <a:cubicBezTo>
                  <a:pt x="92" y="12"/>
                  <a:pt x="89" y="18"/>
                  <a:pt x="89" y="25"/>
                </a:cubicBezTo>
                <a:cubicBezTo>
                  <a:pt x="89" y="37"/>
                  <a:pt x="89" y="37"/>
                  <a:pt x="89" y="37"/>
                </a:cubicBezTo>
                <a:cubicBezTo>
                  <a:pt x="71" y="37"/>
                  <a:pt x="71" y="37"/>
                  <a:pt x="71" y="37"/>
                </a:cubicBezTo>
                <a:cubicBezTo>
                  <a:pt x="71" y="25"/>
                  <a:pt x="71" y="25"/>
                  <a:pt x="71" y="25"/>
                </a:cubicBezTo>
                <a:cubicBezTo>
                  <a:pt x="71" y="18"/>
                  <a:pt x="68" y="12"/>
                  <a:pt x="63" y="7"/>
                </a:cubicBezTo>
                <a:cubicBezTo>
                  <a:pt x="58" y="2"/>
                  <a:pt x="52" y="0"/>
                  <a:pt x="45" y="0"/>
                </a:cubicBezTo>
                <a:cubicBezTo>
                  <a:pt x="34" y="1"/>
                  <a:pt x="25" y="9"/>
                  <a:pt x="22" y="20"/>
                </a:cubicBezTo>
                <a:cubicBezTo>
                  <a:pt x="4" y="91"/>
                  <a:pt x="4" y="91"/>
                  <a:pt x="4" y="91"/>
                </a:cubicBezTo>
                <a:cubicBezTo>
                  <a:pt x="2" y="97"/>
                  <a:pt x="0" y="102"/>
                  <a:pt x="0" y="109"/>
                </a:cubicBezTo>
                <a:cubicBezTo>
                  <a:pt x="0" y="128"/>
                  <a:pt x="16" y="144"/>
                  <a:pt x="36" y="144"/>
                </a:cubicBezTo>
                <a:cubicBezTo>
                  <a:pt x="55" y="144"/>
                  <a:pt x="70" y="129"/>
                  <a:pt x="71" y="110"/>
                </a:cubicBezTo>
                <a:cubicBezTo>
                  <a:pt x="71" y="110"/>
                  <a:pt x="71" y="110"/>
                  <a:pt x="71" y="110"/>
                </a:cubicBezTo>
                <a:cubicBezTo>
                  <a:pt x="71" y="109"/>
                  <a:pt x="71" y="109"/>
                  <a:pt x="71" y="109"/>
                </a:cubicBezTo>
                <a:cubicBezTo>
                  <a:pt x="71" y="82"/>
                  <a:pt x="71" y="82"/>
                  <a:pt x="71" y="82"/>
                </a:cubicBezTo>
                <a:cubicBezTo>
                  <a:pt x="89" y="82"/>
                  <a:pt x="89" y="82"/>
                  <a:pt x="89" y="82"/>
                </a:cubicBezTo>
                <a:cubicBezTo>
                  <a:pt x="89" y="109"/>
                  <a:pt x="89" y="109"/>
                  <a:pt x="89" y="109"/>
                </a:cubicBezTo>
                <a:cubicBezTo>
                  <a:pt x="89" y="110"/>
                  <a:pt x="89" y="110"/>
                  <a:pt x="89" y="110"/>
                </a:cubicBezTo>
                <a:cubicBezTo>
                  <a:pt x="89" y="110"/>
                  <a:pt x="89" y="110"/>
                  <a:pt x="89" y="110"/>
                </a:cubicBezTo>
                <a:cubicBezTo>
                  <a:pt x="90" y="129"/>
                  <a:pt x="105" y="144"/>
                  <a:pt x="124" y="144"/>
                </a:cubicBezTo>
                <a:cubicBezTo>
                  <a:pt x="144" y="144"/>
                  <a:pt x="160" y="128"/>
                  <a:pt x="160" y="109"/>
                </a:cubicBezTo>
                <a:cubicBezTo>
                  <a:pt x="160" y="102"/>
                  <a:pt x="158" y="97"/>
                  <a:pt x="156" y="91"/>
                </a:cubicBezTo>
                <a:close/>
                <a:moveTo>
                  <a:pt x="36" y="138"/>
                </a:moveTo>
                <a:cubicBezTo>
                  <a:pt x="19" y="138"/>
                  <a:pt x="6" y="125"/>
                  <a:pt x="6" y="109"/>
                </a:cubicBezTo>
                <a:cubicBezTo>
                  <a:pt x="6" y="103"/>
                  <a:pt x="7" y="98"/>
                  <a:pt x="10" y="94"/>
                </a:cubicBezTo>
                <a:cubicBezTo>
                  <a:pt x="10" y="93"/>
                  <a:pt x="11" y="92"/>
                  <a:pt x="12" y="91"/>
                </a:cubicBezTo>
                <a:cubicBezTo>
                  <a:pt x="12" y="91"/>
                  <a:pt x="12" y="91"/>
                  <a:pt x="12" y="90"/>
                </a:cubicBezTo>
                <a:cubicBezTo>
                  <a:pt x="14" y="89"/>
                  <a:pt x="15" y="87"/>
                  <a:pt x="17" y="85"/>
                </a:cubicBezTo>
                <a:cubicBezTo>
                  <a:pt x="17" y="85"/>
                  <a:pt x="18" y="85"/>
                  <a:pt x="18" y="85"/>
                </a:cubicBezTo>
                <a:cubicBezTo>
                  <a:pt x="19" y="84"/>
                  <a:pt x="19" y="84"/>
                  <a:pt x="20" y="83"/>
                </a:cubicBezTo>
                <a:cubicBezTo>
                  <a:pt x="21" y="83"/>
                  <a:pt x="21" y="83"/>
                  <a:pt x="21" y="83"/>
                </a:cubicBezTo>
                <a:cubicBezTo>
                  <a:pt x="23" y="82"/>
                  <a:pt x="25" y="81"/>
                  <a:pt x="28" y="80"/>
                </a:cubicBezTo>
                <a:cubicBezTo>
                  <a:pt x="28" y="80"/>
                  <a:pt x="28" y="80"/>
                  <a:pt x="28" y="80"/>
                </a:cubicBezTo>
                <a:cubicBezTo>
                  <a:pt x="29" y="80"/>
                  <a:pt x="30" y="79"/>
                  <a:pt x="31" y="79"/>
                </a:cubicBezTo>
                <a:cubicBezTo>
                  <a:pt x="31" y="79"/>
                  <a:pt x="32" y="79"/>
                  <a:pt x="32" y="79"/>
                </a:cubicBezTo>
                <a:cubicBezTo>
                  <a:pt x="33" y="79"/>
                  <a:pt x="34" y="79"/>
                  <a:pt x="36" y="79"/>
                </a:cubicBezTo>
                <a:cubicBezTo>
                  <a:pt x="52" y="79"/>
                  <a:pt x="65" y="92"/>
                  <a:pt x="65" y="109"/>
                </a:cubicBezTo>
                <a:cubicBezTo>
                  <a:pt x="65" y="109"/>
                  <a:pt x="65" y="109"/>
                  <a:pt x="65" y="109"/>
                </a:cubicBezTo>
                <a:cubicBezTo>
                  <a:pt x="65" y="110"/>
                  <a:pt x="65" y="110"/>
                  <a:pt x="65" y="110"/>
                </a:cubicBezTo>
                <a:cubicBezTo>
                  <a:pt x="65" y="110"/>
                  <a:pt x="65" y="110"/>
                  <a:pt x="65" y="110"/>
                </a:cubicBezTo>
                <a:cubicBezTo>
                  <a:pt x="64" y="126"/>
                  <a:pt x="51" y="138"/>
                  <a:pt x="36" y="138"/>
                </a:cubicBezTo>
                <a:close/>
                <a:moveTo>
                  <a:pt x="63" y="86"/>
                </a:moveTo>
                <a:cubicBezTo>
                  <a:pt x="63" y="85"/>
                  <a:pt x="62" y="85"/>
                  <a:pt x="62" y="85"/>
                </a:cubicBezTo>
                <a:cubicBezTo>
                  <a:pt x="61" y="84"/>
                  <a:pt x="61" y="83"/>
                  <a:pt x="60" y="83"/>
                </a:cubicBezTo>
                <a:cubicBezTo>
                  <a:pt x="60" y="83"/>
                  <a:pt x="59" y="82"/>
                  <a:pt x="59" y="82"/>
                </a:cubicBezTo>
                <a:cubicBezTo>
                  <a:pt x="58" y="81"/>
                  <a:pt x="58" y="81"/>
                  <a:pt x="57" y="80"/>
                </a:cubicBezTo>
                <a:cubicBezTo>
                  <a:pt x="57" y="80"/>
                  <a:pt x="56" y="80"/>
                  <a:pt x="56" y="79"/>
                </a:cubicBezTo>
                <a:cubicBezTo>
                  <a:pt x="55" y="79"/>
                  <a:pt x="54" y="78"/>
                  <a:pt x="53" y="78"/>
                </a:cubicBezTo>
                <a:cubicBezTo>
                  <a:pt x="53" y="78"/>
                  <a:pt x="53" y="77"/>
                  <a:pt x="53" y="77"/>
                </a:cubicBezTo>
                <a:cubicBezTo>
                  <a:pt x="51" y="77"/>
                  <a:pt x="50" y="76"/>
                  <a:pt x="49" y="76"/>
                </a:cubicBezTo>
                <a:cubicBezTo>
                  <a:pt x="49" y="76"/>
                  <a:pt x="48" y="75"/>
                  <a:pt x="48" y="75"/>
                </a:cubicBezTo>
                <a:cubicBezTo>
                  <a:pt x="47" y="75"/>
                  <a:pt x="46" y="75"/>
                  <a:pt x="45" y="74"/>
                </a:cubicBezTo>
                <a:cubicBezTo>
                  <a:pt x="45" y="74"/>
                  <a:pt x="44" y="74"/>
                  <a:pt x="44" y="74"/>
                </a:cubicBezTo>
                <a:cubicBezTo>
                  <a:pt x="43" y="74"/>
                  <a:pt x="42" y="74"/>
                  <a:pt x="41" y="73"/>
                </a:cubicBezTo>
                <a:cubicBezTo>
                  <a:pt x="41" y="73"/>
                  <a:pt x="40" y="73"/>
                  <a:pt x="40" y="73"/>
                </a:cubicBezTo>
                <a:cubicBezTo>
                  <a:pt x="38" y="73"/>
                  <a:pt x="37" y="73"/>
                  <a:pt x="36" y="73"/>
                </a:cubicBezTo>
                <a:cubicBezTo>
                  <a:pt x="34" y="73"/>
                  <a:pt x="33" y="73"/>
                  <a:pt x="32" y="73"/>
                </a:cubicBezTo>
                <a:cubicBezTo>
                  <a:pt x="32" y="73"/>
                  <a:pt x="31" y="73"/>
                  <a:pt x="31" y="73"/>
                </a:cubicBezTo>
                <a:cubicBezTo>
                  <a:pt x="30" y="73"/>
                  <a:pt x="30" y="74"/>
                  <a:pt x="29" y="74"/>
                </a:cubicBezTo>
                <a:cubicBezTo>
                  <a:pt x="28" y="74"/>
                  <a:pt x="28" y="74"/>
                  <a:pt x="27" y="74"/>
                </a:cubicBezTo>
                <a:cubicBezTo>
                  <a:pt x="27" y="74"/>
                  <a:pt x="26" y="74"/>
                  <a:pt x="26" y="74"/>
                </a:cubicBezTo>
                <a:cubicBezTo>
                  <a:pt x="25" y="75"/>
                  <a:pt x="25" y="75"/>
                  <a:pt x="24" y="75"/>
                </a:cubicBezTo>
                <a:cubicBezTo>
                  <a:pt x="24" y="75"/>
                  <a:pt x="23" y="75"/>
                  <a:pt x="23" y="75"/>
                </a:cubicBezTo>
                <a:cubicBezTo>
                  <a:pt x="22" y="76"/>
                  <a:pt x="22" y="76"/>
                  <a:pt x="21" y="76"/>
                </a:cubicBezTo>
                <a:cubicBezTo>
                  <a:pt x="21" y="76"/>
                  <a:pt x="20" y="76"/>
                  <a:pt x="20" y="77"/>
                </a:cubicBezTo>
                <a:cubicBezTo>
                  <a:pt x="19" y="77"/>
                  <a:pt x="19" y="77"/>
                  <a:pt x="18" y="78"/>
                </a:cubicBezTo>
                <a:cubicBezTo>
                  <a:pt x="18" y="78"/>
                  <a:pt x="18" y="78"/>
                  <a:pt x="17" y="78"/>
                </a:cubicBezTo>
                <a:cubicBezTo>
                  <a:pt x="17" y="79"/>
                  <a:pt x="16" y="79"/>
                  <a:pt x="15" y="79"/>
                </a:cubicBezTo>
                <a:cubicBezTo>
                  <a:pt x="15" y="79"/>
                  <a:pt x="15" y="79"/>
                  <a:pt x="15" y="80"/>
                </a:cubicBezTo>
                <a:cubicBezTo>
                  <a:pt x="14" y="80"/>
                  <a:pt x="14" y="81"/>
                  <a:pt x="13" y="81"/>
                </a:cubicBezTo>
                <a:cubicBezTo>
                  <a:pt x="28" y="21"/>
                  <a:pt x="28" y="21"/>
                  <a:pt x="28" y="21"/>
                </a:cubicBezTo>
                <a:cubicBezTo>
                  <a:pt x="30" y="13"/>
                  <a:pt x="37" y="6"/>
                  <a:pt x="45" y="6"/>
                </a:cubicBezTo>
                <a:cubicBezTo>
                  <a:pt x="51" y="6"/>
                  <a:pt x="56" y="8"/>
                  <a:pt x="59" y="11"/>
                </a:cubicBezTo>
                <a:cubicBezTo>
                  <a:pt x="63" y="15"/>
                  <a:pt x="65" y="20"/>
                  <a:pt x="65" y="25"/>
                </a:cubicBezTo>
                <a:cubicBezTo>
                  <a:pt x="65" y="40"/>
                  <a:pt x="65" y="40"/>
                  <a:pt x="65" y="40"/>
                </a:cubicBezTo>
                <a:cubicBezTo>
                  <a:pt x="65" y="79"/>
                  <a:pt x="65" y="79"/>
                  <a:pt x="65" y="79"/>
                </a:cubicBezTo>
                <a:cubicBezTo>
                  <a:pt x="65" y="89"/>
                  <a:pt x="65" y="89"/>
                  <a:pt x="65" y="89"/>
                </a:cubicBezTo>
                <a:cubicBezTo>
                  <a:pt x="65" y="89"/>
                  <a:pt x="65" y="89"/>
                  <a:pt x="65" y="89"/>
                </a:cubicBezTo>
                <a:cubicBezTo>
                  <a:pt x="64" y="88"/>
                  <a:pt x="64" y="87"/>
                  <a:pt x="63" y="86"/>
                </a:cubicBezTo>
                <a:close/>
                <a:moveTo>
                  <a:pt x="71" y="76"/>
                </a:moveTo>
                <a:cubicBezTo>
                  <a:pt x="71" y="43"/>
                  <a:pt x="71" y="43"/>
                  <a:pt x="71" y="43"/>
                </a:cubicBezTo>
                <a:cubicBezTo>
                  <a:pt x="89" y="43"/>
                  <a:pt x="89" y="43"/>
                  <a:pt x="89" y="43"/>
                </a:cubicBezTo>
                <a:cubicBezTo>
                  <a:pt x="89" y="76"/>
                  <a:pt x="89" y="76"/>
                  <a:pt x="89" y="76"/>
                </a:cubicBezTo>
                <a:lnTo>
                  <a:pt x="71" y="76"/>
                </a:lnTo>
                <a:close/>
                <a:moveTo>
                  <a:pt x="95" y="89"/>
                </a:moveTo>
                <a:cubicBezTo>
                  <a:pt x="95" y="79"/>
                  <a:pt x="95" y="79"/>
                  <a:pt x="95" y="79"/>
                </a:cubicBezTo>
                <a:cubicBezTo>
                  <a:pt x="95" y="40"/>
                  <a:pt x="95" y="40"/>
                  <a:pt x="95" y="40"/>
                </a:cubicBezTo>
                <a:cubicBezTo>
                  <a:pt x="95" y="25"/>
                  <a:pt x="95" y="25"/>
                  <a:pt x="95" y="25"/>
                </a:cubicBezTo>
                <a:cubicBezTo>
                  <a:pt x="95" y="20"/>
                  <a:pt x="97" y="15"/>
                  <a:pt x="101" y="11"/>
                </a:cubicBezTo>
                <a:cubicBezTo>
                  <a:pt x="104" y="8"/>
                  <a:pt x="109" y="6"/>
                  <a:pt x="114" y="6"/>
                </a:cubicBezTo>
                <a:cubicBezTo>
                  <a:pt x="114" y="6"/>
                  <a:pt x="114" y="6"/>
                  <a:pt x="115" y="6"/>
                </a:cubicBezTo>
                <a:cubicBezTo>
                  <a:pt x="123" y="6"/>
                  <a:pt x="130" y="13"/>
                  <a:pt x="132" y="21"/>
                </a:cubicBezTo>
                <a:cubicBezTo>
                  <a:pt x="147" y="81"/>
                  <a:pt x="147" y="81"/>
                  <a:pt x="147" y="81"/>
                </a:cubicBezTo>
                <a:cubicBezTo>
                  <a:pt x="146" y="80"/>
                  <a:pt x="144" y="79"/>
                  <a:pt x="143" y="78"/>
                </a:cubicBezTo>
                <a:cubicBezTo>
                  <a:pt x="142" y="78"/>
                  <a:pt x="142" y="78"/>
                  <a:pt x="142" y="78"/>
                </a:cubicBezTo>
                <a:cubicBezTo>
                  <a:pt x="141" y="77"/>
                  <a:pt x="141" y="77"/>
                  <a:pt x="140" y="77"/>
                </a:cubicBezTo>
                <a:cubicBezTo>
                  <a:pt x="140" y="76"/>
                  <a:pt x="139" y="76"/>
                  <a:pt x="139" y="76"/>
                </a:cubicBezTo>
                <a:cubicBezTo>
                  <a:pt x="138" y="76"/>
                  <a:pt x="138" y="76"/>
                  <a:pt x="137" y="75"/>
                </a:cubicBezTo>
                <a:cubicBezTo>
                  <a:pt x="137" y="75"/>
                  <a:pt x="136" y="75"/>
                  <a:pt x="136" y="75"/>
                </a:cubicBezTo>
                <a:cubicBezTo>
                  <a:pt x="135" y="75"/>
                  <a:pt x="135" y="75"/>
                  <a:pt x="134" y="74"/>
                </a:cubicBezTo>
                <a:cubicBezTo>
                  <a:pt x="134" y="74"/>
                  <a:pt x="133" y="74"/>
                  <a:pt x="133" y="74"/>
                </a:cubicBezTo>
                <a:cubicBezTo>
                  <a:pt x="132" y="74"/>
                  <a:pt x="132" y="74"/>
                  <a:pt x="131" y="74"/>
                </a:cubicBezTo>
                <a:cubicBezTo>
                  <a:pt x="130" y="74"/>
                  <a:pt x="130" y="73"/>
                  <a:pt x="129" y="73"/>
                </a:cubicBezTo>
                <a:cubicBezTo>
                  <a:pt x="129" y="73"/>
                  <a:pt x="128" y="73"/>
                  <a:pt x="128" y="73"/>
                </a:cubicBezTo>
                <a:cubicBezTo>
                  <a:pt x="127" y="73"/>
                  <a:pt x="126" y="73"/>
                  <a:pt x="124" y="73"/>
                </a:cubicBezTo>
                <a:cubicBezTo>
                  <a:pt x="123" y="73"/>
                  <a:pt x="122" y="73"/>
                  <a:pt x="120" y="73"/>
                </a:cubicBezTo>
                <a:cubicBezTo>
                  <a:pt x="120" y="73"/>
                  <a:pt x="119" y="73"/>
                  <a:pt x="119" y="73"/>
                </a:cubicBezTo>
                <a:cubicBezTo>
                  <a:pt x="118" y="74"/>
                  <a:pt x="117" y="74"/>
                  <a:pt x="116" y="74"/>
                </a:cubicBezTo>
                <a:cubicBezTo>
                  <a:pt x="116" y="74"/>
                  <a:pt x="115" y="74"/>
                  <a:pt x="115" y="74"/>
                </a:cubicBezTo>
                <a:cubicBezTo>
                  <a:pt x="114" y="75"/>
                  <a:pt x="113" y="75"/>
                  <a:pt x="112" y="75"/>
                </a:cubicBezTo>
                <a:cubicBezTo>
                  <a:pt x="112" y="75"/>
                  <a:pt x="111" y="76"/>
                  <a:pt x="111" y="76"/>
                </a:cubicBezTo>
                <a:cubicBezTo>
                  <a:pt x="110" y="76"/>
                  <a:pt x="109" y="77"/>
                  <a:pt x="107" y="77"/>
                </a:cubicBezTo>
                <a:cubicBezTo>
                  <a:pt x="107" y="77"/>
                  <a:pt x="107" y="78"/>
                  <a:pt x="107" y="78"/>
                </a:cubicBezTo>
                <a:cubicBezTo>
                  <a:pt x="106" y="78"/>
                  <a:pt x="105" y="79"/>
                  <a:pt x="104" y="79"/>
                </a:cubicBezTo>
                <a:cubicBezTo>
                  <a:pt x="104" y="80"/>
                  <a:pt x="103" y="80"/>
                  <a:pt x="103" y="80"/>
                </a:cubicBezTo>
                <a:cubicBezTo>
                  <a:pt x="102" y="81"/>
                  <a:pt x="102" y="81"/>
                  <a:pt x="101" y="82"/>
                </a:cubicBezTo>
                <a:cubicBezTo>
                  <a:pt x="101" y="82"/>
                  <a:pt x="100" y="83"/>
                  <a:pt x="100" y="83"/>
                </a:cubicBezTo>
                <a:cubicBezTo>
                  <a:pt x="99" y="83"/>
                  <a:pt x="99" y="84"/>
                  <a:pt x="98" y="85"/>
                </a:cubicBezTo>
                <a:cubicBezTo>
                  <a:pt x="98" y="85"/>
                  <a:pt x="97" y="85"/>
                  <a:pt x="97" y="86"/>
                </a:cubicBezTo>
                <a:cubicBezTo>
                  <a:pt x="96" y="87"/>
                  <a:pt x="96" y="88"/>
                  <a:pt x="95" y="89"/>
                </a:cubicBezTo>
                <a:cubicBezTo>
                  <a:pt x="95" y="89"/>
                  <a:pt x="95" y="89"/>
                  <a:pt x="95" y="89"/>
                </a:cubicBezTo>
                <a:close/>
                <a:moveTo>
                  <a:pt x="124" y="138"/>
                </a:moveTo>
                <a:cubicBezTo>
                  <a:pt x="109" y="138"/>
                  <a:pt x="96" y="126"/>
                  <a:pt x="95" y="110"/>
                </a:cubicBezTo>
                <a:cubicBezTo>
                  <a:pt x="95" y="110"/>
                  <a:pt x="95" y="110"/>
                  <a:pt x="95" y="110"/>
                </a:cubicBezTo>
                <a:cubicBezTo>
                  <a:pt x="95" y="109"/>
                  <a:pt x="95" y="109"/>
                  <a:pt x="95" y="109"/>
                </a:cubicBezTo>
                <a:cubicBezTo>
                  <a:pt x="95" y="109"/>
                  <a:pt x="95" y="109"/>
                  <a:pt x="95" y="109"/>
                </a:cubicBezTo>
                <a:cubicBezTo>
                  <a:pt x="95" y="92"/>
                  <a:pt x="108" y="79"/>
                  <a:pt x="124" y="79"/>
                </a:cubicBezTo>
                <a:cubicBezTo>
                  <a:pt x="126" y="79"/>
                  <a:pt x="127" y="79"/>
                  <a:pt x="128" y="79"/>
                </a:cubicBezTo>
                <a:cubicBezTo>
                  <a:pt x="128" y="79"/>
                  <a:pt x="129" y="79"/>
                  <a:pt x="129" y="79"/>
                </a:cubicBezTo>
                <a:cubicBezTo>
                  <a:pt x="130" y="79"/>
                  <a:pt x="131" y="80"/>
                  <a:pt x="132" y="80"/>
                </a:cubicBezTo>
                <a:cubicBezTo>
                  <a:pt x="132" y="80"/>
                  <a:pt x="132" y="80"/>
                  <a:pt x="132" y="80"/>
                </a:cubicBezTo>
                <a:cubicBezTo>
                  <a:pt x="135" y="81"/>
                  <a:pt x="137" y="82"/>
                  <a:pt x="139" y="83"/>
                </a:cubicBezTo>
                <a:cubicBezTo>
                  <a:pt x="139" y="83"/>
                  <a:pt x="139" y="83"/>
                  <a:pt x="140" y="83"/>
                </a:cubicBezTo>
                <a:cubicBezTo>
                  <a:pt x="141" y="84"/>
                  <a:pt x="141" y="84"/>
                  <a:pt x="142" y="85"/>
                </a:cubicBezTo>
                <a:cubicBezTo>
                  <a:pt x="142" y="85"/>
                  <a:pt x="143" y="85"/>
                  <a:pt x="143" y="85"/>
                </a:cubicBezTo>
                <a:cubicBezTo>
                  <a:pt x="145" y="87"/>
                  <a:pt x="146" y="89"/>
                  <a:pt x="148" y="90"/>
                </a:cubicBezTo>
                <a:cubicBezTo>
                  <a:pt x="148" y="91"/>
                  <a:pt x="148" y="91"/>
                  <a:pt x="148" y="91"/>
                </a:cubicBezTo>
                <a:cubicBezTo>
                  <a:pt x="149" y="92"/>
                  <a:pt x="150" y="93"/>
                  <a:pt x="150" y="94"/>
                </a:cubicBezTo>
                <a:cubicBezTo>
                  <a:pt x="153" y="98"/>
                  <a:pt x="154" y="103"/>
                  <a:pt x="154" y="109"/>
                </a:cubicBezTo>
                <a:cubicBezTo>
                  <a:pt x="154" y="125"/>
                  <a:pt x="141" y="138"/>
                  <a:pt x="124" y="138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en-US">
              <a:latin typeface="Arial" panose="020B0604020202020204" pitchFamily="34" charset="0"/>
              <a:ea typeface="微软雅黑" panose="020B0503020204020204" pitchFamily="34" charset="-122"/>
              <a:cs typeface="思源黑体 CN Regular" panose="020B0500000000000000" charset="-122"/>
              <a:sym typeface="Arial" panose="020B0604020202020204" pitchFamily="34" charset="0"/>
            </a:endParaRPr>
          </a:p>
        </p:txBody>
      </p:sp>
      <p:sp>
        <p:nvSpPr>
          <p:cNvPr id="39" name="Rectangle 3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SpPr/>
          <p:nvPr/>
        </p:nvSpPr>
        <p:spPr>
          <a:xfrm>
            <a:off x="685800" y="2829550"/>
            <a:ext cx="3928504" cy="62331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30000"/>
              </a:lnSpc>
            </a:pPr>
            <a:r>
              <a:rPr lang="en-US" altLang="zh-CN" sz="1400" dirty="0">
                <a:solidFill>
                  <a:schemeClr val="accent6">
                    <a:lumMod val="50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rPr>
              <a:t>Click here to add content, content to match the title. </a:t>
            </a:r>
          </a:p>
        </p:txBody>
      </p:sp>
      <p:sp>
        <p:nvSpPr>
          <p:cNvPr id="40" name="矩形 39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SpPr/>
          <p:nvPr/>
        </p:nvSpPr>
        <p:spPr>
          <a:xfrm>
            <a:off x="725336" y="5029560"/>
            <a:ext cx="1065364" cy="294656"/>
          </a:xfrm>
          <a:prstGeom prst="rect">
            <a:avLst/>
          </a:prstGeom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600">
              <a:latin typeface="Arial" panose="020B0604020202020204" pitchFamily="34" charset="0"/>
              <a:ea typeface="微软雅黑" panose="020B0503020204020204" pitchFamily="34" charset="-122"/>
              <a:cs typeface="思源黑体 CN Regular" panose="020B0500000000000000" charset="-122"/>
              <a:sym typeface="Arial" panose="020B0604020202020204" pitchFamily="34" charset="0"/>
            </a:endParaRPr>
          </a:p>
        </p:txBody>
      </p:sp>
      <p:sp>
        <p:nvSpPr>
          <p:cNvPr id="41" name="文本框 40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SpPr txBox="1"/>
          <p:nvPr/>
        </p:nvSpPr>
        <p:spPr>
          <a:xfrm>
            <a:off x="881152" y="5034031"/>
            <a:ext cx="82933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1200">
                <a:solidFill>
                  <a:schemeClr val="bg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rPr>
              <a:t>START</a:t>
            </a:r>
            <a:r>
              <a:rPr lang="zh-CN" altLang="en-US" sz="1200">
                <a:solidFill>
                  <a:schemeClr val="bg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rPr>
              <a:t>→</a:t>
            </a:r>
          </a:p>
        </p:txBody>
      </p:sp>
      <p:sp>
        <p:nvSpPr>
          <p:cNvPr id="42" name="TextBox 6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SpPr txBox="1"/>
          <p:nvPr/>
        </p:nvSpPr>
        <p:spPr>
          <a:xfrm>
            <a:off x="796774" y="2453378"/>
            <a:ext cx="1422954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1400" i="1">
                <a:solidFill>
                  <a:schemeClr val="tx2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rPr>
              <a:t>TEMPLATE 20XX</a:t>
            </a:r>
          </a:p>
        </p:txBody>
      </p:sp>
      <p:sp>
        <p:nvSpPr>
          <p:cNvPr id="43" name="Прямоугольник 9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SpPr/>
          <p:nvPr/>
        </p:nvSpPr>
        <p:spPr>
          <a:xfrm>
            <a:off x="0" y="0"/>
            <a:ext cx="45719" cy="3429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rial" panose="020B0604020202020204" pitchFamily="34" charset="0"/>
              <a:ea typeface="微软雅黑" panose="020B0503020204020204" pitchFamily="34" charset="-122"/>
              <a:cs typeface="思源黑体 CN Regular" panose="020B0500000000000000" charset="-122"/>
              <a:sym typeface="Arial" panose="020B0604020202020204" pitchFamily="34" charset="0"/>
            </a:endParaRPr>
          </a:p>
        </p:txBody>
      </p:sp>
      <p:sp>
        <p:nvSpPr>
          <p:cNvPr id="3" name="矩形 2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SpPr/>
          <p:nvPr/>
        </p:nvSpPr>
        <p:spPr>
          <a:xfrm>
            <a:off x="6559296" y="2453619"/>
            <a:ext cx="1670304" cy="63248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30000"/>
              </a:lnSpc>
            </a:pPr>
            <a:r>
              <a:rPr lang="en-US" altLang="zh-CN" sz="900"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rPr>
              <a:t>Objectively disintermediate leveraged manufactured products</a:t>
            </a:r>
          </a:p>
        </p:txBody>
      </p:sp>
      <p:sp>
        <p:nvSpPr>
          <p:cNvPr id="44" name="矩形 43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SpPr/>
          <p:nvPr/>
        </p:nvSpPr>
        <p:spPr>
          <a:xfrm>
            <a:off x="5413248" y="4343379"/>
            <a:ext cx="1670304" cy="63248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30000"/>
              </a:lnSpc>
            </a:pPr>
            <a:r>
              <a:rPr lang="en-US" altLang="zh-CN" sz="900"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rPr>
              <a:t>Objectively disintermediate leveraged manufactured products</a:t>
            </a:r>
          </a:p>
        </p:txBody>
      </p:sp>
      <p:sp>
        <p:nvSpPr>
          <p:cNvPr id="45" name="矩形 44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SpPr/>
          <p:nvPr/>
        </p:nvSpPr>
        <p:spPr>
          <a:xfrm>
            <a:off x="7815072" y="4422627"/>
            <a:ext cx="1670304" cy="63248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30000"/>
              </a:lnSpc>
            </a:pPr>
            <a:r>
              <a:rPr lang="en-US" altLang="zh-CN" sz="900"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rPr>
              <a:t>Objectively disintermediate leveraged manufactured products</a:t>
            </a:r>
          </a:p>
        </p:txBody>
      </p:sp>
      <p:sp>
        <p:nvSpPr>
          <p:cNvPr id="12" name="e7d195523061f1c0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 hidden="1"/>
          <p:cNvSpPr txBox="1"/>
          <p:nvPr/>
        </p:nvSpPr>
        <p:spPr>
          <a:xfrm>
            <a:off x="-355600" y="1803400"/>
            <a:ext cx="284693" cy="1016000"/>
          </a:xfrm>
          <a:prstGeom prst="rect">
            <a:avLst/>
          </a:prstGeom>
          <a:noFill/>
        </p:spPr>
        <p:txBody>
          <a:bodyPr vert="wordArtVert" rtlCol="0">
            <a:spAutoFit/>
          </a:bodyPr>
          <a:lstStyle/>
          <a:p>
            <a:r>
              <a:rPr lang="en-US" altLang="zh-CN" sz="100"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rPr>
              <a:t>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</a:t>
            </a:r>
            <a:endParaRPr lang="zh-CN" altLang="en-US" sz="100">
              <a:latin typeface="Arial" panose="020B0604020202020204" pitchFamily="34" charset="0"/>
              <a:ea typeface="微软雅黑" panose="020B0503020204020204" pitchFamily="34" charset="-122"/>
              <a:cs typeface="思源黑体 CN Regular" panose="020B0500000000000000" charset="-122"/>
              <a:sym typeface="Arial" panose="020B0604020202020204" pitchFamily="34" charset="0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random/>
      </p:transition>
    </mc:Choice>
    <mc:Fallback xmlns:p159="http://schemas.microsoft.com/office/powerpoint/2015/09/main" xmlns:p15="http://schemas.microsoft.com/office/powerpoint/2012/main" xmlns:a14="http://schemas.microsoft.com/office/drawing/2010/main" xmlns:wp="http://schemas.openxmlformats.org/drawingml/2006/wordprocessingDrawing" xmlns:w="http://schemas.openxmlformats.org/wordprocessingml/2006/main" xmlns:m="http://schemas.openxmlformats.org/officeDocument/2006/math" xmlns="">
      <p:transition spd="slow">
        <p:random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dur="50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4" presetClass="entr" presetSubtype="10" dur="5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0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4" presetClass="entr" presetSubtype="10" dur="5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3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 nodeType="clickPar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4" presetClass="entr" presetSubtype="10" dur="50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8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4" presetClass="entr" presetSubtype="10" dur="5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21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 nodeType="clickPar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10" presetClass="entr" presetSubtype="0" dur="50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0" presetClass="entr" presetSubtype="0" dur="5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dur="5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10" presetClass="entr" presetSubtype="0" dur="5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10" presetClass="entr" presetSubtype="0" dur="5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" presetID="10" presetClass="entr" presetSubtype="0" dur="5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0" presetClass="entr" presetSubtype="0" dur="5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10" presetClass="entr" presetSubtype="0" dur="5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" presetID="10" presetClass="entr" presetSubtype="0" dur="5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1" presetID="10" presetClass="entr" presetSubtype="0" dur="5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3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4" presetID="10" presetClass="entr" presetSubtype="0" dur="5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7" presetID="10" presetClass="entr" presetSubtype="0" dur="5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9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0" presetID="10" presetClass="entr" presetSubtype="0" dur="5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2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3" presetID="10" presetClass="entr" presetSubtype="0" dur="5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5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6" presetID="10" presetClass="entr" presetSubtype="0" dur="5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8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9" presetID="10" presetClass="entr" presetSubtype="0" dur="5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1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2" grpId="0"/>
      <p:bldP spid="32" grpId="0" animBg="1"/>
      <p:bldP spid="33" grpId="0" animBg="1"/>
      <p:bldP spid="34" grpId="0" animBg="1"/>
      <p:bldP spid="35" grpId="0" animBg="1"/>
      <p:bldP spid="36" grpId="0" animBg="1"/>
      <p:bldP spid="37" grpId="0" animBg="1"/>
      <p:bldP spid="39" grpId="0"/>
      <p:bldP spid="40" grpId="0" animBg="1"/>
      <p:bldP spid="41" grpId="0"/>
      <p:bldP spid="42" grpId="0"/>
      <p:bldP spid="3" grpId="0"/>
      <p:bldP spid="44" grpId="0"/>
      <p:bldP spid="45" grpId="0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 flip="none" rotWithShape="1">
          <a:gsLst>
            <a:gs pos="100000">
              <a:srgbClr val="595959">
                <a:alpha val="36000"/>
              </a:srgbClr>
            </a:gs>
            <a:gs pos="15000">
              <a:schemeClr val="bg1">
                <a:lumMod val="95000"/>
                <a:alpha val="58000"/>
              </a:schemeClr>
            </a:gs>
          </a:gsLst>
          <a:path path="circle">
            <a:fillToRect l="50000" t="50000" r="50000" b="50000"/>
          </a:path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图片 3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5400000">
            <a:off x="-1868125" y="1204784"/>
            <a:ext cx="9267568" cy="6858000"/>
          </a:xfrm>
          <a:prstGeom prst="rect">
            <a:avLst/>
          </a:prstGeom>
        </p:spPr>
      </p:pic>
      <p:sp>
        <p:nvSpPr>
          <p:cNvPr id="5" name="文本框 4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SpPr txBox="1"/>
          <p:nvPr/>
        </p:nvSpPr>
        <p:spPr>
          <a:xfrm>
            <a:off x="1305577" y="2955924"/>
            <a:ext cx="3344762" cy="76944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4400" b="1">
                <a:solidFill>
                  <a:schemeClr val="bg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rPr>
              <a:t>CONTENTS</a:t>
            </a:r>
            <a:endParaRPr lang="zh-CN" altLang="en-US" sz="4400" b="1">
              <a:solidFill>
                <a:schemeClr val="bg1"/>
              </a:solidFill>
              <a:latin typeface="Arial" panose="020B0604020202020204" pitchFamily="34" charset="0"/>
              <a:ea typeface="微软雅黑" panose="020B0503020204020204" pitchFamily="34" charset="-122"/>
              <a:cs typeface="思源黑体 CN Regular" panose="020B0500000000000000" charset="-122"/>
              <a:sym typeface="Arial" panose="020B0604020202020204" pitchFamily="34" charset="0"/>
            </a:endParaRPr>
          </a:p>
        </p:txBody>
      </p:sp>
      <p:sp>
        <p:nvSpPr>
          <p:cNvPr id="6" name="Text Placeholder 4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SpPr txBox="1"/>
          <p:nvPr/>
        </p:nvSpPr>
        <p:spPr>
          <a:xfrm>
            <a:off x="1357163" y="3640756"/>
            <a:ext cx="3099334" cy="304800"/>
          </a:xfrm>
          <a:prstGeom prst="rect">
            <a:avLst/>
          </a:prstGeom>
          <a:ln>
            <a:noFill/>
          </a:ln>
        </p:spPr>
        <p:txBody>
          <a:bodyPr/>
          <a:lstStyle>
            <a:lvl1pPr marL="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8800" b="0" kern="1200">
                <a:solidFill>
                  <a:schemeClr val="bg1"/>
                </a:solidFill>
                <a:latin typeface="Levenim MT" panose="02010502060101010101" pitchFamily="2" charset="-79"/>
                <a:ea typeface="Yu Gothic" panose="020B0400000000000000" pitchFamily="34" charset="-128"/>
                <a:cs typeface="Levenim MT" panose="02010502060101010101" pitchFamily="2" charset="-79"/>
              </a:defRPr>
            </a:lvl1pPr>
            <a:lvl2pPr marL="742950" indent="-28575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dist"/>
            <a:r>
              <a:rPr lang="en-US" sz="1200" b="1" spc="-300">
                <a:latin typeface="Arial" panose="020B0604020202020204" pitchFamily="34" charset="0"/>
                <a:ea typeface="微软雅黑" panose="020B0503020204020204" pitchFamily="34" charset="-122"/>
                <a:cs typeface="等线" panose="02010600030101010101" charset="-122"/>
                <a:sym typeface="Arial" panose="020B0604020202020204" pitchFamily="34" charset="0"/>
              </a:rPr>
              <a:t>T     H     E               M     O     D     E     R     N               P     R    E     S     E    N     T     A     T     I     O     N</a:t>
            </a:r>
          </a:p>
        </p:txBody>
      </p:sp>
      <p:cxnSp>
        <p:nvCxnSpPr>
          <p:cNvPr id="7" name="Straight Connector 2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CxnSpPr/>
          <p:nvPr/>
        </p:nvCxnSpPr>
        <p:spPr>
          <a:xfrm>
            <a:off x="0" y="3952402"/>
            <a:ext cx="440274" cy="0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3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CxnSpPr/>
          <p:nvPr/>
        </p:nvCxnSpPr>
        <p:spPr>
          <a:xfrm>
            <a:off x="0" y="4217589"/>
            <a:ext cx="440274" cy="0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4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CxnSpPr/>
          <p:nvPr/>
        </p:nvCxnSpPr>
        <p:spPr>
          <a:xfrm>
            <a:off x="0" y="4482776"/>
            <a:ext cx="440274" cy="0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Shape 2528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SpPr/>
          <p:nvPr/>
        </p:nvSpPr>
        <p:spPr>
          <a:xfrm>
            <a:off x="6026636" y="2245397"/>
            <a:ext cx="287034" cy="39467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250" y="19636"/>
                </a:moveTo>
                <a:cubicBezTo>
                  <a:pt x="20250" y="20178"/>
                  <a:pt x="19645" y="20618"/>
                  <a:pt x="18900" y="20618"/>
                </a:cubicBezTo>
                <a:lnTo>
                  <a:pt x="2700" y="20618"/>
                </a:lnTo>
                <a:cubicBezTo>
                  <a:pt x="1955" y="20618"/>
                  <a:pt x="1350" y="20178"/>
                  <a:pt x="1350" y="19636"/>
                </a:cubicBezTo>
                <a:lnTo>
                  <a:pt x="1350" y="10800"/>
                </a:lnTo>
                <a:cubicBezTo>
                  <a:pt x="1350" y="10258"/>
                  <a:pt x="1955" y="9818"/>
                  <a:pt x="2700" y="9818"/>
                </a:cubicBezTo>
                <a:lnTo>
                  <a:pt x="18900" y="9818"/>
                </a:lnTo>
                <a:cubicBezTo>
                  <a:pt x="19645" y="9818"/>
                  <a:pt x="20250" y="10258"/>
                  <a:pt x="20250" y="10800"/>
                </a:cubicBezTo>
                <a:cubicBezTo>
                  <a:pt x="20250" y="10800"/>
                  <a:pt x="20250" y="19636"/>
                  <a:pt x="20250" y="19636"/>
                </a:cubicBezTo>
                <a:close/>
                <a:moveTo>
                  <a:pt x="4050" y="5891"/>
                </a:moveTo>
                <a:cubicBezTo>
                  <a:pt x="4050" y="3180"/>
                  <a:pt x="7072" y="982"/>
                  <a:pt x="10800" y="982"/>
                </a:cubicBezTo>
                <a:cubicBezTo>
                  <a:pt x="14528" y="982"/>
                  <a:pt x="17550" y="3180"/>
                  <a:pt x="17550" y="5891"/>
                </a:cubicBezTo>
                <a:lnTo>
                  <a:pt x="17550" y="8836"/>
                </a:lnTo>
                <a:lnTo>
                  <a:pt x="4050" y="8836"/>
                </a:lnTo>
                <a:cubicBezTo>
                  <a:pt x="4050" y="8836"/>
                  <a:pt x="4050" y="5891"/>
                  <a:pt x="4050" y="5891"/>
                </a:cubicBezTo>
                <a:close/>
                <a:moveTo>
                  <a:pt x="18900" y="8836"/>
                </a:moveTo>
                <a:lnTo>
                  <a:pt x="18900" y="5891"/>
                </a:lnTo>
                <a:cubicBezTo>
                  <a:pt x="18900" y="2638"/>
                  <a:pt x="15273" y="0"/>
                  <a:pt x="10800" y="0"/>
                </a:cubicBezTo>
                <a:cubicBezTo>
                  <a:pt x="6327" y="0"/>
                  <a:pt x="2700" y="2638"/>
                  <a:pt x="2700" y="5891"/>
                </a:cubicBezTo>
                <a:lnTo>
                  <a:pt x="2700" y="8836"/>
                </a:lnTo>
                <a:cubicBezTo>
                  <a:pt x="1209" y="8836"/>
                  <a:pt x="0" y="9716"/>
                  <a:pt x="0" y="10800"/>
                </a:cubicBezTo>
                <a:lnTo>
                  <a:pt x="0" y="19636"/>
                </a:lnTo>
                <a:cubicBezTo>
                  <a:pt x="0" y="20721"/>
                  <a:pt x="1209" y="21600"/>
                  <a:pt x="2700" y="21600"/>
                </a:cubicBezTo>
                <a:lnTo>
                  <a:pt x="18900" y="21600"/>
                </a:lnTo>
                <a:cubicBezTo>
                  <a:pt x="20391" y="21600"/>
                  <a:pt x="21600" y="20721"/>
                  <a:pt x="21600" y="19636"/>
                </a:cubicBezTo>
                <a:lnTo>
                  <a:pt x="21600" y="10800"/>
                </a:lnTo>
                <a:cubicBezTo>
                  <a:pt x="21600" y="9716"/>
                  <a:pt x="20391" y="8836"/>
                  <a:pt x="18900" y="8836"/>
                </a:cubicBezTo>
                <a:moveTo>
                  <a:pt x="11475" y="15573"/>
                </a:moveTo>
                <a:lnTo>
                  <a:pt x="11475" y="16200"/>
                </a:lnTo>
                <a:cubicBezTo>
                  <a:pt x="11475" y="16472"/>
                  <a:pt x="11172" y="16691"/>
                  <a:pt x="10800" y="16691"/>
                </a:cubicBezTo>
                <a:cubicBezTo>
                  <a:pt x="10428" y="16691"/>
                  <a:pt x="10125" y="16472"/>
                  <a:pt x="10125" y="16200"/>
                </a:cubicBezTo>
                <a:lnTo>
                  <a:pt x="10125" y="15573"/>
                </a:lnTo>
                <a:cubicBezTo>
                  <a:pt x="9723" y="15403"/>
                  <a:pt x="9450" y="15090"/>
                  <a:pt x="9450" y="14727"/>
                </a:cubicBezTo>
                <a:cubicBezTo>
                  <a:pt x="9450" y="14186"/>
                  <a:pt x="10055" y="13745"/>
                  <a:pt x="10800" y="13745"/>
                </a:cubicBezTo>
                <a:cubicBezTo>
                  <a:pt x="11545" y="13745"/>
                  <a:pt x="12150" y="14186"/>
                  <a:pt x="12150" y="14727"/>
                </a:cubicBezTo>
                <a:cubicBezTo>
                  <a:pt x="12150" y="15090"/>
                  <a:pt x="11876" y="15403"/>
                  <a:pt x="11475" y="15573"/>
                </a:cubicBezTo>
                <a:moveTo>
                  <a:pt x="10800" y="12764"/>
                </a:moveTo>
                <a:cubicBezTo>
                  <a:pt x="9309" y="12764"/>
                  <a:pt x="8100" y="13643"/>
                  <a:pt x="8100" y="14727"/>
                </a:cubicBezTo>
                <a:cubicBezTo>
                  <a:pt x="8100" y="15232"/>
                  <a:pt x="8369" y="15687"/>
                  <a:pt x="8798" y="16034"/>
                </a:cubicBezTo>
                <a:cubicBezTo>
                  <a:pt x="8789" y="16089"/>
                  <a:pt x="8775" y="16144"/>
                  <a:pt x="8775" y="16200"/>
                </a:cubicBezTo>
                <a:cubicBezTo>
                  <a:pt x="8775" y="17014"/>
                  <a:pt x="9681" y="17673"/>
                  <a:pt x="10800" y="17673"/>
                </a:cubicBezTo>
                <a:cubicBezTo>
                  <a:pt x="11919" y="17673"/>
                  <a:pt x="12825" y="17014"/>
                  <a:pt x="12825" y="16200"/>
                </a:cubicBezTo>
                <a:cubicBezTo>
                  <a:pt x="12825" y="16144"/>
                  <a:pt x="12810" y="16089"/>
                  <a:pt x="12802" y="16034"/>
                </a:cubicBezTo>
                <a:cubicBezTo>
                  <a:pt x="13231" y="15686"/>
                  <a:pt x="13500" y="15232"/>
                  <a:pt x="13500" y="14727"/>
                </a:cubicBezTo>
                <a:cubicBezTo>
                  <a:pt x="13500" y="13643"/>
                  <a:pt x="12291" y="12764"/>
                  <a:pt x="10800" y="12764"/>
                </a:cubicBezTo>
              </a:path>
            </a:pathLst>
          </a:custGeom>
          <a:solidFill>
            <a:schemeClr val="accent1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6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1500">
              <a:latin typeface="Arial" panose="020B0604020202020204" pitchFamily="34" charset="0"/>
              <a:ea typeface="微软雅黑" panose="020B0503020204020204" pitchFamily="34" charset="-122"/>
              <a:cs typeface="等线" panose="02010600030101010101" charset="-122"/>
              <a:sym typeface="Arial" panose="020B0604020202020204" pitchFamily="34" charset="0"/>
            </a:endParaRPr>
          </a:p>
        </p:txBody>
      </p:sp>
      <p:sp>
        <p:nvSpPr>
          <p:cNvPr id="11" name="Shape 2538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SpPr/>
          <p:nvPr/>
        </p:nvSpPr>
        <p:spPr>
          <a:xfrm>
            <a:off x="6026636" y="5006823"/>
            <a:ext cx="322913" cy="3946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400" y="5891"/>
                </a:moveTo>
                <a:lnTo>
                  <a:pt x="1200" y="5891"/>
                </a:lnTo>
                <a:lnTo>
                  <a:pt x="1200" y="3927"/>
                </a:lnTo>
                <a:lnTo>
                  <a:pt x="6000" y="3927"/>
                </a:lnTo>
                <a:cubicBezTo>
                  <a:pt x="6000" y="4469"/>
                  <a:pt x="6538" y="4909"/>
                  <a:pt x="7200" y="4909"/>
                </a:cubicBezTo>
                <a:lnTo>
                  <a:pt x="14400" y="4909"/>
                </a:lnTo>
                <a:cubicBezTo>
                  <a:pt x="15062" y="4909"/>
                  <a:pt x="15600" y="4469"/>
                  <a:pt x="15600" y="3927"/>
                </a:cubicBezTo>
                <a:lnTo>
                  <a:pt x="20400" y="3927"/>
                </a:lnTo>
                <a:cubicBezTo>
                  <a:pt x="20400" y="3927"/>
                  <a:pt x="20400" y="5891"/>
                  <a:pt x="20400" y="5891"/>
                </a:cubicBezTo>
                <a:close/>
                <a:moveTo>
                  <a:pt x="20400" y="20618"/>
                </a:moveTo>
                <a:lnTo>
                  <a:pt x="1200" y="20618"/>
                </a:lnTo>
                <a:lnTo>
                  <a:pt x="1200" y="6873"/>
                </a:lnTo>
                <a:lnTo>
                  <a:pt x="20400" y="6873"/>
                </a:lnTo>
                <a:cubicBezTo>
                  <a:pt x="20400" y="6873"/>
                  <a:pt x="20400" y="20618"/>
                  <a:pt x="20400" y="20618"/>
                </a:cubicBezTo>
                <a:close/>
                <a:moveTo>
                  <a:pt x="7200" y="1964"/>
                </a:moveTo>
                <a:lnTo>
                  <a:pt x="14400" y="1964"/>
                </a:lnTo>
                <a:lnTo>
                  <a:pt x="14400" y="3927"/>
                </a:lnTo>
                <a:lnTo>
                  <a:pt x="7200" y="3927"/>
                </a:lnTo>
                <a:cubicBezTo>
                  <a:pt x="7200" y="3927"/>
                  <a:pt x="7200" y="1964"/>
                  <a:pt x="7200" y="1964"/>
                </a:cubicBezTo>
                <a:close/>
                <a:moveTo>
                  <a:pt x="20400" y="2945"/>
                </a:moveTo>
                <a:lnTo>
                  <a:pt x="15600" y="2945"/>
                </a:lnTo>
                <a:lnTo>
                  <a:pt x="15600" y="1964"/>
                </a:lnTo>
                <a:cubicBezTo>
                  <a:pt x="15600" y="1422"/>
                  <a:pt x="15062" y="982"/>
                  <a:pt x="14400" y="982"/>
                </a:cubicBezTo>
                <a:lnTo>
                  <a:pt x="12000" y="982"/>
                </a:lnTo>
                <a:cubicBezTo>
                  <a:pt x="12000" y="440"/>
                  <a:pt x="11462" y="0"/>
                  <a:pt x="10800" y="0"/>
                </a:cubicBezTo>
                <a:cubicBezTo>
                  <a:pt x="10138" y="0"/>
                  <a:pt x="9600" y="440"/>
                  <a:pt x="9600" y="982"/>
                </a:cubicBezTo>
                <a:lnTo>
                  <a:pt x="7200" y="982"/>
                </a:lnTo>
                <a:cubicBezTo>
                  <a:pt x="6538" y="982"/>
                  <a:pt x="6000" y="1422"/>
                  <a:pt x="6000" y="1964"/>
                </a:cubicBezTo>
                <a:lnTo>
                  <a:pt x="6000" y="2945"/>
                </a:lnTo>
                <a:lnTo>
                  <a:pt x="1200" y="2945"/>
                </a:lnTo>
                <a:cubicBezTo>
                  <a:pt x="538" y="2945"/>
                  <a:pt x="0" y="3386"/>
                  <a:pt x="0" y="3927"/>
                </a:cubicBezTo>
                <a:lnTo>
                  <a:pt x="0" y="20618"/>
                </a:lnTo>
                <a:cubicBezTo>
                  <a:pt x="0" y="21160"/>
                  <a:pt x="538" y="21600"/>
                  <a:pt x="1200" y="21600"/>
                </a:cubicBezTo>
                <a:lnTo>
                  <a:pt x="20400" y="21600"/>
                </a:lnTo>
                <a:cubicBezTo>
                  <a:pt x="21062" y="21600"/>
                  <a:pt x="21600" y="21160"/>
                  <a:pt x="21600" y="20618"/>
                </a:cubicBezTo>
                <a:lnTo>
                  <a:pt x="21600" y="3927"/>
                </a:lnTo>
                <a:cubicBezTo>
                  <a:pt x="21600" y="3386"/>
                  <a:pt x="21062" y="2945"/>
                  <a:pt x="20400" y="2945"/>
                </a:cubicBezTo>
                <a:moveTo>
                  <a:pt x="4200" y="16691"/>
                </a:moveTo>
                <a:lnTo>
                  <a:pt x="15000" y="16691"/>
                </a:lnTo>
                <a:cubicBezTo>
                  <a:pt x="15331" y="16691"/>
                  <a:pt x="15600" y="16472"/>
                  <a:pt x="15600" y="16200"/>
                </a:cubicBezTo>
                <a:cubicBezTo>
                  <a:pt x="15600" y="15929"/>
                  <a:pt x="15331" y="15709"/>
                  <a:pt x="15000" y="15709"/>
                </a:cubicBezTo>
                <a:lnTo>
                  <a:pt x="4200" y="15709"/>
                </a:lnTo>
                <a:cubicBezTo>
                  <a:pt x="3869" y="15709"/>
                  <a:pt x="3600" y="15929"/>
                  <a:pt x="3600" y="16200"/>
                </a:cubicBezTo>
                <a:cubicBezTo>
                  <a:pt x="3600" y="16472"/>
                  <a:pt x="3869" y="16691"/>
                  <a:pt x="4200" y="16691"/>
                </a:cubicBezTo>
                <a:moveTo>
                  <a:pt x="4200" y="13745"/>
                </a:moveTo>
                <a:lnTo>
                  <a:pt x="17400" y="13745"/>
                </a:lnTo>
                <a:cubicBezTo>
                  <a:pt x="17731" y="13745"/>
                  <a:pt x="18000" y="13526"/>
                  <a:pt x="18000" y="13255"/>
                </a:cubicBezTo>
                <a:cubicBezTo>
                  <a:pt x="18000" y="12984"/>
                  <a:pt x="17731" y="12764"/>
                  <a:pt x="17400" y="12764"/>
                </a:cubicBezTo>
                <a:lnTo>
                  <a:pt x="4200" y="12764"/>
                </a:lnTo>
                <a:cubicBezTo>
                  <a:pt x="3869" y="12764"/>
                  <a:pt x="3600" y="12984"/>
                  <a:pt x="3600" y="13255"/>
                </a:cubicBezTo>
                <a:cubicBezTo>
                  <a:pt x="3600" y="13526"/>
                  <a:pt x="3869" y="13745"/>
                  <a:pt x="4200" y="13745"/>
                </a:cubicBezTo>
                <a:moveTo>
                  <a:pt x="4200" y="10800"/>
                </a:moveTo>
                <a:lnTo>
                  <a:pt x="11400" y="10800"/>
                </a:lnTo>
                <a:cubicBezTo>
                  <a:pt x="11731" y="10800"/>
                  <a:pt x="12000" y="10581"/>
                  <a:pt x="12000" y="10309"/>
                </a:cubicBezTo>
                <a:cubicBezTo>
                  <a:pt x="12000" y="10038"/>
                  <a:pt x="11731" y="9818"/>
                  <a:pt x="11400" y="9818"/>
                </a:cubicBezTo>
                <a:lnTo>
                  <a:pt x="4200" y="9818"/>
                </a:lnTo>
                <a:cubicBezTo>
                  <a:pt x="3869" y="9818"/>
                  <a:pt x="3600" y="10038"/>
                  <a:pt x="3600" y="10309"/>
                </a:cubicBezTo>
                <a:cubicBezTo>
                  <a:pt x="3600" y="10581"/>
                  <a:pt x="3869" y="10800"/>
                  <a:pt x="4200" y="10800"/>
                </a:cubicBezTo>
              </a:path>
            </a:pathLst>
          </a:custGeom>
          <a:solidFill>
            <a:schemeClr val="accent1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6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1500">
              <a:latin typeface="Arial" panose="020B0604020202020204" pitchFamily="34" charset="0"/>
              <a:ea typeface="微软雅黑" panose="020B0503020204020204" pitchFamily="34" charset="-122"/>
              <a:cs typeface="等线" panose="02010600030101010101" charset="-122"/>
              <a:sym typeface="Arial" panose="020B0604020202020204" pitchFamily="34" charset="0"/>
            </a:endParaRPr>
          </a:p>
        </p:txBody>
      </p:sp>
      <p:sp>
        <p:nvSpPr>
          <p:cNvPr id="12" name="Shape 2587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SpPr/>
          <p:nvPr/>
        </p:nvSpPr>
        <p:spPr>
          <a:xfrm>
            <a:off x="6026636" y="780732"/>
            <a:ext cx="406717" cy="406717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2281" y="19846"/>
                </a:moveTo>
                <a:lnTo>
                  <a:pt x="9413" y="12882"/>
                </a:lnTo>
                <a:lnTo>
                  <a:pt x="19655" y="2640"/>
                </a:lnTo>
                <a:cubicBezTo>
                  <a:pt x="19655" y="2640"/>
                  <a:pt x="12281" y="19846"/>
                  <a:pt x="12281" y="19846"/>
                </a:cubicBezTo>
                <a:close/>
                <a:moveTo>
                  <a:pt x="1755" y="9320"/>
                </a:moveTo>
                <a:lnTo>
                  <a:pt x="18960" y="1945"/>
                </a:lnTo>
                <a:lnTo>
                  <a:pt x="8719" y="12187"/>
                </a:lnTo>
                <a:cubicBezTo>
                  <a:pt x="8719" y="12187"/>
                  <a:pt x="1755" y="9320"/>
                  <a:pt x="1755" y="9320"/>
                </a:cubicBezTo>
                <a:close/>
                <a:moveTo>
                  <a:pt x="21600" y="491"/>
                </a:moveTo>
                <a:cubicBezTo>
                  <a:pt x="21600" y="220"/>
                  <a:pt x="21380" y="0"/>
                  <a:pt x="21109" y="0"/>
                </a:cubicBezTo>
                <a:cubicBezTo>
                  <a:pt x="21034" y="0"/>
                  <a:pt x="20964" y="20"/>
                  <a:pt x="20900" y="52"/>
                </a:cubicBezTo>
                <a:lnTo>
                  <a:pt x="20898" y="48"/>
                </a:lnTo>
                <a:lnTo>
                  <a:pt x="302" y="8875"/>
                </a:lnTo>
                <a:cubicBezTo>
                  <a:pt x="301" y="8875"/>
                  <a:pt x="299" y="8876"/>
                  <a:pt x="297" y="8877"/>
                </a:cubicBezTo>
                <a:lnTo>
                  <a:pt x="280" y="8885"/>
                </a:lnTo>
                <a:lnTo>
                  <a:pt x="281" y="8887"/>
                </a:lnTo>
                <a:cubicBezTo>
                  <a:pt x="116" y="8967"/>
                  <a:pt x="0" y="9132"/>
                  <a:pt x="0" y="9327"/>
                </a:cubicBezTo>
                <a:cubicBezTo>
                  <a:pt x="0" y="9550"/>
                  <a:pt x="151" y="9731"/>
                  <a:pt x="355" y="9791"/>
                </a:cubicBezTo>
                <a:lnTo>
                  <a:pt x="353" y="9799"/>
                </a:lnTo>
                <a:lnTo>
                  <a:pt x="8462" y="13138"/>
                </a:lnTo>
                <a:lnTo>
                  <a:pt x="11801" y="21248"/>
                </a:lnTo>
                <a:lnTo>
                  <a:pt x="11809" y="21245"/>
                </a:lnTo>
                <a:cubicBezTo>
                  <a:pt x="11869" y="21449"/>
                  <a:pt x="12050" y="21600"/>
                  <a:pt x="12273" y="21600"/>
                </a:cubicBezTo>
                <a:cubicBezTo>
                  <a:pt x="12468" y="21600"/>
                  <a:pt x="12634" y="21484"/>
                  <a:pt x="12713" y="21319"/>
                </a:cubicBezTo>
                <a:lnTo>
                  <a:pt x="12716" y="21320"/>
                </a:lnTo>
                <a:lnTo>
                  <a:pt x="12723" y="21303"/>
                </a:lnTo>
                <a:cubicBezTo>
                  <a:pt x="12724" y="21301"/>
                  <a:pt x="12725" y="21300"/>
                  <a:pt x="12725" y="21298"/>
                </a:cubicBezTo>
                <a:lnTo>
                  <a:pt x="21553" y="702"/>
                </a:lnTo>
                <a:lnTo>
                  <a:pt x="21547" y="699"/>
                </a:lnTo>
                <a:cubicBezTo>
                  <a:pt x="21578" y="636"/>
                  <a:pt x="21600" y="567"/>
                  <a:pt x="21600" y="491"/>
                </a:cubicBezTo>
                <a:moveTo>
                  <a:pt x="7855" y="16200"/>
                </a:moveTo>
                <a:cubicBezTo>
                  <a:pt x="7719" y="16200"/>
                  <a:pt x="7596" y="16255"/>
                  <a:pt x="7507" y="16344"/>
                </a:cubicBezTo>
                <a:lnTo>
                  <a:pt x="6035" y="17817"/>
                </a:lnTo>
                <a:cubicBezTo>
                  <a:pt x="5946" y="17905"/>
                  <a:pt x="5891" y="18029"/>
                  <a:pt x="5891" y="18164"/>
                </a:cubicBezTo>
                <a:cubicBezTo>
                  <a:pt x="5891" y="18435"/>
                  <a:pt x="6111" y="18655"/>
                  <a:pt x="6382" y="18655"/>
                </a:cubicBezTo>
                <a:cubicBezTo>
                  <a:pt x="6517" y="18655"/>
                  <a:pt x="6640" y="18600"/>
                  <a:pt x="6729" y="18511"/>
                </a:cubicBezTo>
                <a:lnTo>
                  <a:pt x="8202" y="17038"/>
                </a:lnTo>
                <a:cubicBezTo>
                  <a:pt x="8291" y="16950"/>
                  <a:pt x="8345" y="16827"/>
                  <a:pt x="8345" y="16691"/>
                </a:cubicBezTo>
                <a:cubicBezTo>
                  <a:pt x="8345" y="16420"/>
                  <a:pt x="8126" y="16200"/>
                  <a:pt x="7855" y="16200"/>
                </a:cubicBezTo>
                <a:moveTo>
                  <a:pt x="7855" y="14237"/>
                </a:moveTo>
                <a:cubicBezTo>
                  <a:pt x="7855" y="13966"/>
                  <a:pt x="7635" y="13745"/>
                  <a:pt x="7364" y="13745"/>
                </a:cubicBezTo>
                <a:cubicBezTo>
                  <a:pt x="7228" y="13745"/>
                  <a:pt x="7105" y="13801"/>
                  <a:pt x="7017" y="13889"/>
                </a:cubicBezTo>
                <a:lnTo>
                  <a:pt x="2107" y="18798"/>
                </a:lnTo>
                <a:cubicBezTo>
                  <a:pt x="2019" y="18888"/>
                  <a:pt x="1964" y="19011"/>
                  <a:pt x="1964" y="19145"/>
                </a:cubicBezTo>
                <a:cubicBezTo>
                  <a:pt x="1964" y="19417"/>
                  <a:pt x="2184" y="19636"/>
                  <a:pt x="2455" y="19636"/>
                </a:cubicBezTo>
                <a:cubicBezTo>
                  <a:pt x="2590" y="19636"/>
                  <a:pt x="2713" y="19582"/>
                  <a:pt x="2802" y="19493"/>
                </a:cubicBezTo>
                <a:lnTo>
                  <a:pt x="7711" y="14583"/>
                </a:lnTo>
                <a:cubicBezTo>
                  <a:pt x="7800" y="14495"/>
                  <a:pt x="7855" y="14372"/>
                  <a:pt x="7855" y="14237"/>
                </a:cubicBezTo>
                <a:moveTo>
                  <a:pt x="4765" y="14583"/>
                </a:moveTo>
                <a:lnTo>
                  <a:pt x="5256" y="14093"/>
                </a:lnTo>
                <a:cubicBezTo>
                  <a:pt x="5345" y="14004"/>
                  <a:pt x="5400" y="13881"/>
                  <a:pt x="5400" y="13745"/>
                </a:cubicBezTo>
                <a:cubicBezTo>
                  <a:pt x="5400" y="13475"/>
                  <a:pt x="5180" y="13255"/>
                  <a:pt x="4909" y="13255"/>
                </a:cubicBezTo>
                <a:cubicBezTo>
                  <a:pt x="4774" y="13255"/>
                  <a:pt x="4651" y="13310"/>
                  <a:pt x="4562" y="13398"/>
                </a:cubicBezTo>
                <a:lnTo>
                  <a:pt x="4071" y="13889"/>
                </a:lnTo>
                <a:cubicBezTo>
                  <a:pt x="3982" y="13979"/>
                  <a:pt x="3927" y="14101"/>
                  <a:pt x="3927" y="14237"/>
                </a:cubicBezTo>
                <a:cubicBezTo>
                  <a:pt x="3927" y="14507"/>
                  <a:pt x="4147" y="14727"/>
                  <a:pt x="4418" y="14727"/>
                </a:cubicBezTo>
                <a:cubicBezTo>
                  <a:pt x="4554" y="14727"/>
                  <a:pt x="4676" y="14673"/>
                  <a:pt x="4765" y="14583"/>
                </a:cubicBezTo>
              </a:path>
            </a:pathLst>
          </a:custGeom>
          <a:solidFill>
            <a:schemeClr val="accent1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6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1500">
              <a:latin typeface="Arial" panose="020B0604020202020204" pitchFamily="34" charset="0"/>
              <a:ea typeface="微软雅黑" panose="020B0503020204020204" pitchFamily="34" charset="-122"/>
              <a:cs typeface="等线" panose="02010600030101010101" charset="-122"/>
              <a:sym typeface="Arial" panose="020B0604020202020204" pitchFamily="34" charset="0"/>
            </a:endParaRPr>
          </a:p>
        </p:txBody>
      </p:sp>
      <p:sp>
        <p:nvSpPr>
          <p:cNvPr id="13" name="Shape 2604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SpPr/>
          <p:nvPr/>
        </p:nvSpPr>
        <p:spPr>
          <a:xfrm>
            <a:off x="6026636" y="3686895"/>
            <a:ext cx="497099" cy="406717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9600"/>
                </a:moveTo>
                <a:lnTo>
                  <a:pt x="17673" y="9600"/>
                </a:lnTo>
                <a:lnTo>
                  <a:pt x="17673" y="8400"/>
                </a:lnTo>
                <a:cubicBezTo>
                  <a:pt x="17673" y="7738"/>
                  <a:pt x="17233" y="7200"/>
                  <a:pt x="16691" y="7200"/>
                </a:cubicBezTo>
                <a:lnTo>
                  <a:pt x="14727" y="7200"/>
                </a:lnTo>
                <a:cubicBezTo>
                  <a:pt x="14186" y="7200"/>
                  <a:pt x="13745" y="7738"/>
                  <a:pt x="13745" y="8400"/>
                </a:cubicBezTo>
                <a:lnTo>
                  <a:pt x="13745" y="9600"/>
                </a:lnTo>
                <a:lnTo>
                  <a:pt x="7855" y="9600"/>
                </a:lnTo>
                <a:lnTo>
                  <a:pt x="7855" y="8400"/>
                </a:lnTo>
                <a:cubicBezTo>
                  <a:pt x="7855" y="7738"/>
                  <a:pt x="7414" y="7200"/>
                  <a:pt x="6873" y="7200"/>
                </a:cubicBezTo>
                <a:lnTo>
                  <a:pt x="4909" y="7200"/>
                </a:lnTo>
                <a:cubicBezTo>
                  <a:pt x="4367" y="7200"/>
                  <a:pt x="3927" y="7738"/>
                  <a:pt x="3927" y="8400"/>
                </a:cubicBezTo>
                <a:lnTo>
                  <a:pt x="3927" y="9600"/>
                </a:lnTo>
                <a:lnTo>
                  <a:pt x="982" y="9600"/>
                </a:lnTo>
                <a:lnTo>
                  <a:pt x="982" y="3601"/>
                </a:lnTo>
                <a:lnTo>
                  <a:pt x="20618" y="3601"/>
                </a:lnTo>
                <a:cubicBezTo>
                  <a:pt x="20618" y="3601"/>
                  <a:pt x="20618" y="9600"/>
                  <a:pt x="20618" y="9600"/>
                </a:cubicBezTo>
                <a:close/>
                <a:moveTo>
                  <a:pt x="14727" y="8400"/>
                </a:moveTo>
                <a:lnTo>
                  <a:pt x="16691" y="8400"/>
                </a:lnTo>
                <a:lnTo>
                  <a:pt x="16691" y="12001"/>
                </a:lnTo>
                <a:lnTo>
                  <a:pt x="14727" y="12001"/>
                </a:lnTo>
                <a:cubicBezTo>
                  <a:pt x="14727" y="12001"/>
                  <a:pt x="14727" y="8400"/>
                  <a:pt x="14727" y="8400"/>
                </a:cubicBezTo>
                <a:close/>
                <a:moveTo>
                  <a:pt x="4909" y="8400"/>
                </a:moveTo>
                <a:lnTo>
                  <a:pt x="6873" y="8400"/>
                </a:lnTo>
                <a:lnTo>
                  <a:pt x="6873" y="12001"/>
                </a:lnTo>
                <a:lnTo>
                  <a:pt x="4909" y="12001"/>
                </a:lnTo>
                <a:cubicBezTo>
                  <a:pt x="4909" y="12001"/>
                  <a:pt x="4909" y="8400"/>
                  <a:pt x="4909" y="8400"/>
                </a:cubicBezTo>
                <a:close/>
                <a:moveTo>
                  <a:pt x="19636" y="20400"/>
                </a:moveTo>
                <a:lnTo>
                  <a:pt x="1964" y="20400"/>
                </a:lnTo>
                <a:lnTo>
                  <a:pt x="1964" y="10800"/>
                </a:lnTo>
                <a:lnTo>
                  <a:pt x="3927" y="10800"/>
                </a:lnTo>
                <a:lnTo>
                  <a:pt x="3927" y="12001"/>
                </a:lnTo>
                <a:cubicBezTo>
                  <a:pt x="3927" y="12662"/>
                  <a:pt x="4367" y="13200"/>
                  <a:pt x="4909" y="13200"/>
                </a:cubicBezTo>
                <a:lnTo>
                  <a:pt x="6873" y="13200"/>
                </a:lnTo>
                <a:cubicBezTo>
                  <a:pt x="7414" y="13200"/>
                  <a:pt x="7855" y="12662"/>
                  <a:pt x="7855" y="12001"/>
                </a:cubicBezTo>
                <a:lnTo>
                  <a:pt x="7855" y="10800"/>
                </a:lnTo>
                <a:lnTo>
                  <a:pt x="13745" y="10800"/>
                </a:lnTo>
                <a:lnTo>
                  <a:pt x="13745" y="12001"/>
                </a:lnTo>
                <a:cubicBezTo>
                  <a:pt x="13745" y="12662"/>
                  <a:pt x="14186" y="13200"/>
                  <a:pt x="14727" y="13200"/>
                </a:cubicBezTo>
                <a:lnTo>
                  <a:pt x="16691" y="13200"/>
                </a:lnTo>
                <a:cubicBezTo>
                  <a:pt x="17233" y="13200"/>
                  <a:pt x="17673" y="12662"/>
                  <a:pt x="17673" y="12001"/>
                </a:cubicBezTo>
                <a:lnTo>
                  <a:pt x="17673" y="10800"/>
                </a:lnTo>
                <a:lnTo>
                  <a:pt x="19636" y="10800"/>
                </a:lnTo>
                <a:cubicBezTo>
                  <a:pt x="19636" y="10800"/>
                  <a:pt x="19636" y="20400"/>
                  <a:pt x="19636" y="20400"/>
                </a:cubicBezTo>
                <a:close/>
                <a:moveTo>
                  <a:pt x="8836" y="1200"/>
                </a:moveTo>
                <a:lnTo>
                  <a:pt x="12764" y="1200"/>
                </a:lnTo>
                <a:cubicBezTo>
                  <a:pt x="13305" y="1200"/>
                  <a:pt x="13745" y="1738"/>
                  <a:pt x="13745" y="2400"/>
                </a:cubicBezTo>
                <a:lnTo>
                  <a:pt x="7855" y="2400"/>
                </a:lnTo>
                <a:cubicBezTo>
                  <a:pt x="7855" y="1738"/>
                  <a:pt x="8295" y="1200"/>
                  <a:pt x="8836" y="1200"/>
                </a:cubicBezTo>
                <a:moveTo>
                  <a:pt x="20618" y="2400"/>
                </a:moveTo>
                <a:lnTo>
                  <a:pt x="14727" y="2400"/>
                </a:lnTo>
                <a:cubicBezTo>
                  <a:pt x="14727" y="1075"/>
                  <a:pt x="13848" y="0"/>
                  <a:pt x="12764" y="0"/>
                </a:cubicBezTo>
                <a:lnTo>
                  <a:pt x="8836" y="0"/>
                </a:lnTo>
                <a:cubicBezTo>
                  <a:pt x="7752" y="0"/>
                  <a:pt x="6873" y="1075"/>
                  <a:pt x="6873" y="2400"/>
                </a:cubicBezTo>
                <a:lnTo>
                  <a:pt x="982" y="2400"/>
                </a:lnTo>
                <a:cubicBezTo>
                  <a:pt x="440" y="2400"/>
                  <a:pt x="0" y="2938"/>
                  <a:pt x="0" y="3601"/>
                </a:cubicBezTo>
                <a:lnTo>
                  <a:pt x="0" y="9600"/>
                </a:lnTo>
                <a:cubicBezTo>
                  <a:pt x="0" y="10262"/>
                  <a:pt x="440" y="10800"/>
                  <a:pt x="982" y="10800"/>
                </a:cubicBezTo>
                <a:lnTo>
                  <a:pt x="982" y="20400"/>
                </a:lnTo>
                <a:cubicBezTo>
                  <a:pt x="982" y="21062"/>
                  <a:pt x="1422" y="21600"/>
                  <a:pt x="1964" y="21600"/>
                </a:cubicBezTo>
                <a:lnTo>
                  <a:pt x="19636" y="21600"/>
                </a:lnTo>
                <a:cubicBezTo>
                  <a:pt x="20178" y="21600"/>
                  <a:pt x="20618" y="21062"/>
                  <a:pt x="20618" y="20400"/>
                </a:cubicBezTo>
                <a:lnTo>
                  <a:pt x="20618" y="10800"/>
                </a:lnTo>
                <a:cubicBezTo>
                  <a:pt x="21160" y="10800"/>
                  <a:pt x="21600" y="10262"/>
                  <a:pt x="21600" y="9600"/>
                </a:cubicBezTo>
                <a:lnTo>
                  <a:pt x="21600" y="3601"/>
                </a:lnTo>
                <a:cubicBezTo>
                  <a:pt x="21600" y="2938"/>
                  <a:pt x="21160" y="2400"/>
                  <a:pt x="20618" y="2400"/>
                </a:cubicBezTo>
              </a:path>
            </a:pathLst>
          </a:custGeom>
          <a:solidFill>
            <a:schemeClr val="accent1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600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1500">
              <a:latin typeface="Arial" panose="020B0604020202020204" pitchFamily="34" charset="0"/>
              <a:ea typeface="微软雅黑" panose="020B0503020204020204" pitchFamily="34" charset="-122"/>
              <a:cs typeface="等线" panose="02010600030101010101" charset="-122"/>
              <a:sym typeface="Arial" panose="020B0604020202020204" pitchFamily="34" charset="0"/>
            </a:endParaRPr>
          </a:p>
        </p:txBody>
      </p:sp>
      <p:grpSp>
        <p:nvGrpSpPr>
          <p:cNvPr id="14" name="Group 8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GrpSpPr/>
          <p:nvPr/>
        </p:nvGrpSpPr>
        <p:grpSpPr>
          <a:xfrm>
            <a:off x="6026636" y="1430435"/>
            <a:ext cx="5450017" cy="424605"/>
            <a:chOff x="7223585" y="759447"/>
            <a:chExt cx="2388797" cy="424605"/>
          </a:xfrm>
        </p:grpSpPr>
        <p:sp>
          <p:nvSpPr>
            <p:cNvPr id="15" name="TextBox 9"/>
            <p:cNvSpPr txBox="1"/>
            <p:nvPr/>
          </p:nvSpPr>
          <p:spPr>
            <a:xfrm>
              <a:off x="7223589" y="759447"/>
              <a:ext cx="407600" cy="215444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altLang="zh-CN" sz="1400" b="1">
                  <a:solidFill>
                    <a:schemeClr val="tx2"/>
                  </a:solidFill>
                  <a:latin typeface="Arial" panose="020B0604020202020204" pitchFamily="34" charset="0"/>
                  <a:ea typeface="微软雅黑" panose="020B0503020204020204" pitchFamily="34" charset="-122"/>
                  <a:cs typeface="思源黑体 CN Regular" panose="020B0500000000000000" charset="-122"/>
                  <a:sym typeface="Arial" panose="020B0604020202020204" pitchFamily="34" charset="0"/>
                </a:rPr>
                <a:t>PART ONE</a:t>
              </a:r>
              <a:endParaRPr lang="en-US" sz="1400" b="1">
                <a:solidFill>
                  <a:schemeClr val="tx2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endParaRPr>
            </a:p>
          </p:txBody>
        </p:sp>
        <p:sp>
          <p:nvSpPr>
            <p:cNvPr id="16" name="TextBox 10"/>
            <p:cNvSpPr txBox="1"/>
            <p:nvPr/>
          </p:nvSpPr>
          <p:spPr>
            <a:xfrm flipH="1">
              <a:off x="7223585" y="975853"/>
              <a:ext cx="2388797" cy="208199"/>
            </a:xfrm>
            <a:prstGeom prst="rect">
              <a:avLst/>
            </a:prstGeom>
            <a:solidFill>
              <a:schemeClr val="bg2">
                <a:lumMod val="85000"/>
              </a:schemeClr>
            </a:solidFill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ct val="125000"/>
                </a:lnSpc>
              </a:pPr>
              <a:r>
                <a:rPr lang="en-US" altLang="zh-CN" sz="1200" dirty="0">
                  <a:latin typeface="Arial" panose="020B0604020202020204" pitchFamily="34" charset="0"/>
                  <a:ea typeface="微软雅黑" panose="020B0503020204020204" pitchFamily="34" charset="-122"/>
                  <a:cs typeface="思源黑体 CN Regular" panose="020B0500000000000000" charset="-122"/>
                  <a:sym typeface="Arial" panose="020B0604020202020204" pitchFamily="34" charset="0"/>
                </a:rPr>
                <a:t>Click here to add content, content to match the title. </a:t>
              </a:r>
              <a:endParaRPr lang="en-US" sz="1200" dirty="0"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endParaRPr>
            </a:p>
          </p:txBody>
        </p:sp>
      </p:grpSp>
      <p:grpSp>
        <p:nvGrpSpPr>
          <p:cNvPr id="17" name="Group 17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GrpSpPr/>
          <p:nvPr/>
        </p:nvGrpSpPr>
        <p:grpSpPr>
          <a:xfrm>
            <a:off x="6026637" y="2894743"/>
            <a:ext cx="5450018" cy="404798"/>
            <a:chOff x="7222463" y="759447"/>
            <a:chExt cx="2474868" cy="404798"/>
          </a:xfrm>
        </p:grpSpPr>
        <p:sp>
          <p:nvSpPr>
            <p:cNvPr id="18" name="TextBox 18"/>
            <p:cNvSpPr txBox="1"/>
            <p:nvPr/>
          </p:nvSpPr>
          <p:spPr>
            <a:xfrm>
              <a:off x="7223589" y="759447"/>
              <a:ext cx="428517" cy="215444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altLang="zh-CN" sz="1400" b="1">
                  <a:solidFill>
                    <a:schemeClr val="tx2"/>
                  </a:solidFill>
                  <a:latin typeface="Arial" panose="020B0604020202020204" pitchFamily="34" charset="0"/>
                  <a:ea typeface="微软雅黑" panose="020B0503020204020204" pitchFamily="34" charset="-122"/>
                  <a:cs typeface="思源黑体 CN Regular" panose="020B0500000000000000" charset="-122"/>
                  <a:sym typeface="Arial" panose="020B0604020202020204" pitchFamily="34" charset="0"/>
                </a:rPr>
                <a:t>PART TWO</a:t>
              </a:r>
            </a:p>
          </p:txBody>
        </p:sp>
        <p:sp>
          <p:nvSpPr>
            <p:cNvPr id="19" name="TextBox 19"/>
            <p:cNvSpPr txBox="1"/>
            <p:nvPr/>
          </p:nvSpPr>
          <p:spPr>
            <a:xfrm flipH="1">
              <a:off x="7222463" y="956046"/>
              <a:ext cx="2474868" cy="208199"/>
            </a:xfrm>
            <a:prstGeom prst="rect">
              <a:avLst/>
            </a:prstGeom>
            <a:solidFill>
              <a:schemeClr val="bg2">
                <a:lumMod val="85000"/>
              </a:schemeClr>
            </a:solidFill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ct val="125000"/>
                </a:lnSpc>
              </a:pPr>
              <a:r>
                <a:rPr lang="en-US" altLang="zh-CN" sz="1200" dirty="0">
                  <a:latin typeface="Arial" panose="020B0604020202020204" pitchFamily="34" charset="0"/>
                  <a:ea typeface="微软雅黑" panose="020B0503020204020204" pitchFamily="34" charset="-122"/>
                  <a:cs typeface="思源黑体 CN Regular" panose="020B0500000000000000" charset="-122"/>
                  <a:sym typeface="Arial" panose="020B0604020202020204" pitchFamily="34" charset="0"/>
                </a:rPr>
                <a:t>Click here to add content, content to match the title. </a:t>
              </a:r>
              <a:endParaRPr lang="en-US" sz="1200" dirty="0"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endParaRPr>
            </a:p>
          </p:txBody>
        </p:sp>
      </p:grpSp>
      <p:grpSp>
        <p:nvGrpSpPr>
          <p:cNvPr id="20" name="Group 17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GrpSpPr/>
          <p:nvPr/>
        </p:nvGrpSpPr>
        <p:grpSpPr>
          <a:xfrm>
            <a:off x="6026637" y="4204707"/>
            <a:ext cx="5450018" cy="404798"/>
            <a:chOff x="7222463" y="759447"/>
            <a:chExt cx="2474868" cy="404798"/>
          </a:xfrm>
        </p:grpSpPr>
        <p:sp>
          <p:nvSpPr>
            <p:cNvPr id="21" name="TextBox 18"/>
            <p:cNvSpPr txBox="1"/>
            <p:nvPr/>
          </p:nvSpPr>
          <p:spPr>
            <a:xfrm>
              <a:off x="7223589" y="759447"/>
              <a:ext cx="586332" cy="246221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altLang="zh-CN" sz="1600" b="1">
                  <a:solidFill>
                    <a:schemeClr val="tx2"/>
                  </a:solidFill>
                  <a:latin typeface="Arial" panose="020B0604020202020204" pitchFamily="34" charset="0"/>
                  <a:ea typeface="微软雅黑" panose="020B0503020204020204" pitchFamily="34" charset="-122"/>
                  <a:cs typeface="思源黑体 CN Regular" panose="020B0500000000000000" charset="-122"/>
                  <a:sym typeface="Arial" panose="020B0604020202020204" pitchFamily="34" charset="0"/>
                </a:rPr>
                <a:t>PART THREE</a:t>
              </a:r>
            </a:p>
          </p:txBody>
        </p:sp>
        <p:sp>
          <p:nvSpPr>
            <p:cNvPr id="22" name="TextBox 19"/>
            <p:cNvSpPr txBox="1"/>
            <p:nvPr/>
          </p:nvSpPr>
          <p:spPr>
            <a:xfrm flipH="1">
              <a:off x="7222463" y="956046"/>
              <a:ext cx="2474868" cy="208199"/>
            </a:xfrm>
            <a:prstGeom prst="rect">
              <a:avLst/>
            </a:prstGeom>
            <a:solidFill>
              <a:schemeClr val="bg2">
                <a:lumMod val="85000"/>
              </a:schemeClr>
            </a:solidFill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ct val="125000"/>
                </a:lnSpc>
              </a:pPr>
              <a:r>
                <a:rPr lang="en-US" altLang="zh-CN" sz="1200" dirty="0">
                  <a:latin typeface="Arial" panose="020B0604020202020204" pitchFamily="34" charset="0"/>
                  <a:ea typeface="微软雅黑" panose="020B0503020204020204" pitchFamily="34" charset="-122"/>
                  <a:cs typeface="思源黑体 CN Regular" panose="020B0500000000000000" charset="-122"/>
                  <a:sym typeface="Arial" panose="020B0604020202020204" pitchFamily="34" charset="0"/>
                </a:rPr>
                <a:t>Click here to add content, content to match the title. </a:t>
              </a:r>
              <a:endParaRPr lang="en-US" sz="1200" dirty="0"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endParaRPr>
            </a:p>
          </p:txBody>
        </p:sp>
      </p:grpSp>
      <p:grpSp>
        <p:nvGrpSpPr>
          <p:cNvPr id="23" name="Group 17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GrpSpPr/>
          <p:nvPr/>
        </p:nvGrpSpPr>
        <p:grpSpPr>
          <a:xfrm>
            <a:off x="6026637" y="5562465"/>
            <a:ext cx="5450018" cy="404797"/>
            <a:chOff x="7222463" y="759447"/>
            <a:chExt cx="2474868" cy="404797"/>
          </a:xfrm>
        </p:grpSpPr>
        <p:sp>
          <p:nvSpPr>
            <p:cNvPr id="24" name="TextBox 18"/>
            <p:cNvSpPr txBox="1"/>
            <p:nvPr/>
          </p:nvSpPr>
          <p:spPr>
            <a:xfrm>
              <a:off x="7223589" y="759447"/>
              <a:ext cx="538492" cy="246221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altLang="zh-CN" sz="1600" b="1">
                  <a:solidFill>
                    <a:schemeClr val="tx2"/>
                  </a:solidFill>
                  <a:latin typeface="Arial" panose="020B0604020202020204" pitchFamily="34" charset="0"/>
                  <a:ea typeface="微软雅黑" panose="020B0503020204020204" pitchFamily="34" charset="-122"/>
                  <a:cs typeface="思源黑体 CN Regular" panose="020B0500000000000000" charset="-122"/>
                  <a:sym typeface="Arial" panose="020B0604020202020204" pitchFamily="34" charset="0"/>
                </a:rPr>
                <a:t>PART FOUR</a:t>
              </a:r>
            </a:p>
          </p:txBody>
        </p:sp>
        <p:sp>
          <p:nvSpPr>
            <p:cNvPr id="25" name="TextBox 19"/>
            <p:cNvSpPr txBox="1"/>
            <p:nvPr/>
          </p:nvSpPr>
          <p:spPr>
            <a:xfrm flipH="1">
              <a:off x="7222463" y="956045"/>
              <a:ext cx="2474868" cy="208199"/>
            </a:xfrm>
            <a:prstGeom prst="rect">
              <a:avLst/>
            </a:prstGeom>
            <a:solidFill>
              <a:schemeClr val="bg2">
                <a:lumMod val="85000"/>
              </a:schemeClr>
            </a:solidFill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ct val="125000"/>
                </a:lnSpc>
              </a:pPr>
              <a:r>
                <a:rPr lang="en-US" altLang="zh-CN" sz="1200" dirty="0">
                  <a:latin typeface="Arial" panose="020B0604020202020204" pitchFamily="34" charset="0"/>
                  <a:ea typeface="微软雅黑" panose="020B0503020204020204" pitchFamily="34" charset="-122"/>
                  <a:cs typeface="思源黑体 CN Regular" panose="020B0500000000000000" charset="-122"/>
                  <a:sym typeface="Arial" panose="020B0604020202020204" pitchFamily="34" charset="0"/>
                </a:rPr>
                <a:t>Click here to add content, content to match the title. </a:t>
              </a:r>
              <a:endParaRPr lang="en-US" sz="1200" dirty="0"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endParaRPr>
            </a:p>
          </p:txBody>
        </p:sp>
      </p:grpSp>
      <p:sp>
        <p:nvSpPr>
          <p:cNvPr id="26" name="矩形 25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SpPr/>
          <p:nvPr/>
        </p:nvSpPr>
        <p:spPr>
          <a:xfrm>
            <a:off x="11010154" y="1430436"/>
            <a:ext cx="466499" cy="184666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400"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rPr>
              <a:t>1P</a:t>
            </a:r>
            <a:endParaRPr lang="zh-CN" altLang="en-US" sz="1400">
              <a:latin typeface="Arial" panose="020B0604020202020204" pitchFamily="34" charset="0"/>
              <a:ea typeface="微软雅黑" panose="020B0503020204020204" pitchFamily="34" charset="-122"/>
              <a:cs typeface="思源黑体 CN Regular" panose="020B0500000000000000" charset="-122"/>
              <a:sym typeface="Arial" panose="020B0604020202020204" pitchFamily="34" charset="0"/>
            </a:endParaRPr>
          </a:p>
        </p:txBody>
      </p:sp>
      <p:sp>
        <p:nvSpPr>
          <p:cNvPr id="27" name="矩形 26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SpPr/>
          <p:nvPr/>
        </p:nvSpPr>
        <p:spPr>
          <a:xfrm>
            <a:off x="11010265" y="2834005"/>
            <a:ext cx="465455" cy="22034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200"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rPr>
              <a:t>10P</a:t>
            </a:r>
          </a:p>
        </p:txBody>
      </p:sp>
      <p:sp>
        <p:nvSpPr>
          <p:cNvPr id="28" name="矩形 27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SpPr/>
          <p:nvPr/>
        </p:nvSpPr>
        <p:spPr>
          <a:xfrm>
            <a:off x="11010153" y="4203078"/>
            <a:ext cx="466499" cy="184666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200"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rPr>
              <a:t>20P</a:t>
            </a:r>
            <a:endParaRPr lang="zh-CN" altLang="en-US" sz="1200">
              <a:latin typeface="Arial" panose="020B0604020202020204" pitchFamily="34" charset="0"/>
              <a:ea typeface="微软雅黑" panose="020B0503020204020204" pitchFamily="34" charset="-122"/>
              <a:cs typeface="思源黑体 CN Regular" panose="020B0500000000000000" charset="-122"/>
              <a:sym typeface="Arial" panose="020B0604020202020204" pitchFamily="34" charset="0"/>
            </a:endParaRPr>
          </a:p>
        </p:txBody>
      </p:sp>
      <p:sp>
        <p:nvSpPr>
          <p:cNvPr id="29" name="矩形 28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SpPr/>
          <p:nvPr/>
        </p:nvSpPr>
        <p:spPr>
          <a:xfrm>
            <a:off x="11009180" y="5562465"/>
            <a:ext cx="466499" cy="184666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200"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rPr>
              <a:t>40P</a:t>
            </a:r>
            <a:endParaRPr lang="zh-CN" altLang="en-US" sz="1200">
              <a:latin typeface="Arial" panose="020B0604020202020204" pitchFamily="34" charset="0"/>
              <a:ea typeface="微软雅黑" panose="020B0503020204020204" pitchFamily="34" charset="-122"/>
              <a:cs typeface="思源黑体 CN Regular" panose="020B0500000000000000" charset="-122"/>
              <a:sym typeface="Arial" panose="020B0604020202020204" pitchFamily="34" charset="0"/>
            </a:endParaRPr>
          </a:p>
        </p:txBody>
      </p:sp>
      <p:sp>
        <p:nvSpPr>
          <p:cNvPr id="30" name="矩形 29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SpPr/>
          <p:nvPr/>
        </p:nvSpPr>
        <p:spPr>
          <a:xfrm>
            <a:off x="10083800" y="0"/>
            <a:ext cx="596900" cy="723900"/>
          </a:xfrm>
          <a:prstGeom prst="rect">
            <a:avLst/>
          </a:prstGeom>
          <a:solidFill>
            <a:srgbClr val="002BF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latin typeface="Arial" panose="020B0604020202020204" pitchFamily="34" charset="0"/>
              <a:ea typeface="微软雅黑" panose="020B0503020204020204" pitchFamily="34" charset="-122"/>
              <a:cs typeface="思源黑体 CN Regular" panose="020B0500000000000000" charset="-122"/>
              <a:sym typeface="Arial" panose="020B0604020202020204" pitchFamily="34" charset="0"/>
            </a:endParaRPr>
          </a:p>
        </p:txBody>
      </p:sp>
      <p:sp>
        <p:nvSpPr>
          <p:cNvPr id="31" name="Shape 3891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SpPr/>
          <p:nvPr/>
        </p:nvSpPr>
        <p:spPr>
          <a:xfrm>
            <a:off x="10245293" y="162829"/>
            <a:ext cx="279033" cy="279033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8429" y="14128"/>
                </a:moveTo>
                <a:cubicBezTo>
                  <a:pt x="17041" y="13430"/>
                  <a:pt x="15777" y="12523"/>
                  <a:pt x="14684" y="11440"/>
                </a:cubicBezTo>
                <a:cubicBezTo>
                  <a:pt x="15214" y="10618"/>
                  <a:pt x="15664" y="9739"/>
                  <a:pt x="16034" y="8820"/>
                </a:cubicBezTo>
                <a:cubicBezTo>
                  <a:pt x="16089" y="8826"/>
                  <a:pt x="16143" y="8836"/>
                  <a:pt x="16200" y="8836"/>
                </a:cubicBezTo>
                <a:cubicBezTo>
                  <a:pt x="17013" y="8836"/>
                  <a:pt x="17673" y="8178"/>
                  <a:pt x="17673" y="7364"/>
                </a:cubicBezTo>
                <a:cubicBezTo>
                  <a:pt x="17673" y="6787"/>
                  <a:pt x="17339" y="6295"/>
                  <a:pt x="16856" y="6052"/>
                </a:cubicBezTo>
                <a:cubicBezTo>
                  <a:pt x="17033" y="5170"/>
                  <a:pt x="17144" y="4264"/>
                  <a:pt x="17167" y="3336"/>
                </a:cubicBezTo>
                <a:cubicBezTo>
                  <a:pt x="19277" y="5136"/>
                  <a:pt x="20618" y="7809"/>
                  <a:pt x="20618" y="10800"/>
                </a:cubicBezTo>
                <a:cubicBezTo>
                  <a:pt x="20618" y="11764"/>
                  <a:pt x="20469" y="12690"/>
                  <a:pt x="20209" y="13568"/>
                </a:cubicBezTo>
                <a:cubicBezTo>
                  <a:pt x="19628" y="13783"/>
                  <a:pt x="19034" y="13971"/>
                  <a:pt x="18429" y="14128"/>
                </a:cubicBezTo>
                <a:moveTo>
                  <a:pt x="10800" y="20618"/>
                </a:moveTo>
                <a:cubicBezTo>
                  <a:pt x="8406" y="20618"/>
                  <a:pt x="6213" y="19759"/>
                  <a:pt x="4509" y="18335"/>
                </a:cubicBezTo>
                <a:cubicBezTo>
                  <a:pt x="6552" y="17934"/>
                  <a:pt x="8450" y="17135"/>
                  <a:pt x="10128" y="16031"/>
                </a:cubicBezTo>
                <a:cubicBezTo>
                  <a:pt x="10330" y="16136"/>
                  <a:pt x="10556" y="16200"/>
                  <a:pt x="10800" y="16200"/>
                </a:cubicBezTo>
                <a:cubicBezTo>
                  <a:pt x="11273" y="16200"/>
                  <a:pt x="11689" y="15974"/>
                  <a:pt x="11959" y="15627"/>
                </a:cubicBezTo>
                <a:cubicBezTo>
                  <a:pt x="12547" y="15680"/>
                  <a:pt x="13142" y="15709"/>
                  <a:pt x="13745" y="15709"/>
                </a:cubicBezTo>
                <a:cubicBezTo>
                  <a:pt x="15323" y="15709"/>
                  <a:pt x="16852" y="15508"/>
                  <a:pt x="18322" y="15156"/>
                </a:cubicBezTo>
                <a:cubicBezTo>
                  <a:pt x="18660" y="15317"/>
                  <a:pt x="18998" y="15480"/>
                  <a:pt x="19350" y="15618"/>
                </a:cubicBezTo>
                <a:cubicBezTo>
                  <a:pt x="17665" y="18601"/>
                  <a:pt x="14470" y="20618"/>
                  <a:pt x="10800" y="20618"/>
                </a:cubicBezTo>
                <a:moveTo>
                  <a:pt x="3539" y="17393"/>
                </a:moveTo>
                <a:cubicBezTo>
                  <a:pt x="3476" y="16840"/>
                  <a:pt x="3436" y="16280"/>
                  <a:pt x="3436" y="15709"/>
                </a:cubicBezTo>
                <a:cubicBezTo>
                  <a:pt x="3436" y="14764"/>
                  <a:pt x="3536" y="13842"/>
                  <a:pt x="3707" y="12946"/>
                </a:cubicBezTo>
                <a:cubicBezTo>
                  <a:pt x="5455" y="13988"/>
                  <a:pt x="7377" y="14767"/>
                  <a:pt x="9421" y="15227"/>
                </a:cubicBezTo>
                <a:cubicBezTo>
                  <a:pt x="9431" y="15254"/>
                  <a:pt x="9436" y="15282"/>
                  <a:pt x="9447" y="15308"/>
                </a:cubicBezTo>
                <a:cubicBezTo>
                  <a:pt x="7724" y="16421"/>
                  <a:pt x="5761" y="17193"/>
                  <a:pt x="3643" y="17507"/>
                </a:cubicBezTo>
                <a:cubicBezTo>
                  <a:pt x="3608" y="17469"/>
                  <a:pt x="3573" y="17430"/>
                  <a:pt x="3539" y="17393"/>
                </a:cubicBezTo>
                <a:moveTo>
                  <a:pt x="3075" y="11369"/>
                </a:moveTo>
                <a:cubicBezTo>
                  <a:pt x="2361" y="10869"/>
                  <a:pt x="1683" y="10322"/>
                  <a:pt x="1046" y="9729"/>
                </a:cubicBezTo>
                <a:cubicBezTo>
                  <a:pt x="1528" y="5299"/>
                  <a:pt x="4955" y="1762"/>
                  <a:pt x="9331" y="1104"/>
                </a:cubicBezTo>
                <a:cubicBezTo>
                  <a:pt x="9335" y="1629"/>
                  <a:pt x="9363" y="2148"/>
                  <a:pt x="9417" y="2660"/>
                </a:cubicBezTo>
                <a:cubicBezTo>
                  <a:pt x="8572" y="3227"/>
                  <a:pt x="7787" y="3879"/>
                  <a:pt x="7069" y="4597"/>
                </a:cubicBezTo>
                <a:cubicBezTo>
                  <a:pt x="6863" y="4486"/>
                  <a:pt x="6632" y="4418"/>
                  <a:pt x="6382" y="4418"/>
                </a:cubicBezTo>
                <a:cubicBezTo>
                  <a:pt x="5569" y="4418"/>
                  <a:pt x="4909" y="5078"/>
                  <a:pt x="4909" y="5891"/>
                </a:cubicBezTo>
                <a:cubicBezTo>
                  <a:pt x="4909" y="6236"/>
                  <a:pt x="5033" y="6549"/>
                  <a:pt x="5231" y="6800"/>
                </a:cubicBezTo>
                <a:cubicBezTo>
                  <a:pt x="4279" y="8179"/>
                  <a:pt x="3550" y="9719"/>
                  <a:pt x="3075" y="11369"/>
                </a:cubicBezTo>
                <a:moveTo>
                  <a:pt x="2466" y="15973"/>
                </a:moveTo>
                <a:cubicBezTo>
                  <a:pt x="1563" y="14521"/>
                  <a:pt x="1025" y="12821"/>
                  <a:pt x="989" y="10995"/>
                </a:cubicBezTo>
                <a:cubicBezTo>
                  <a:pt x="1570" y="11492"/>
                  <a:pt x="2180" y="11955"/>
                  <a:pt x="2817" y="12383"/>
                </a:cubicBezTo>
                <a:cubicBezTo>
                  <a:pt x="2585" y="13456"/>
                  <a:pt x="2455" y="14567"/>
                  <a:pt x="2455" y="15709"/>
                </a:cubicBezTo>
                <a:cubicBezTo>
                  <a:pt x="2455" y="15798"/>
                  <a:pt x="2464" y="15885"/>
                  <a:pt x="2466" y="15973"/>
                </a:cubicBezTo>
                <a:moveTo>
                  <a:pt x="13428" y="11540"/>
                </a:moveTo>
                <a:cubicBezTo>
                  <a:pt x="12907" y="12264"/>
                  <a:pt x="12315" y="12931"/>
                  <a:pt x="11674" y="13548"/>
                </a:cubicBezTo>
                <a:cubicBezTo>
                  <a:pt x="11429" y="13366"/>
                  <a:pt x="11129" y="13255"/>
                  <a:pt x="10800" y="13255"/>
                </a:cubicBezTo>
                <a:cubicBezTo>
                  <a:pt x="10166" y="13255"/>
                  <a:pt x="9631" y="13657"/>
                  <a:pt x="9423" y="14218"/>
                </a:cubicBezTo>
                <a:cubicBezTo>
                  <a:pt x="7455" y="13751"/>
                  <a:pt x="5607" y="12974"/>
                  <a:pt x="3936" y="11937"/>
                </a:cubicBezTo>
                <a:cubicBezTo>
                  <a:pt x="4379" y="10266"/>
                  <a:pt x="5100" y="8709"/>
                  <a:pt x="6060" y="7326"/>
                </a:cubicBezTo>
                <a:cubicBezTo>
                  <a:pt x="6164" y="7349"/>
                  <a:pt x="6271" y="7364"/>
                  <a:pt x="6382" y="7364"/>
                </a:cubicBezTo>
                <a:cubicBezTo>
                  <a:pt x="7195" y="7364"/>
                  <a:pt x="7855" y="6705"/>
                  <a:pt x="7855" y="5891"/>
                </a:cubicBezTo>
                <a:cubicBezTo>
                  <a:pt x="7855" y="5688"/>
                  <a:pt x="7813" y="5494"/>
                  <a:pt x="7739" y="5318"/>
                </a:cubicBezTo>
                <a:cubicBezTo>
                  <a:pt x="8307" y="4747"/>
                  <a:pt x="8920" y="4221"/>
                  <a:pt x="9575" y="3749"/>
                </a:cubicBezTo>
                <a:cubicBezTo>
                  <a:pt x="10104" y="6723"/>
                  <a:pt x="11479" y="9397"/>
                  <a:pt x="13428" y="11540"/>
                </a:cubicBezTo>
                <a:moveTo>
                  <a:pt x="10800" y="982"/>
                </a:moveTo>
                <a:cubicBezTo>
                  <a:pt x="11347" y="982"/>
                  <a:pt x="11881" y="1038"/>
                  <a:pt x="12403" y="1125"/>
                </a:cubicBezTo>
                <a:cubicBezTo>
                  <a:pt x="11696" y="1401"/>
                  <a:pt x="11005" y="1708"/>
                  <a:pt x="10354" y="2082"/>
                </a:cubicBezTo>
                <a:cubicBezTo>
                  <a:pt x="10328" y="1726"/>
                  <a:pt x="10311" y="1368"/>
                  <a:pt x="10310" y="1007"/>
                </a:cubicBezTo>
                <a:cubicBezTo>
                  <a:pt x="10474" y="999"/>
                  <a:pt x="10635" y="982"/>
                  <a:pt x="10800" y="982"/>
                </a:cubicBezTo>
                <a:moveTo>
                  <a:pt x="14120" y="12262"/>
                </a:moveTo>
                <a:cubicBezTo>
                  <a:pt x="14982" y="13097"/>
                  <a:pt x="15950" y="13819"/>
                  <a:pt x="16986" y="14440"/>
                </a:cubicBezTo>
                <a:cubicBezTo>
                  <a:pt x="15933" y="14626"/>
                  <a:pt x="14852" y="14727"/>
                  <a:pt x="13745" y="14727"/>
                </a:cubicBezTo>
                <a:cubicBezTo>
                  <a:pt x="13246" y="14727"/>
                  <a:pt x="12754" y="14702"/>
                  <a:pt x="12265" y="14664"/>
                </a:cubicBezTo>
                <a:cubicBezTo>
                  <a:pt x="12259" y="14569"/>
                  <a:pt x="12250" y="14475"/>
                  <a:pt x="12229" y="14386"/>
                </a:cubicBezTo>
                <a:cubicBezTo>
                  <a:pt x="12921" y="13737"/>
                  <a:pt x="13555" y="13027"/>
                  <a:pt x="14120" y="12262"/>
                </a:cubicBezTo>
                <a:moveTo>
                  <a:pt x="16188" y="2597"/>
                </a:moveTo>
                <a:cubicBezTo>
                  <a:pt x="16191" y="2713"/>
                  <a:pt x="16200" y="2828"/>
                  <a:pt x="16200" y="2945"/>
                </a:cubicBezTo>
                <a:cubicBezTo>
                  <a:pt x="16200" y="3967"/>
                  <a:pt x="16092" y="4962"/>
                  <a:pt x="15894" y="5924"/>
                </a:cubicBezTo>
                <a:cubicBezTo>
                  <a:pt x="15227" y="6065"/>
                  <a:pt x="14727" y="6656"/>
                  <a:pt x="14727" y="7364"/>
                </a:cubicBezTo>
                <a:cubicBezTo>
                  <a:pt x="14727" y="7765"/>
                  <a:pt x="14888" y="8128"/>
                  <a:pt x="15149" y="8393"/>
                </a:cubicBezTo>
                <a:cubicBezTo>
                  <a:pt x="14827" y="9199"/>
                  <a:pt x="14443" y="9974"/>
                  <a:pt x="13991" y="10701"/>
                </a:cubicBezTo>
                <a:cubicBezTo>
                  <a:pt x="12159" y="8620"/>
                  <a:pt x="10894" y="6025"/>
                  <a:pt x="10469" y="3152"/>
                </a:cubicBezTo>
                <a:cubicBezTo>
                  <a:pt x="11590" y="2463"/>
                  <a:pt x="12813" y="1934"/>
                  <a:pt x="14106" y="1565"/>
                </a:cubicBezTo>
                <a:cubicBezTo>
                  <a:pt x="14844" y="1829"/>
                  <a:pt x="15544" y="2174"/>
                  <a:pt x="16188" y="2597"/>
                </a:cubicBezTo>
                <a:moveTo>
                  <a:pt x="10800" y="0"/>
                </a:moveTo>
                <a:cubicBezTo>
                  <a:pt x="4835" y="0"/>
                  <a:pt x="0" y="4835"/>
                  <a:pt x="0" y="10800"/>
                </a:cubicBezTo>
                <a:cubicBezTo>
                  <a:pt x="0" y="16765"/>
                  <a:pt x="4835" y="21600"/>
                  <a:pt x="10800" y="21600"/>
                </a:cubicBezTo>
                <a:cubicBezTo>
                  <a:pt x="16765" y="21600"/>
                  <a:pt x="21600" y="16765"/>
                  <a:pt x="21600" y="10800"/>
                </a:cubicBezTo>
                <a:cubicBezTo>
                  <a:pt x="21600" y="4835"/>
                  <a:pt x="16765" y="0"/>
                  <a:pt x="10800" y="0"/>
                </a:cubicBezTo>
              </a:path>
            </a:pathLst>
          </a:custGeom>
          <a:solidFill>
            <a:schemeClr val="bg1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endParaRPr>
              <a:solidFill>
                <a:prstClr val="black"/>
              </a:solidFill>
              <a:latin typeface="Arial" panose="020B0604020202020204" pitchFamily="34" charset="0"/>
              <a:ea typeface="微软雅黑" panose="020B0503020204020204" pitchFamily="34" charset="-122"/>
              <a:cs typeface="思源黑体 CN Regular" panose="020B0500000000000000" charset="-122"/>
              <a:sym typeface="Arial" panose="020B0604020202020204" pitchFamily="34" charset="0"/>
            </a:endParaRPr>
          </a:p>
        </p:txBody>
      </p:sp>
      <p:sp>
        <p:nvSpPr>
          <p:cNvPr id="32" name="文本框 31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SpPr txBox="1"/>
          <p:nvPr/>
        </p:nvSpPr>
        <p:spPr>
          <a:xfrm>
            <a:off x="10100734" y="448734"/>
            <a:ext cx="572593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1050">
                <a:solidFill>
                  <a:schemeClr val="bg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rPr>
              <a:t>LOGO</a:t>
            </a:r>
            <a:endParaRPr lang="zh-CN" altLang="en-US" sz="1050">
              <a:solidFill>
                <a:schemeClr val="bg1"/>
              </a:solidFill>
              <a:latin typeface="Arial" panose="020B0604020202020204" pitchFamily="34" charset="0"/>
              <a:ea typeface="微软雅黑" panose="020B0503020204020204" pitchFamily="34" charset="-122"/>
              <a:cs typeface="思源黑体 CN Regular" panose="020B0500000000000000" charset="-122"/>
              <a:sym typeface="Arial" panose="020B0604020202020204" pitchFamily="34" charset="0"/>
            </a:endParaRPr>
          </a:p>
        </p:txBody>
      </p:sp>
      <p:sp>
        <p:nvSpPr>
          <p:cNvPr id="33" name="e7d195523061f1c0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 hidden="1"/>
          <p:cNvSpPr txBox="1"/>
          <p:nvPr/>
        </p:nvSpPr>
        <p:spPr>
          <a:xfrm>
            <a:off x="-355600" y="1803400"/>
            <a:ext cx="284693" cy="1016000"/>
          </a:xfrm>
          <a:prstGeom prst="rect">
            <a:avLst/>
          </a:prstGeom>
          <a:noFill/>
        </p:spPr>
        <p:txBody>
          <a:bodyPr vert="wordArtVert" rtlCol="0">
            <a:spAutoFit/>
          </a:bodyPr>
          <a:lstStyle/>
          <a:p>
            <a:r>
              <a:rPr lang="en-US" altLang="zh-CN" sz="100"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rPr>
              <a:t>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</a:t>
            </a:r>
            <a:endParaRPr lang="zh-CN" altLang="en-US" sz="100">
              <a:latin typeface="Arial" panose="020B0604020202020204" pitchFamily="34" charset="0"/>
              <a:ea typeface="微软雅黑" panose="020B0503020204020204" pitchFamily="34" charset="-122"/>
              <a:cs typeface="思源黑体 CN Regular" panose="020B0500000000000000" charset="-122"/>
              <a:sym typeface="Arial" panose="020B0604020202020204" pitchFamily="34" charset="0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random/>
      </p:transition>
    </mc:Choice>
    <mc:Fallback xmlns:p159="http://schemas.microsoft.com/office/powerpoint/2015/09/main" xmlns:p15="http://schemas.microsoft.com/office/powerpoint/2012/main" xmlns:a14="http://schemas.microsoft.com/office/drawing/2010/main" xmlns:wp="http://schemas.openxmlformats.org/drawingml/2006/wordprocessingDrawing" xmlns:w="http://schemas.openxmlformats.org/wordprocessingml/2006/main" xmlns:m="http://schemas.openxmlformats.org/officeDocument/2006/math" xmlns="">
      <p:transition spd="slow">
        <p:random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37" dur="5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Vertical)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 nodeType="clickPar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6" presetClass="entr" presetSubtype="21" dur="50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2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6" presetClass="entr" presetSubtype="21" dur="5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5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6" presetClass="entr" presetSubtype="21" dur="5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8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 nodeType="clickPar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2" presetClass="entr" presetSubtype="12" dur="50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 nodeType="clickPar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42" presetClass="entr" presetSubtype="0" dur="100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1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0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1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2" presetID="42" presetClass="entr" presetSubtype="0" dur="1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1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5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6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7" presetID="42" presetClass="entr" presetSubtype="0" dur="1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10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0" dur="1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1" dur="1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2" presetID="42" presetClass="entr" presetSubtype="0" dur="1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10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5" dur="1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6" dur="1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7" presetID="42" presetClass="entr" presetSubtype="0" dur="1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10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0" dur="1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1" dur="1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2" presetID="42" presetClass="entr" presetSubtype="0" dur="1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4" dur="10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5" dur="10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6" dur="10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7" presetID="42" presetClass="entr" presetSubtype="0" dur="1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9" dur="10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0" dur="10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1" dur="10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2" presetID="42" presetClass="entr" presetSubtype="0" dur="1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4" dur="10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5" dur="1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6" dur="1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7" presetID="42" presetClass="entr" presetSubtype="0" dur="1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9" dur="10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70" dur="10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1" dur="10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2" presetID="42" presetClass="entr" presetSubtype="0" dur="1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4" dur="10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75" dur="10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6" dur="10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7" presetID="42" presetClass="entr" presetSubtype="0" dur="1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9" dur="10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0" dur="10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1" dur="10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animBg="1"/>
      <p:bldP spid="11" grpId="0" animBg="1"/>
      <p:bldP spid="12" grpId="0" animBg="1"/>
      <p:bldP spid="13" grpId="0" animBg="1"/>
      <p:bldP spid="26" grpId="0" animBg="1"/>
      <p:bldP spid="27" grpId="0" animBg="1"/>
      <p:bldP spid="28" grpId="0" animBg="1"/>
      <p:bldP spid="29" grpId="0" animBg="1"/>
      <p:bldP spid="30" grpId="0" animBg="1"/>
      <p:bldP spid="31" grpId="0" animBg="1"/>
      <p:bldP spid="32" grpId="0"/>
    </p:bld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Rectangle 6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SpPr/>
          <p:nvPr/>
        </p:nvSpPr>
        <p:spPr>
          <a:xfrm>
            <a:off x="565222" y="3779278"/>
            <a:ext cx="1734155" cy="14444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20000"/>
              </a:lnSpc>
            </a:pPr>
            <a:r>
              <a:rPr lang="id-ID" sz="8000" b="1">
                <a:solidFill>
                  <a:schemeClr val="bg2">
                    <a:lumMod val="90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rPr>
              <a:t>01</a:t>
            </a:r>
            <a:endParaRPr lang="en-US" sz="8000" b="1">
              <a:solidFill>
                <a:schemeClr val="bg2">
                  <a:lumMod val="90000"/>
                </a:schemeClr>
              </a:solidFill>
              <a:latin typeface="Arial" panose="020B0604020202020204" pitchFamily="34" charset="0"/>
              <a:ea typeface="微软雅黑" panose="020B0503020204020204" pitchFamily="34" charset="-122"/>
              <a:cs typeface="思源黑体 CN Regular" panose="020B0500000000000000" charset="-122"/>
              <a:sym typeface="Arial" panose="020B0604020202020204" pitchFamily="34" charset="0"/>
            </a:endParaRPr>
          </a:p>
        </p:txBody>
      </p:sp>
      <p:sp>
        <p:nvSpPr>
          <p:cNvPr id="5" name="矩形 4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SpPr/>
          <p:nvPr/>
        </p:nvSpPr>
        <p:spPr>
          <a:xfrm>
            <a:off x="655059" y="4608576"/>
            <a:ext cx="1554480" cy="142646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>
              <a:latin typeface="Arial" panose="020B0604020202020204" pitchFamily="34" charset="0"/>
              <a:ea typeface="微软雅黑" panose="020B0503020204020204" pitchFamily="34" charset="-122"/>
              <a:cs typeface="思源黑体 CN Regular" panose="020B0500000000000000" charset="-122"/>
              <a:sym typeface="Arial" panose="020B0604020202020204" pitchFamily="34" charset="0"/>
            </a:endParaRPr>
          </a:p>
        </p:txBody>
      </p:sp>
      <p:sp>
        <p:nvSpPr>
          <p:cNvPr id="4" name="Заголовок 3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SpPr>
            <a:spLocks noGrp="1"/>
          </p:cNvSpPr>
          <p:nvPr>
            <p:ph type="title" idx="4294967295"/>
          </p:nvPr>
        </p:nvSpPr>
        <p:spPr>
          <a:xfrm>
            <a:off x="1181106" y="914400"/>
            <a:ext cx="4914900" cy="914400"/>
          </a:xfr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 sz="4400">
                <a:latin typeface="Arial" panose="020B0604020202020204" pitchFamily="34" charset="0"/>
                <a:ea typeface="微软雅黑" panose="020B0503020204020204" pitchFamily="34" charset="-122"/>
                <a:cs typeface="Gill Sans MT" panose="020B0502020104020203" charset="0"/>
                <a:sym typeface="Arial" panose="020B0604020202020204" pitchFamily="34" charset="0"/>
              </a:rPr>
              <a:t>4 STEPS</a:t>
            </a:r>
            <a:br>
              <a:rPr lang="en-US" sz="4400">
                <a:latin typeface="Arial" panose="020B0604020202020204" pitchFamily="34" charset="0"/>
                <a:ea typeface="微软雅黑" panose="020B0503020204020204" pitchFamily="34" charset="-122"/>
                <a:cs typeface="Gill Sans MT" panose="020B0502020104020203" charset="0"/>
                <a:sym typeface="Arial" panose="020B0604020202020204" pitchFamily="34" charset="0"/>
              </a:rPr>
            </a:br>
            <a:r>
              <a:rPr lang="en-US" sz="4400">
                <a:latin typeface="Arial" panose="020B0604020202020204" pitchFamily="34" charset="0"/>
                <a:ea typeface="微软雅黑" panose="020B0503020204020204" pitchFamily="34" charset="-122"/>
                <a:cs typeface="Gill Sans MT" panose="020B0502020104020203" charset="0"/>
                <a:sym typeface="Arial" panose="020B0604020202020204" pitchFamily="34" charset="0"/>
              </a:rPr>
              <a:t>TO SUCCESS</a:t>
            </a:r>
          </a:p>
        </p:txBody>
      </p:sp>
      <p:sp>
        <p:nvSpPr>
          <p:cNvPr id="629" name="Текст 628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SpPr>
            <a:spLocks noGrp="1"/>
          </p:cNvSpPr>
          <p:nvPr>
            <p:ph type="body" sz="quarter" idx="72"/>
          </p:nvPr>
        </p:nvSpPr>
        <p:spPr/>
        <p:txBody>
          <a:bodyPr/>
          <a:lstStyle/>
          <a:p>
            <a:r>
              <a:rPr lang="en-US"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01</a:t>
            </a:r>
          </a:p>
        </p:txBody>
      </p:sp>
      <p:sp>
        <p:nvSpPr>
          <p:cNvPr id="631" name="Текст 630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SpPr>
            <a:spLocks noGrp="1"/>
          </p:cNvSpPr>
          <p:nvPr>
            <p:ph type="body" sz="quarter" idx="74"/>
          </p:nvPr>
        </p:nvSpPr>
        <p:spPr/>
        <p:txBody>
          <a:bodyPr/>
          <a:lstStyle/>
          <a:p>
            <a:r>
              <a:rPr lang="en-US"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03</a:t>
            </a:r>
          </a:p>
        </p:txBody>
      </p:sp>
      <p:sp>
        <p:nvSpPr>
          <p:cNvPr id="632" name="Текст 631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SpPr>
            <a:spLocks noGrp="1"/>
          </p:cNvSpPr>
          <p:nvPr>
            <p:ph type="body" sz="quarter" idx="75"/>
          </p:nvPr>
        </p:nvSpPr>
        <p:spPr/>
        <p:txBody>
          <a:bodyPr/>
          <a:lstStyle/>
          <a:p>
            <a:r>
              <a:rPr lang="en-US"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04</a:t>
            </a:r>
          </a:p>
        </p:txBody>
      </p:sp>
      <p:sp>
        <p:nvSpPr>
          <p:cNvPr id="633" name="Текст 632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SpPr>
            <a:spLocks noGrp="1"/>
          </p:cNvSpPr>
          <p:nvPr>
            <p:ph type="body" sz="quarter" idx="76"/>
          </p:nvPr>
        </p:nvSpPr>
        <p:spPr/>
        <p:txBody>
          <a:bodyPr/>
          <a:lstStyle/>
          <a:p>
            <a:r>
              <a:rPr lang="en-US"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05</a:t>
            </a:r>
          </a:p>
        </p:txBody>
      </p:sp>
      <p:sp>
        <p:nvSpPr>
          <p:cNvPr id="634" name="Текст 633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SpPr>
            <a:spLocks noGrp="1"/>
          </p:cNvSpPr>
          <p:nvPr>
            <p:ph type="body" sz="quarter" idx="77"/>
          </p:nvPr>
        </p:nvSpPr>
        <p:spPr/>
        <p:txBody>
          <a:bodyPr/>
          <a:lstStyle/>
          <a:p>
            <a:r>
              <a:rPr lang="en-US"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06</a:t>
            </a:r>
          </a:p>
        </p:txBody>
      </p:sp>
      <p:sp>
        <p:nvSpPr>
          <p:cNvPr id="32" name="Прямоугольник 31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SpPr/>
          <p:nvPr/>
        </p:nvSpPr>
        <p:spPr>
          <a:xfrm>
            <a:off x="0" y="0"/>
            <a:ext cx="45719" cy="3429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rial" panose="020B0604020202020204" pitchFamily="34" charset="0"/>
              <a:ea typeface="微软雅黑" panose="020B0503020204020204" pitchFamily="34" charset="-122"/>
              <a:cs typeface="思源黑体 CN Regular" panose="020B0500000000000000" charset="-122"/>
              <a:sym typeface="Arial" panose="020B0604020202020204" pitchFamily="34" charset="0"/>
            </a:endParaRPr>
          </a:p>
        </p:txBody>
      </p:sp>
      <p:sp>
        <p:nvSpPr>
          <p:cNvPr id="2" name="文本占位符 1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SpPr>
            <a:spLocks noGrp="1"/>
          </p:cNvSpPr>
          <p:nvPr>
            <p:ph type="body" sz="quarter" idx="73"/>
          </p:nvPr>
        </p:nvSpPr>
        <p:spPr/>
        <p:txBody>
          <a:bodyPr/>
          <a:lstStyle/>
          <a:p>
            <a:r>
              <a:rPr lang="en-US" altLang="zh-CN"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02</a:t>
            </a:r>
            <a:endParaRPr lang="zh-CN" altLang="en-US">
              <a:latin typeface="Arial" panose="020B0604020202020204" pitchFamily="34" charset="0"/>
              <a:ea typeface="微软雅黑" panose="020B0503020204020204" pitchFamily="34" charset="-122"/>
              <a:sym typeface="Arial" panose="020B0604020202020204" pitchFamily="34" charset="0"/>
            </a:endParaRPr>
          </a:p>
        </p:txBody>
      </p:sp>
      <p:sp>
        <p:nvSpPr>
          <p:cNvPr id="3" name="文本占位符 2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SpPr>
            <a:spLocks noGrp="1"/>
          </p:cNvSpPr>
          <p:nvPr>
            <p:ph type="body" sz="quarter" idx="78"/>
          </p:nvPr>
        </p:nvSpPr>
        <p:spPr/>
        <p:txBody>
          <a:bodyPr/>
          <a:lstStyle/>
          <a:p>
            <a:r>
              <a:rPr lang="en-US" altLang="zh-CN"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07</a:t>
            </a:r>
            <a:endParaRPr lang="zh-CN" altLang="en-US">
              <a:latin typeface="Arial" panose="020B0604020202020204" pitchFamily="34" charset="0"/>
              <a:ea typeface="微软雅黑" panose="020B0503020204020204" pitchFamily="34" charset="-122"/>
              <a:sym typeface="Arial" panose="020B0604020202020204" pitchFamily="34" charset="0"/>
            </a:endParaRPr>
          </a:p>
        </p:txBody>
      </p:sp>
      <p:grpSp>
        <p:nvGrpSpPr>
          <p:cNvPr id="34" name="Group 5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GrpSpPr/>
          <p:nvPr/>
        </p:nvGrpSpPr>
        <p:grpSpPr>
          <a:xfrm>
            <a:off x="553912" y="4577604"/>
            <a:ext cx="1604072" cy="917351"/>
            <a:chOff x="-340910" y="4643733"/>
            <a:chExt cx="2177398" cy="917351"/>
          </a:xfrm>
        </p:grpSpPr>
        <p:sp>
          <p:nvSpPr>
            <p:cNvPr id="35" name="Rectangle 3"/>
            <p:cNvSpPr/>
            <p:nvPr/>
          </p:nvSpPr>
          <p:spPr>
            <a:xfrm>
              <a:off x="-325726" y="4889425"/>
              <a:ext cx="1914556" cy="67165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>
                <a:lnSpc>
                  <a:spcPct val="130000"/>
                </a:lnSpc>
              </a:pPr>
              <a:r>
                <a:rPr lang="en-US" altLang="zh-CN" sz="1000" dirty="0">
                  <a:solidFill>
                    <a:schemeClr val="accent6">
                      <a:lumMod val="50000"/>
                    </a:schemeClr>
                  </a:solidFill>
                  <a:latin typeface="Arial" panose="020B0604020202020204" pitchFamily="34" charset="0"/>
                  <a:ea typeface="微软雅黑" panose="020B0503020204020204" pitchFamily="34" charset="-122"/>
                  <a:cs typeface="思源黑体 CN Regular" panose="020B0500000000000000" charset="-122"/>
                  <a:sym typeface="Arial" panose="020B0604020202020204" pitchFamily="34" charset="0"/>
                </a:rPr>
                <a:t>Click here to add content, content to match the title. </a:t>
              </a:r>
            </a:p>
          </p:txBody>
        </p:sp>
        <p:sp>
          <p:nvSpPr>
            <p:cNvPr id="36" name="Rectangle 4"/>
            <p:cNvSpPr/>
            <p:nvPr/>
          </p:nvSpPr>
          <p:spPr>
            <a:xfrm>
              <a:off x="-340910" y="4643733"/>
              <a:ext cx="2177398" cy="29514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>
                <a:lnSpc>
                  <a:spcPct val="120000"/>
                </a:lnSpc>
              </a:pPr>
              <a:r>
                <a:rPr lang="id-ID" sz="1200" b="1">
                  <a:latin typeface="Arial" panose="020B0604020202020204" pitchFamily="34" charset="0"/>
                  <a:ea typeface="微软雅黑" panose="020B0503020204020204" pitchFamily="34" charset="-122"/>
                  <a:cs typeface="思源黑体 CN Regular" panose="020B0500000000000000" charset="-122"/>
                  <a:sym typeface="Arial" panose="020B0604020202020204" pitchFamily="34" charset="0"/>
                </a:rPr>
                <a:t>Sample Text</a:t>
              </a:r>
              <a:endParaRPr lang="en-US" sz="1200" b="1"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endParaRPr>
            </a:p>
          </p:txBody>
        </p:sp>
      </p:grpSp>
      <p:sp>
        <p:nvSpPr>
          <p:cNvPr id="37" name="Rectangle 6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SpPr/>
          <p:nvPr/>
        </p:nvSpPr>
        <p:spPr>
          <a:xfrm>
            <a:off x="2144086" y="4297438"/>
            <a:ext cx="1734155" cy="14444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20000"/>
              </a:lnSpc>
            </a:pPr>
            <a:r>
              <a:rPr lang="id-ID" sz="8000" b="1">
                <a:solidFill>
                  <a:schemeClr val="bg2">
                    <a:lumMod val="90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rPr>
              <a:t>0</a:t>
            </a:r>
            <a:r>
              <a:rPr lang="en-US" sz="8000" b="1">
                <a:solidFill>
                  <a:schemeClr val="bg2">
                    <a:lumMod val="90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rPr>
              <a:t>2</a:t>
            </a:r>
          </a:p>
        </p:txBody>
      </p:sp>
      <p:sp>
        <p:nvSpPr>
          <p:cNvPr id="38" name="矩形 37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SpPr/>
          <p:nvPr/>
        </p:nvSpPr>
        <p:spPr>
          <a:xfrm>
            <a:off x="2233923" y="5126736"/>
            <a:ext cx="1554480" cy="142646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>
              <a:latin typeface="Arial" panose="020B0604020202020204" pitchFamily="34" charset="0"/>
              <a:ea typeface="微软雅黑" panose="020B0503020204020204" pitchFamily="34" charset="-122"/>
              <a:cs typeface="思源黑体 CN Regular" panose="020B0500000000000000" charset="-122"/>
              <a:sym typeface="Arial" panose="020B0604020202020204" pitchFamily="34" charset="0"/>
            </a:endParaRPr>
          </a:p>
        </p:txBody>
      </p:sp>
      <p:grpSp>
        <p:nvGrpSpPr>
          <p:cNvPr id="39" name="Group 5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GrpSpPr/>
          <p:nvPr/>
        </p:nvGrpSpPr>
        <p:grpSpPr>
          <a:xfrm>
            <a:off x="2132776" y="5095764"/>
            <a:ext cx="1604072" cy="717296"/>
            <a:chOff x="-340910" y="4643733"/>
            <a:chExt cx="2177398" cy="717296"/>
          </a:xfrm>
        </p:grpSpPr>
        <p:sp>
          <p:nvSpPr>
            <p:cNvPr id="40" name="Rectangle 3"/>
            <p:cNvSpPr/>
            <p:nvPr/>
          </p:nvSpPr>
          <p:spPr>
            <a:xfrm>
              <a:off x="-325726" y="4889425"/>
              <a:ext cx="2146973" cy="47160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>
                <a:lnSpc>
                  <a:spcPct val="130000"/>
                </a:lnSpc>
              </a:pPr>
              <a:r>
                <a:rPr lang="en-US" altLang="zh-CN" sz="1000" dirty="0">
                  <a:solidFill>
                    <a:schemeClr val="accent6">
                      <a:lumMod val="50000"/>
                    </a:schemeClr>
                  </a:solidFill>
                  <a:latin typeface="Arial" panose="020B0604020202020204" pitchFamily="34" charset="0"/>
                  <a:ea typeface="微软雅黑" panose="020B0503020204020204" pitchFamily="34" charset="-122"/>
                  <a:cs typeface="思源黑体 CN Regular" panose="020B0500000000000000" charset="-122"/>
                  <a:sym typeface="Arial" panose="020B0604020202020204" pitchFamily="34" charset="0"/>
                </a:rPr>
                <a:t>Click here to add content, content to match the title. </a:t>
              </a:r>
            </a:p>
          </p:txBody>
        </p:sp>
        <p:sp>
          <p:nvSpPr>
            <p:cNvPr id="41" name="Rectangle 4"/>
            <p:cNvSpPr/>
            <p:nvPr/>
          </p:nvSpPr>
          <p:spPr>
            <a:xfrm>
              <a:off x="-340910" y="4643733"/>
              <a:ext cx="2177398" cy="29514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>
                <a:lnSpc>
                  <a:spcPct val="120000"/>
                </a:lnSpc>
              </a:pPr>
              <a:r>
                <a:rPr lang="id-ID" sz="1200" b="1">
                  <a:latin typeface="Arial" panose="020B0604020202020204" pitchFamily="34" charset="0"/>
                  <a:ea typeface="微软雅黑" panose="020B0503020204020204" pitchFamily="34" charset="-122"/>
                  <a:cs typeface="思源黑体 CN Regular" panose="020B0500000000000000" charset="-122"/>
                  <a:sym typeface="Arial" panose="020B0604020202020204" pitchFamily="34" charset="0"/>
                </a:rPr>
                <a:t>Sample Text</a:t>
              </a:r>
              <a:endParaRPr lang="en-US" sz="1200" b="1"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endParaRPr>
            </a:p>
          </p:txBody>
        </p:sp>
      </p:grpSp>
      <p:sp>
        <p:nvSpPr>
          <p:cNvPr id="42" name="Rectangle 6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SpPr/>
          <p:nvPr/>
        </p:nvSpPr>
        <p:spPr>
          <a:xfrm>
            <a:off x="3704662" y="3465513"/>
            <a:ext cx="1734155" cy="14444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20000"/>
              </a:lnSpc>
            </a:pPr>
            <a:r>
              <a:rPr lang="id-ID" sz="8000" b="1">
                <a:solidFill>
                  <a:schemeClr val="bg2">
                    <a:lumMod val="90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rPr>
              <a:t>0</a:t>
            </a:r>
            <a:r>
              <a:rPr lang="en-US" sz="8000" b="1">
                <a:solidFill>
                  <a:schemeClr val="bg2">
                    <a:lumMod val="90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rPr>
              <a:t>3</a:t>
            </a:r>
          </a:p>
        </p:txBody>
      </p:sp>
      <p:sp>
        <p:nvSpPr>
          <p:cNvPr id="43" name="矩形 42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SpPr/>
          <p:nvPr/>
        </p:nvSpPr>
        <p:spPr>
          <a:xfrm>
            <a:off x="3794499" y="4294811"/>
            <a:ext cx="1554480" cy="142646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>
              <a:latin typeface="Arial" panose="020B0604020202020204" pitchFamily="34" charset="0"/>
              <a:ea typeface="微软雅黑" panose="020B0503020204020204" pitchFamily="34" charset="-122"/>
              <a:cs typeface="思源黑体 CN Regular" panose="020B0500000000000000" charset="-122"/>
              <a:sym typeface="Arial" panose="020B0604020202020204" pitchFamily="34" charset="0"/>
            </a:endParaRPr>
          </a:p>
        </p:txBody>
      </p:sp>
      <p:grpSp>
        <p:nvGrpSpPr>
          <p:cNvPr id="44" name="Group 5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GrpSpPr/>
          <p:nvPr/>
        </p:nvGrpSpPr>
        <p:grpSpPr>
          <a:xfrm>
            <a:off x="3693352" y="4263839"/>
            <a:ext cx="1604072" cy="717296"/>
            <a:chOff x="-340910" y="4643733"/>
            <a:chExt cx="2177398" cy="717296"/>
          </a:xfrm>
        </p:grpSpPr>
        <p:sp>
          <p:nvSpPr>
            <p:cNvPr id="45" name="Rectangle 3"/>
            <p:cNvSpPr/>
            <p:nvPr/>
          </p:nvSpPr>
          <p:spPr>
            <a:xfrm>
              <a:off x="-325726" y="4889425"/>
              <a:ext cx="2146973" cy="47160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>
                <a:lnSpc>
                  <a:spcPct val="130000"/>
                </a:lnSpc>
              </a:pPr>
              <a:r>
                <a:rPr lang="en-US" altLang="zh-CN" sz="1000" dirty="0">
                  <a:solidFill>
                    <a:schemeClr val="accent6">
                      <a:lumMod val="50000"/>
                    </a:schemeClr>
                  </a:solidFill>
                  <a:latin typeface="Arial" panose="020B0604020202020204" pitchFamily="34" charset="0"/>
                  <a:ea typeface="微软雅黑" panose="020B0503020204020204" pitchFamily="34" charset="-122"/>
                  <a:cs typeface="思源黑体 CN Regular" panose="020B0500000000000000" charset="-122"/>
                  <a:sym typeface="Arial" panose="020B0604020202020204" pitchFamily="34" charset="0"/>
                </a:rPr>
                <a:t>Click here to add content, content to match the title. </a:t>
              </a:r>
            </a:p>
          </p:txBody>
        </p:sp>
        <p:sp>
          <p:nvSpPr>
            <p:cNvPr id="46" name="Rectangle 4"/>
            <p:cNvSpPr/>
            <p:nvPr/>
          </p:nvSpPr>
          <p:spPr>
            <a:xfrm>
              <a:off x="-340910" y="4643733"/>
              <a:ext cx="2177398" cy="29514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>
                <a:lnSpc>
                  <a:spcPct val="120000"/>
                </a:lnSpc>
              </a:pPr>
              <a:r>
                <a:rPr lang="id-ID" sz="1200" b="1">
                  <a:latin typeface="Arial" panose="020B0604020202020204" pitchFamily="34" charset="0"/>
                  <a:ea typeface="微软雅黑" panose="020B0503020204020204" pitchFamily="34" charset="-122"/>
                  <a:cs typeface="思源黑体 CN Regular" panose="020B0500000000000000" charset="-122"/>
                  <a:sym typeface="Arial" panose="020B0604020202020204" pitchFamily="34" charset="0"/>
                </a:rPr>
                <a:t>Sample Text</a:t>
              </a:r>
              <a:endParaRPr lang="en-US" sz="1200" b="1"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endParaRPr>
            </a:p>
          </p:txBody>
        </p:sp>
      </p:grpSp>
      <p:sp>
        <p:nvSpPr>
          <p:cNvPr id="47" name="Rectangle 6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SpPr/>
          <p:nvPr/>
        </p:nvSpPr>
        <p:spPr>
          <a:xfrm>
            <a:off x="5374966" y="2904681"/>
            <a:ext cx="1734155" cy="14444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20000"/>
              </a:lnSpc>
            </a:pPr>
            <a:r>
              <a:rPr lang="id-ID" sz="8000" b="1">
                <a:solidFill>
                  <a:schemeClr val="bg2">
                    <a:lumMod val="90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rPr>
              <a:t>0</a:t>
            </a:r>
            <a:r>
              <a:rPr lang="en-US" sz="8000" b="1">
                <a:solidFill>
                  <a:schemeClr val="bg2">
                    <a:lumMod val="90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rPr>
              <a:t>4</a:t>
            </a:r>
          </a:p>
        </p:txBody>
      </p:sp>
      <p:sp>
        <p:nvSpPr>
          <p:cNvPr id="48" name="矩形 47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SpPr/>
          <p:nvPr/>
        </p:nvSpPr>
        <p:spPr>
          <a:xfrm>
            <a:off x="5464803" y="3733979"/>
            <a:ext cx="1554480" cy="142646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>
              <a:latin typeface="Arial" panose="020B0604020202020204" pitchFamily="34" charset="0"/>
              <a:ea typeface="微软雅黑" panose="020B0503020204020204" pitchFamily="34" charset="-122"/>
              <a:cs typeface="思源黑体 CN Regular" panose="020B0500000000000000" charset="-122"/>
              <a:sym typeface="Arial" panose="020B0604020202020204" pitchFamily="34" charset="0"/>
            </a:endParaRPr>
          </a:p>
        </p:txBody>
      </p:sp>
      <p:grpSp>
        <p:nvGrpSpPr>
          <p:cNvPr id="49" name="Group 5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GrpSpPr/>
          <p:nvPr/>
        </p:nvGrpSpPr>
        <p:grpSpPr>
          <a:xfrm>
            <a:off x="5363656" y="3703007"/>
            <a:ext cx="1604072" cy="717296"/>
            <a:chOff x="-340910" y="4643733"/>
            <a:chExt cx="2177398" cy="717296"/>
          </a:xfrm>
        </p:grpSpPr>
        <p:sp>
          <p:nvSpPr>
            <p:cNvPr id="50" name="Rectangle 3"/>
            <p:cNvSpPr/>
            <p:nvPr/>
          </p:nvSpPr>
          <p:spPr>
            <a:xfrm>
              <a:off x="-325726" y="4889425"/>
              <a:ext cx="2146973" cy="47160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>
                <a:lnSpc>
                  <a:spcPct val="130000"/>
                </a:lnSpc>
              </a:pPr>
              <a:r>
                <a:rPr lang="en-US" altLang="zh-CN" sz="1000" dirty="0">
                  <a:solidFill>
                    <a:schemeClr val="accent6">
                      <a:lumMod val="50000"/>
                    </a:schemeClr>
                  </a:solidFill>
                  <a:latin typeface="Arial" panose="020B0604020202020204" pitchFamily="34" charset="0"/>
                  <a:ea typeface="微软雅黑" panose="020B0503020204020204" pitchFamily="34" charset="-122"/>
                  <a:cs typeface="思源黑体 CN Regular" panose="020B0500000000000000" charset="-122"/>
                  <a:sym typeface="Arial" panose="020B0604020202020204" pitchFamily="34" charset="0"/>
                </a:rPr>
                <a:t>Click here to add content, content to match the title. </a:t>
              </a:r>
            </a:p>
          </p:txBody>
        </p:sp>
        <p:sp>
          <p:nvSpPr>
            <p:cNvPr id="51" name="Rectangle 4"/>
            <p:cNvSpPr/>
            <p:nvPr/>
          </p:nvSpPr>
          <p:spPr>
            <a:xfrm>
              <a:off x="-340910" y="4643733"/>
              <a:ext cx="2177398" cy="29514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>
                <a:lnSpc>
                  <a:spcPct val="120000"/>
                </a:lnSpc>
              </a:pPr>
              <a:r>
                <a:rPr lang="id-ID" sz="1200" b="1">
                  <a:latin typeface="Arial" panose="020B0604020202020204" pitchFamily="34" charset="0"/>
                  <a:ea typeface="微软雅黑" panose="020B0503020204020204" pitchFamily="34" charset="-122"/>
                  <a:cs typeface="思源黑体 CN Regular" panose="020B0500000000000000" charset="-122"/>
                  <a:sym typeface="Arial" panose="020B0604020202020204" pitchFamily="34" charset="0"/>
                </a:rPr>
                <a:t>Sample Text</a:t>
              </a:r>
              <a:endParaRPr lang="en-US" sz="1200" b="1"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endParaRPr>
            </a:p>
          </p:txBody>
        </p:sp>
      </p:grpSp>
      <p:sp>
        <p:nvSpPr>
          <p:cNvPr id="52" name="Rectangle 6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SpPr/>
          <p:nvPr/>
        </p:nvSpPr>
        <p:spPr>
          <a:xfrm>
            <a:off x="7008694" y="3624009"/>
            <a:ext cx="1734155" cy="14444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20000"/>
              </a:lnSpc>
            </a:pPr>
            <a:r>
              <a:rPr lang="id-ID" sz="8000" b="1">
                <a:solidFill>
                  <a:schemeClr val="bg2">
                    <a:lumMod val="90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rPr>
              <a:t>0</a:t>
            </a:r>
            <a:r>
              <a:rPr lang="en-US" sz="8000" b="1">
                <a:solidFill>
                  <a:schemeClr val="bg2">
                    <a:lumMod val="90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rPr>
              <a:t>5</a:t>
            </a:r>
          </a:p>
        </p:txBody>
      </p:sp>
      <p:sp>
        <p:nvSpPr>
          <p:cNvPr id="53" name="矩形 52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SpPr/>
          <p:nvPr/>
        </p:nvSpPr>
        <p:spPr>
          <a:xfrm>
            <a:off x="7098531" y="4453307"/>
            <a:ext cx="1554480" cy="142646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>
              <a:latin typeface="Arial" panose="020B0604020202020204" pitchFamily="34" charset="0"/>
              <a:ea typeface="微软雅黑" panose="020B0503020204020204" pitchFamily="34" charset="-122"/>
              <a:cs typeface="思源黑体 CN Regular" panose="020B0500000000000000" charset="-122"/>
              <a:sym typeface="Arial" panose="020B0604020202020204" pitchFamily="34" charset="0"/>
            </a:endParaRPr>
          </a:p>
        </p:txBody>
      </p:sp>
      <p:grpSp>
        <p:nvGrpSpPr>
          <p:cNvPr id="54" name="Group 5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GrpSpPr/>
          <p:nvPr/>
        </p:nvGrpSpPr>
        <p:grpSpPr>
          <a:xfrm>
            <a:off x="6997384" y="4422335"/>
            <a:ext cx="1604072" cy="717296"/>
            <a:chOff x="-340910" y="4643733"/>
            <a:chExt cx="2177398" cy="717296"/>
          </a:xfrm>
        </p:grpSpPr>
        <p:sp>
          <p:nvSpPr>
            <p:cNvPr id="55" name="Rectangle 3"/>
            <p:cNvSpPr/>
            <p:nvPr/>
          </p:nvSpPr>
          <p:spPr>
            <a:xfrm>
              <a:off x="-325726" y="4889425"/>
              <a:ext cx="2146973" cy="47160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>
                <a:lnSpc>
                  <a:spcPct val="130000"/>
                </a:lnSpc>
              </a:pPr>
              <a:r>
                <a:rPr lang="en-US" altLang="zh-CN" sz="1000" dirty="0">
                  <a:solidFill>
                    <a:schemeClr val="accent6">
                      <a:lumMod val="50000"/>
                    </a:schemeClr>
                  </a:solidFill>
                  <a:latin typeface="Arial" panose="020B0604020202020204" pitchFamily="34" charset="0"/>
                  <a:ea typeface="微软雅黑" panose="020B0503020204020204" pitchFamily="34" charset="-122"/>
                  <a:cs typeface="思源黑体 CN Regular" panose="020B0500000000000000" charset="-122"/>
                  <a:sym typeface="Arial" panose="020B0604020202020204" pitchFamily="34" charset="0"/>
                </a:rPr>
                <a:t>Click here to add content, content to match the title. </a:t>
              </a:r>
            </a:p>
          </p:txBody>
        </p:sp>
        <p:sp>
          <p:nvSpPr>
            <p:cNvPr id="56" name="Rectangle 4"/>
            <p:cNvSpPr/>
            <p:nvPr/>
          </p:nvSpPr>
          <p:spPr>
            <a:xfrm>
              <a:off x="-340910" y="4643733"/>
              <a:ext cx="2177398" cy="29514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>
                <a:lnSpc>
                  <a:spcPct val="120000"/>
                </a:lnSpc>
              </a:pPr>
              <a:r>
                <a:rPr lang="id-ID" sz="1200" b="1">
                  <a:latin typeface="Arial" panose="020B0604020202020204" pitchFamily="34" charset="0"/>
                  <a:ea typeface="微软雅黑" panose="020B0503020204020204" pitchFamily="34" charset="-122"/>
                  <a:cs typeface="思源黑体 CN Regular" panose="020B0500000000000000" charset="-122"/>
                  <a:sym typeface="Arial" panose="020B0604020202020204" pitchFamily="34" charset="0"/>
                </a:rPr>
                <a:t>Sample Text</a:t>
              </a:r>
              <a:endParaRPr lang="en-US" sz="1200" b="1"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endParaRPr>
            </a:p>
          </p:txBody>
        </p:sp>
      </p:grpSp>
      <p:sp>
        <p:nvSpPr>
          <p:cNvPr id="57" name="Rectangle 6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SpPr/>
          <p:nvPr/>
        </p:nvSpPr>
        <p:spPr>
          <a:xfrm>
            <a:off x="8605846" y="2743264"/>
            <a:ext cx="1734155" cy="14444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20000"/>
              </a:lnSpc>
            </a:pPr>
            <a:r>
              <a:rPr lang="id-ID" sz="8000" b="1">
                <a:solidFill>
                  <a:schemeClr val="bg2">
                    <a:lumMod val="90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rPr>
              <a:t>0</a:t>
            </a:r>
            <a:r>
              <a:rPr lang="en-US" sz="8000" b="1">
                <a:solidFill>
                  <a:schemeClr val="bg2">
                    <a:lumMod val="90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rPr>
              <a:t>6</a:t>
            </a:r>
          </a:p>
        </p:txBody>
      </p:sp>
      <p:sp>
        <p:nvSpPr>
          <p:cNvPr id="58" name="矩形 57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SpPr/>
          <p:nvPr/>
        </p:nvSpPr>
        <p:spPr>
          <a:xfrm>
            <a:off x="8695683" y="3572562"/>
            <a:ext cx="1554480" cy="142646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>
              <a:latin typeface="Arial" panose="020B0604020202020204" pitchFamily="34" charset="0"/>
              <a:ea typeface="微软雅黑" panose="020B0503020204020204" pitchFamily="34" charset="-122"/>
              <a:cs typeface="思源黑体 CN Regular" panose="020B0500000000000000" charset="-122"/>
              <a:sym typeface="Arial" panose="020B0604020202020204" pitchFamily="34" charset="0"/>
            </a:endParaRPr>
          </a:p>
        </p:txBody>
      </p:sp>
      <p:grpSp>
        <p:nvGrpSpPr>
          <p:cNvPr id="59" name="Group 5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GrpSpPr/>
          <p:nvPr/>
        </p:nvGrpSpPr>
        <p:grpSpPr>
          <a:xfrm>
            <a:off x="8594536" y="3541590"/>
            <a:ext cx="1604072" cy="717296"/>
            <a:chOff x="-340910" y="4643733"/>
            <a:chExt cx="2177398" cy="717296"/>
          </a:xfrm>
        </p:grpSpPr>
        <p:sp>
          <p:nvSpPr>
            <p:cNvPr id="60" name="Rectangle 3"/>
            <p:cNvSpPr/>
            <p:nvPr/>
          </p:nvSpPr>
          <p:spPr>
            <a:xfrm>
              <a:off x="-325726" y="4889425"/>
              <a:ext cx="2146973" cy="47160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>
                <a:lnSpc>
                  <a:spcPct val="130000"/>
                </a:lnSpc>
              </a:pPr>
              <a:r>
                <a:rPr lang="en-US" altLang="zh-CN" sz="1000" dirty="0">
                  <a:solidFill>
                    <a:schemeClr val="accent6">
                      <a:lumMod val="50000"/>
                    </a:schemeClr>
                  </a:solidFill>
                  <a:latin typeface="Arial" panose="020B0604020202020204" pitchFamily="34" charset="0"/>
                  <a:ea typeface="微软雅黑" panose="020B0503020204020204" pitchFamily="34" charset="-122"/>
                  <a:cs typeface="思源黑体 CN Regular" panose="020B0500000000000000" charset="-122"/>
                  <a:sym typeface="Arial" panose="020B0604020202020204" pitchFamily="34" charset="0"/>
                </a:rPr>
                <a:t>Click here to add content, content to match the title. </a:t>
              </a:r>
            </a:p>
          </p:txBody>
        </p:sp>
        <p:sp>
          <p:nvSpPr>
            <p:cNvPr id="61" name="Rectangle 4"/>
            <p:cNvSpPr/>
            <p:nvPr/>
          </p:nvSpPr>
          <p:spPr>
            <a:xfrm>
              <a:off x="-340910" y="4643733"/>
              <a:ext cx="2177398" cy="29514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>
                <a:lnSpc>
                  <a:spcPct val="120000"/>
                </a:lnSpc>
              </a:pPr>
              <a:r>
                <a:rPr lang="id-ID" sz="1200" b="1">
                  <a:latin typeface="Arial" panose="020B0604020202020204" pitchFamily="34" charset="0"/>
                  <a:ea typeface="微软雅黑" panose="020B0503020204020204" pitchFamily="34" charset="-122"/>
                  <a:cs typeface="思源黑体 CN Regular" panose="020B0500000000000000" charset="-122"/>
                  <a:sym typeface="Arial" panose="020B0604020202020204" pitchFamily="34" charset="0"/>
                </a:rPr>
                <a:t>Sample Text</a:t>
              </a:r>
              <a:endParaRPr lang="en-US" sz="1200" b="1"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endParaRPr>
            </a:p>
          </p:txBody>
        </p:sp>
      </p:grpSp>
      <p:sp>
        <p:nvSpPr>
          <p:cNvPr id="62" name="Rectangle 6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SpPr/>
          <p:nvPr/>
        </p:nvSpPr>
        <p:spPr>
          <a:xfrm>
            <a:off x="10239574" y="1542352"/>
            <a:ext cx="1734155" cy="14444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20000"/>
              </a:lnSpc>
            </a:pPr>
            <a:r>
              <a:rPr lang="id-ID" sz="8000" b="1">
                <a:solidFill>
                  <a:schemeClr val="bg2">
                    <a:lumMod val="90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rPr>
              <a:t>0</a:t>
            </a:r>
            <a:r>
              <a:rPr lang="en-US" sz="8000" b="1">
                <a:solidFill>
                  <a:schemeClr val="bg2">
                    <a:lumMod val="90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rPr>
              <a:t>7</a:t>
            </a:r>
          </a:p>
        </p:txBody>
      </p:sp>
      <p:sp>
        <p:nvSpPr>
          <p:cNvPr id="63" name="矩形 62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SpPr/>
          <p:nvPr/>
        </p:nvSpPr>
        <p:spPr>
          <a:xfrm>
            <a:off x="10329411" y="2371650"/>
            <a:ext cx="1554480" cy="142646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>
              <a:latin typeface="Arial" panose="020B0604020202020204" pitchFamily="34" charset="0"/>
              <a:ea typeface="微软雅黑" panose="020B0503020204020204" pitchFamily="34" charset="-122"/>
              <a:cs typeface="思源黑体 CN Regular" panose="020B0500000000000000" charset="-122"/>
              <a:sym typeface="Arial" panose="020B0604020202020204" pitchFamily="34" charset="0"/>
            </a:endParaRPr>
          </a:p>
        </p:txBody>
      </p:sp>
      <p:grpSp>
        <p:nvGrpSpPr>
          <p:cNvPr id="64" name="Group 5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GrpSpPr/>
          <p:nvPr/>
        </p:nvGrpSpPr>
        <p:grpSpPr>
          <a:xfrm>
            <a:off x="10228264" y="2340678"/>
            <a:ext cx="1604072" cy="717296"/>
            <a:chOff x="-340910" y="4643733"/>
            <a:chExt cx="2177398" cy="717296"/>
          </a:xfrm>
        </p:grpSpPr>
        <p:sp>
          <p:nvSpPr>
            <p:cNvPr id="65" name="Rectangle 3"/>
            <p:cNvSpPr/>
            <p:nvPr/>
          </p:nvSpPr>
          <p:spPr>
            <a:xfrm>
              <a:off x="-325726" y="4889425"/>
              <a:ext cx="2146973" cy="47160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>
                <a:lnSpc>
                  <a:spcPct val="130000"/>
                </a:lnSpc>
              </a:pPr>
              <a:r>
                <a:rPr lang="en-US" altLang="zh-CN" sz="1000" dirty="0">
                  <a:solidFill>
                    <a:schemeClr val="accent6">
                      <a:lumMod val="50000"/>
                    </a:schemeClr>
                  </a:solidFill>
                  <a:latin typeface="Arial" panose="020B0604020202020204" pitchFamily="34" charset="0"/>
                  <a:ea typeface="微软雅黑" panose="020B0503020204020204" pitchFamily="34" charset="-122"/>
                  <a:cs typeface="思源黑体 CN Regular" panose="020B0500000000000000" charset="-122"/>
                  <a:sym typeface="Arial" panose="020B0604020202020204" pitchFamily="34" charset="0"/>
                </a:rPr>
                <a:t>Click here to add content, content to match the title. </a:t>
              </a:r>
            </a:p>
          </p:txBody>
        </p:sp>
        <p:sp>
          <p:nvSpPr>
            <p:cNvPr id="66" name="Rectangle 4"/>
            <p:cNvSpPr/>
            <p:nvPr/>
          </p:nvSpPr>
          <p:spPr>
            <a:xfrm>
              <a:off x="-340910" y="4643733"/>
              <a:ext cx="2177398" cy="29514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>
                <a:lnSpc>
                  <a:spcPct val="120000"/>
                </a:lnSpc>
              </a:pPr>
              <a:r>
                <a:rPr lang="id-ID" sz="1200" b="1">
                  <a:latin typeface="Arial" panose="020B0604020202020204" pitchFamily="34" charset="0"/>
                  <a:ea typeface="微软雅黑" panose="020B0503020204020204" pitchFamily="34" charset="-122"/>
                  <a:cs typeface="思源黑体 CN Regular" panose="020B0500000000000000" charset="-122"/>
                  <a:sym typeface="Arial" panose="020B0604020202020204" pitchFamily="34" charset="0"/>
                </a:rPr>
                <a:t>Sample Text</a:t>
              </a:r>
              <a:endParaRPr lang="en-US" sz="1200" b="1"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endParaRPr>
            </a:p>
          </p:txBody>
        </p:sp>
      </p:grpSp>
      <p:sp>
        <p:nvSpPr>
          <p:cNvPr id="7" name="e7d195523061f1c0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 hidden="1"/>
          <p:cNvSpPr txBox="1"/>
          <p:nvPr/>
        </p:nvSpPr>
        <p:spPr>
          <a:xfrm>
            <a:off x="-355600" y="1803400"/>
            <a:ext cx="284693" cy="1016000"/>
          </a:xfrm>
          <a:prstGeom prst="rect">
            <a:avLst/>
          </a:prstGeom>
          <a:noFill/>
        </p:spPr>
        <p:txBody>
          <a:bodyPr vert="wordArtVert" rtlCol="0">
            <a:spAutoFit/>
          </a:bodyPr>
          <a:lstStyle/>
          <a:p>
            <a:r>
              <a:rPr lang="en-US" altLang="zh-CN" sz="100"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rPr>
              <a:t>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</a:t>
            </a:r>
            <a:endParaRPr lang="zh-CN" altLang="en-US" sz="100">
              <a:latin typeface="Arial" panose="020B0604020202020204" pitchFamily="34" charset="0"/>
              <a:ea typeface="微软雅黑" panose="020B0503020204020204" pitchFamily="34" charset="-122"/>
              <a:cs typeface="思源黑体 CN Regular" panose="020B0500000000000000" charset="-122"/>
              <a:sym typeface="Arial" panose="020B0604020202020204" pitchFamily="34" charset="0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random/>
      </p:transition>
    </mc:Choice>
    <mc:Fallback xmlns:p159="http://schemas.microsoft.com/office/powerpoint/2015/09/main" xmlns:p15="http://schemas.microsoft.com/office/powerpoint/2012/main" xmlns:a14="http://schemas.microsoft.com/office/drawing/2010/main" xmlns:wp="http://schemas.openxmlformats.org/drawingml/2006/wordprocessingDrawing" xmlns:w="http://schemas.openxmlformats.org/wordprocessingml/2006/main" xmlns:m="http://schemas.openxmlformats.org/officeDocument/2006/math" xmlns="">
      <p:transition spd="slow">
        <p:random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dur="50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 nodeType="clickPar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dur="50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0" presetClass="entr" presetSubtype="0" dur="5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dur="5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62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dur="5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63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dur="5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63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dur="5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6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dur="5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6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10" presetClass="entr" presetSubtype="0" dur="5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dur="5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10" presetClass="entr" presetSubtype="0" dur="5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10" presetClass="entr" presetSubtype="0" dur="5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" presetID="10" presetClass="entr" presetSubtype="0" dur="5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6" presetID="10" presetClass="entr" presetSubtype="0" dur="5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8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9" presetID="10" presetClass="entr" presetSubtype="0" dur="5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1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2" presetID="10" presetClass="entr" presetSubtype="0" dur="5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4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5" presetID="10" presetClass="entr" presetSubtype="0" dur="5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8" presetID="10" presetClass="entr" presetSubtype="0" dur="5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0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1" presetID="10" presetClass="entr" presetSubtype="0" dur="5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3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4" presetID="10" presetClass="entr" presetSubtype="0" dur="5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6" dur="5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7" presetID="10" presetClass="entr" presetSubtype="0" dur="5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9" dur="5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0" presetID="10" presetClass="entr" presetSubtype="0" dur="5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2" dur="5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3" presetID="10" presetClass="entr" presetSubtype="0" dur="5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5" dur="5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6" presetID="10" presetClass="entr" presetSubtype="0" dur="5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8" dur="500"/>
                                        <p:tgtEl>
                                          <p:spTgt spid="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9" presetID="10" presetClass="entr" presetSubtype="0" dur="5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1" dur="500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2" presetID="10" presetClass="entr" presetSubtype="0" dur="5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4" dur="500"/>
                                        <p:tgtEl>
                                          <p:spTgt spid="5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5" presetID="10" presetClass="entr" presetSubtype="0" dur="5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7" dur="500"/>
                                        <p:tgtEl>
                                          <p:spTgt spid="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8" presetID="10" presetClass="entr" presetSubtype="0" dur="5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0" dur="500"/>
                                        <p:tgtEl>
                                          <p:spTgt spid="6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1" presetID="10" presetClass="entr" presetSubtype="0" dur="5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3" dur="500"/>
                                        <p:tgtEl>
                                          <p:spTgt spid="6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3" grpId="0"/>
      <p:bldP spid="5" grpId="0" animBg="1"/>
      <p:bldP spid="4" grpId="0"/>
      <p:bldP spid="629" grpId="0" build="p"/>
      <p:bldP spid="631" grpId="0" build="p"/>
      <p:bldP spid="632" grpId="0" build="p"/>
      <p:bldP spid="633" grpId="0" build="p"/>
      <p:bldP spid="634" grpId="0" build="p"/>
      <p:bldP spid="2" grpId="0" build="p"/>
      <p:bldP spid="3" grpId="0" build="p"/>
      <p:bldP spid="37" grpId="0"/>
      <p:bldP spid="38" grpId="0" animBg="1"/>
      <p:bldP spid="42" grpId="0"/>
      <p:bldP spid="43" grpId="0" animBg="1"/>
      <p:bldP spid="47" grpId="0"/>
      <p:bldP spid="48" grpId="0" animBg="1"/>
      <p:bldP spid="52" grpId="0"/>
      <p:bldP spid="53" grpId="0" animBg="1"/>
      <p:bldP spid="57" grpId="0"/>
      <p:bldP spid="58" grpId="0" animBg="1"/>
      <p:bldP spid="62" grpId="0"/>
      <p:bldP spid="63" grpId="0" animBg="1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" name="Group 14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GrpSpPr/>
          <p:nvPr/>
        </p:nvGrpSpPr>
        <p:grpSpPr>
          <a:xfrm>
            <a:off x="2321787" y="1736224"/>
            <a:ext cx="7829782" cy="4504536"/>
            <a:chOff x="1724526" y="1232129"/>
            <a:chExt cx="8931850" cy="5138564"/>
          </a:xfrm>
          <a:pattFill prst="wdUpDiag">
            <a:fgClr>
              <a:schemeClr val="bg1">
                <a:lumMod val="65000"/>
              </a:schemeClr>
            </a:fgClr>
            <a:bgClr>
              <a:schemeClr val="bg1"/>
            </a:bgClr>
          </a:pattFill>
        </p:grpSpPr>
        <p:sp>
          <p:nvSpPr>
            <p:cNvPr id="16" name="Right Arrow 9"/>
            <p:cNvSpPr/>
            <p:nvPr/>
          </p:nvSpPr>
          <p:spPr>
            <a:xfrm>
              <a:off x="5206280" y="3400937"/>
              <a:ext cx="5450096" cy="2969756"/>
            </a:xfrm>
            <a:custGeom>
              <a:avLst/>
              <a:gdLst>
                <a:gd name="connsiteX0" fmla="*/ 0 w 5450096"/>
                <a:gd name="connsiteY0" fmla="*/ 742439 h 2969756"/>
                <a:gd name="connsiteX1" fmla="*/ 3965218 w 5450096"/>
                <a:gd name="connsiteY1" fmla="*/ 742439 h 2969756"/>
                <a:gd name="connsiteX2" fmla="*/ 3965218 w 5450096"/>
                <a:gd name="connsiteY2" fmla="*/ 0 h 2969756"/>
                <a:gd name="connsiteX3" fmla="*/ 5450096 w 5450096"/>
                <a:gd name="connsiteY3" fmla="*/ 1484878 h 2969756"/>
                <a:gd name="connsiteX4" fmla="*/ 3965218 w 5450096"/>
                <a:gd name="connsiteY4" fmla="*/ 2969756 h 2969756"/>
                <a:gd name="connsiteX5" fmla="*/ 3965218 w 5450096"/>
                <a:gd name="connsiteY5" fmla="*/ 2227317 h 2969756"/>
                <a:gd name="connsiteX6" fmla="*/ 0 w 5450096"/>
                <a:gd name="connsiteY6" fmla="*/ 2227317 h 2969756"/>
                <a:gd name="connsiteX7" fmla="*/ 0 w 5450096"/>
                <a:gd name="connsiteY7" fmla="*/ 742439 h 2969756"/>
                <a:gd name="connsiteX0-1" fmla="*/ 0 w 5450096"/>
                <a:gd name="connsiteY0-2" fmla="*/ 742439 h 2969756"/>
                <a:gd name="connsiteX1-3" fmla="*/ 1137139 w 5450096"/>
                <a:gd name="connsiteY1-4" fmla="*/ 737348 h 2969756"/>
                <a:gd name="connsiteX2-5" fmla="*/ 3965218 w 5450096"/>
                <a:gd name="connsiteY2-6" fmla="*/ 742439 h 2969756"/>
                <a:gd name="connsiteX3-7" fmla="*/ 3965218 w 5450096"/>
                <a:gd name="connsiteY3-8" fmla="*/ 0 h 2969756"/>
                <a:gd name="connsiteX4-9" fmla="*/ 5450096 w 5450096"/>
                <a:gd name="connsiteY4-10" fmla="*/ 1484878 h 2969756"/>
                <a:gd name="connsiteX5-11" fmla="*/ 3965218 w 5450096"/>
                <a:gd name="connsiteY5-12" fmla="*/ 2969756 h 2969756"/>
                <a:gd name="connsiteX6-13" fmla="*/ 3965218 w 5450096"/>
                <a:gd name="connsiteY6-14" fmla="*/ 2227317 h 2969756"/>
                <a:gd name="connsiteX7-15" fmla="*/ 0 w 5450096"/>
                <a:gd name="connsiteY7-16" fmla="*/ 2227317 h 2969756"/>
                <a:gd name="connsiteX8" fmla="*/ 0 w 5450096"/>
                <a:gd name="connsiteY8" fmla="*/ 742439 h 2969756"/>
                <a:gd name="connsiteX0-17" fmla="*/ 0 w 5450096"/>
                <a:gd name="connsiteY0-18" fmla="*/ 2227317 h 2969756"/>
                <a:gd name="connsiteX1-19" fmla="*/ 1137139 w 5450096"/>
                <a:gd name="connsiteY1-20" fmla="*/ 737348 h 2969756"/>
                <a:gd name="connsiteX2-21" fmla="*/ 3965218 w 5450096"/>
                <a:gd name="connsiteY2-22" fmla="*/ 742439 h 2969756"/>
                <a:gd name="connsiteX3-23" fmla="*/ 3965218 w 5450096"/>
                <a:gd name="connsiteY3-24" fmla="*/ 0 h 2969756"/>
                <a:gd name="connsiteX4-25" fmla="*/ 5450096 w 5450096"/>
                <a:gd name="connsiteY4-26" fmla="*/ 1484878 h 2969756"/>
                <a:gd name="connsiteX5-27" fmla="*/ 3965218 w 5450096"/>
                <a:gd name="connsiteY5-28" fmla="*/ 2969756 h 2969756"/>
                <a:gd name="connsiteX6-29" fmla="*/ 3965218 w 5450096"/>
                <a:gd name="connsiteY6-30" fmla="*/ 2227317 h 2969756"/>
                <a:gd name="connsiteX7-31" fmla="*/ 0 w 5450096"/>
                <a:gd name="connsiteY7-32" fmla="*/ 2227317 h 2969756"/>
                <a:gd name="connsiteX0-33" fmla="*/ 0 w 5450096"/>
                <a:gd name="connsiteY0-34" fmla="*/ 2227317 h 2969756"/>
                <a:gd name="connsiteX1-35" fmla="*/ 1324708 w 5450096"/>
                <a:gd name="connsiteY1-36" fmla="*/ 737348 h 2969756"/>
                <a:gd name="connsiteX2-37" fmla="*/ 3965218 w 5450096"/>
                <a:gd name="connsiteY2-38" fmla="*/ 742439 h 2969756"/>
                <a:gd name="connsiteX3-39" fmla="*/ 3965218 w 5450096"/>
                <a:gd name="connsiteY3-40" fmla="*/ 0 h 2969756"/>
                <a:gd name="connsiteX4-41" fmla="*/ 5450096 w 5450096"/>
                <a:gd name="connsiteY4-42" fmla="*/ 1484878 h 2969756"/>
                <a:gd name="connsiteX5-43" fmla="*/ 3965218 w 5450096"/>
                <a:gd name="connsiteY5-44" fmla="*/ 2969756 h 2969756"/>
                <a:gd name="connsiteX6-45" fmla="*/ 3965218 w 5450096"/>
                <a:gd name="connsiteY6-46" fmla="*/ 2227317 h 2969756"/>
                <a:gd name="connsiteX7-47" fmla="*/ 0 w 5450096"/>
                <a:gd name="connsiteY7-48" fmla="*/ 2227317 h 2969756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  <a:cxn ang="0">
                  <a:pos x="connsiteX5-11" y="connsiteY5-12"/>
                </a:cxn>
                <a:cxn ang="0">
                  <a:pos x="connsiteX6-13" y="connsiteY6-14"/>
                </a:cxn>
                <a:cxn ang="0">
                  <a:pos x="connsiteX7-15" y="connsiteY7-16"/>
                </a:cxn>
              </a:cxnLst>
              <a:rect l="l" t="t" r="r" b="b"/>
              <a:pathLst>
                <a:path w="5450096" h="2969756">
                  <a:moveTo>
                    <a:pt x="0" y="2227317"/>
                  </a:moveTo>
                  <a:lnTo>
                    <a:pt x="1324708" y="737348"/>
                  </a:lnTo>
                  <a:lnTo>
                    <a:pt x="3965218" y="742439"/>
                  </a:lnTo>
                  <a:lnTo>
                    <a:pt x="3965218" y="0"/>
                  </a:lnTo>
                  <a:lnTo>
                    <a:pt x="5450096" y="1484878"/>
                  </a:lnTo>
                  <a:lnTo>
                    <a:pt x="3965218" y="2969756"/>
                  </a:lnTo>
                  <a:lnTo>
                    <a:pt x="3965218" y="2227317"/>
                  </a:lnTo>
                  <a:lnTo>
                    <a:pt x="0" y="2227317"/>
                  </a:lnTo>
                  <a:close/>
                </a:path>
              </a:pathLst>
            </a:custGeom>
            <a:grpFill/>
            <a:ln w="254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endParaRPr>
            </a:p>
          </p:txBody>
        </p:sp>
        <p:sp>
          <p:nvSpPr>
            <p:cNvPr id="17" name="Freeform 12"/>
            <p:cNvSpPr/>
            <p:nvPr/>
          </p:nvSpPr>
          <p:spPr bwMode="auto">
            <a:xfrm rot="13500000">
              <a:off x="4632964" y="2204784"/>
              <a:ext cx="1978493" cy="3193254"/>
            </a:xfrm>
            <a:custGeom>
              <a:avLst/>
              <a:gdLst>
                <a:gd name="T0" fmla="*/ 0 w 418"/>
                <a:gd name="T1" fmla="*/ 676 h 676"/>
                <a:gd name="T2" fmla="*/ 0 w 418"/>
                <a:gd name="T3" fmla="*/ 0 h 676"/>
                <a:gd name="T4" fmla="*/ 418 w 418"/>
                <a:gd name="T5" fmla="*/ 162 h 676"/>
                <a:gd name="T6" fmla="*/ 418 w 418"/>
                <a:gd name="T7" fmla="*/ 676 h 676"/>
                <a:gd name="T8" fmla="*/ 0 w 418"/>
                <a:gd name="T9" fmla="*/ 676 h 676"/>
                <a:gd name="connsiteX0" fmla="*/ 0 w 11380"/>
                <a:gd name="connsiteY0" fmla="*/ 10000 h 10239"/>
                <a:gd name="connsiteX1" fmla="*/ 0 w 11380"/>
                <a:gd name="connsiteY1" fmla="*/ 0 h 10239"/>
                <a:gd name="connsiteX2" fmla="*/ 10000 w 11380"/>
                <a:gd name="connsiteY2" fmla="*/ 2396 h 10239"/>
                <a:gd name="connsiteX3" fmla="*/ 11380 w 11380"/>
                <a:gd name="connsiteY3" fmla="*/ 10239 h 10239"/>
                <a:gd name="connsiteX4" fmla="*/ 0 w 11380"/>
                <a:gd name="connsiteY4" fmla="*/ 10000 h 10239"/>
                <a:gd name="connsiteX0-1" fmla="*/ 0 w 11380"/>
                <a:gd name="connsiteY0-2" fmla="*/ 10000 h 10239"/>
                <a:gd name="connsiteX1-3" fmla="*/ 0 w 11380"/>
                <a:gd name="connsiteY1-4" fmla="*/ 0 h 10239"/>
                <a:gd name="connsiteX2-5" fmla="*/ 10986 w 11380"/>
                <a:gd name="connsiteY2-6" fmla="*/ 3710 h 10239"/>
                <a:gd name="connsiteX3-7" fmla="*/ 11380 w 11380"/>
                <a:gd name="connsiteY3-8" fmla="*/ 10239 h 10239"/>
                <a:gd name="connsiteX4-9" fmla="*/ 0 w 11380"/>
                <a:gd name="connsiteY4-10" fmla="*/ 10000 h 10239"/>
                <a:gd name="connsiteX0-11" fmla="*/ 394 w 11774"/>
                <a:gd name="connsiteY0-12" fmla="*/ 6834 h 7073"/>
                <a:gd name="connsiteX1-13" fmla="*/ 0 w 11774"/>
                <a:gd name="connsiteY1-14" fmla="*/ 0 h 7073"/>
                <a:gd name="connsiteX2-15" fmla="*/ 11380 w 11774"/>
                <a:gd name="connsiteY2-16" fmla="*/ 544 h 7073"/>
                <a:gd name="connsiteX3-17" fmla="*/ 11774 w 11774"/>
                <a:gd name="connsiteY3-18" fmla="*/ 7073 h 7073"/>
                <a:gd name="connsiteX4-19" fmla="*/ 394 w 11774"/>
                <a:gd name="connsiteY4-20" fmla="*/ 6834 h 7073"/>
                <a:gd name="connsiteX0-21" fmla="*/ 335 w 10000"/>
                <a:gd name="connsiteY0-22" fmla="*/ 9662 h 10000"/>
                <a:gd name="connsiteX1-23" fmla="*/ 0 w 10000"/>
                <a:gd name="connsiteY1-24" fmla="*/ 0 h 10000"/>
                <a:gd name="connsiteX2-25" fmla="*/ 9885 w 10000"/>
                <a:gd name="connsiteY2-26" fmla="*/ 621 h 10000"/>
                <a:gd name="connsiteX3-27" fmla="*/ 10000 w 10000"/>
                <a:gd name="connsiteY3-28" fmla="*/ 10000 h 10000"/>
                <a:gd name="connsiteX4-29" fmla="*/ 335 w 10000"/>
                <a:gd name="connsiteY4-30" fmla="*/ 9662 h 10000"/>
                <a:gd name="connsiteX0-31" fmla="*/ 776 w 10441"/>
                <a:gd name="connsiteY0-32" fmla="*/ 9699 h 10037"/>
                <a:gd name="connsiteX1-33" fmla="*/ 0 w 10441"/>
                <a:gd name="connsiteY1-34" fmla="*/ 0 h 10037"/>
                <a:gd name="connsiteX2-35" fmla="*/ 10326 w 10441"/>
                <a:gd name="connsiteY2-36" fmla="*/ 658 h 10037"/>
                <a:gd name="connsiteX3-37" fmla="*/ 10441 w 10441"/>
                <a:gd name="connsiteY3-38" fmla="*/ 10037 h 10037"/>
                <a:gd name="connsiteX4-39" fmla="*/ 776 w 10441"/>
                <a:gd name="connsiteY4-40" fmla="*/ 9699 h 10037"/>
                <a:gd name="connsiteX0-41" fmla="*/ 776 w 10441"/>
                <a:gd name="connsiteY0-42" fmla="*/ 9699 h 10037"/>
                <a:gd name="connsiteX1-43" fmla="*/ 0 w 10441"/>
                <a:gd name="connsiteY1-44" fmla="*/ 0 h 10037"/>
                <a:gd name="connsiteX2-45" fmla="*/ 9481 w 10441"/>
                <a:gd name="connsiteY2-46" fmla="*/ 788 h 10037"/>
                <a:gd name="connsiteX3-47" fmla="*/ 10441 w 10441"/>
                <a:gd name="connsiteY3-48" fmla="*/ 10037 h 10037"/>
                <a:gd name="connsiteX4-49" fmla="*/ 776 w 10441"/>
                <a:gd name="connsiteY4-50" fmla="*/ 9699 h 10037"/>
                <a:gd name="connsiteX0-51" fmla="*/ 776 w 10569"/>
                <a:gd name="connsiteY0-52" fmla="*/ 9699 h 10037"/>
                <a:gd name="connsiteX1-53" fmla="*/ 0 w 10569"/>
                <a:gd name="connsiteY1-54" fmla="*/ 0 h 10037"/>
                <a:gd name="connsiteX2-55" fmla="*/ 10546 w 10569"/>
                <a:gd name="connsiteY2-56" fmla="*/ 621 h 10037"/>
                <a:gd name="connsiteX3-57" fmla="*/ 10441 w 10569"/>
                <a:gd name="connsiteY3-58" fmla="*/ 10037 h 10037"/>
                <a:gd name="connsiteX4-59" fmla="*/ 776 w 10569"/>
                <a:gd name="connsiteY4-60" fmla="*/ 9699 h 10037"/>
                <a:gd name="connsiteX0-61" fmla="*/ 776 w 11653"/>
                <a:gd name="connsiteY0-62" fmla="*/ 9699 h 10241"/>
                <a:gd name="connsiteX1-63" fmla="*/ 0 w 11653"/>
                <a:gd name="connsiteY1-64" fmla="*/ 0 h 10241"/>
                <a:gd name="connsiteX2-65" fmla="*/ 10546 w 11653"/>
                <a:gd name="connsiteY2-66" fmla="*/ 621 h 10241"/>
                <a:gd name="connsiteX3-67" fmla="*/ 11653 w 11653"/>
                <a:gd name="connsiteY3-68" fmla="*/ 10241 h 10241"/>
                <a:gd name="connsiteX4-69" fmla="*/ 776 w 11653"/>
                <a:gd name="connsiteY4-70" fmla="*/ 9699 h 10241"/>
                <a:gd name="connsiteX0-71" fmla="*/ 1437 w 11653"/>
                <a:gd name="connsiteY0-72" fmla="*/ 9625 h 10241"/>
                <a:gd name="connsiteX1-73" fmla="*/ 0 w 11653"/>
                <a:gd name="connsiteY1-74" fmla="*/ 0 h 10241"/>
                <a:gd name="connsiteX2-75" fmla="*/ 10546 w 11653"/>
                <a:gd name="connsiteY2-76" fmla="*/ 621 h 10241"/>
                <a:gd name="connsiteX3-77" fmla="*/ 11653 w 11653"/>
                <a:gd name="connsiteY3-78" fmla="*/ 10241 h 10241"/>
                <a:gd name="connsiteX4-79" fmla="*/ 1437 w 11653"/>
                <a:gd name="connsiteY4-80" fmla="*/ 9625 h 10241"/>
                <a:gd name="connsiteX0-81" fmla="*/ 886 w 11653"/>
                <a:gd name="connsiteY0-82" fmla="*/ 9569 h 10241"/>
                <a:gd name="connsiteX1-83" fmla="*/ 0 w 11653"/>
                <a:gd name="connsiteY1-84" fmla="*/ 0 h 10241"/>
                <a:gd name="connsiteX2-85" fmla="*/ 10546 w 11653"/>
                <a:gd name="connsiteY2-86" fmla="*/ 621 h 10241"/>
                <a:gd name="connsiteX3-87" fmla="*/ 11653 w 11653"/>
                <a:gd name="connsiteY3-88" fmla="*/ 10241 h 10241"/>
                <a:gd name="connsiteX4-89" fmla="*/ 886 w 11653"/>
                <a:gd name="connsiteY4-90" fmla="*/ 9569 h 10241"/>
                <a:gd name="connsiteX0-91" fmla="*/ 984 w 11653"/>
                <a:gd name="connsiteY0-92" fmla="*/ 9516 h 10241"/>
                <a:gd name="connsiteX1-93" fmla="*/ 0 w 11653"/>
                <a:gd name="connsiteY1-94" fmla="*/ 0 h 10241"/>
                <a:gd name="connsiteX2-95" fmla="*/ 10546 w 11653"/>
                <a:gd name="connsiteY2-96" fmla="*/ 621 h 10241"/>
                <a:gd name="connsiteX3-97" fmla="*/ 11653 w 11653"/>
                <a:gd name="connsiteY3-98" fmla="*/ 10241 h 10241"/>
                <a:gd name="connsiteX4-99" fmla="*/ 984 w 11653"/>
                <a:gd name="connsiteY4-100" fmla="*/ 9516 h 10241"/>
                <a:gd name="connsiteX0-101" fmla="*/ 838 w 11653"/>
                <a:gd name="connsiteY0-102" fmla="*/ 9436 h 10241"/>
                <a:gd name="connsiteX1-103" fmla="*/ 0 w 11653"/>
                <a:gd name="connsiteY1-104" fmla="*/ 0 h 10241"/>
                <a:gd name="connsiteX2-105" fmla="*/ 10546 w 11653"/>
                <a:gd name="connsiteY2-106" fmla="*/ 621 h 10241"/>
                <a:gd name="connsiteX3-107" fmla="*/ 11653 w 11653"/>
                <a:gd name="connsiteY3-108" fmla="*/ 10241 h 10241"/>
                <a:gd name="connsiteX4-109" fmla="*/ 838 w 11653"/>
                <a:gd name="connsiteY4-110" fmla="*/ 9436 h 10241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</a:cxnLst>
              <a:rect l="l" t="t" r="r" b="b"/>
              <a:pathLst>
                <a:path w="11653" h="10241">
                  <a:moveTo>
                    <a:pt x="838" y="9436"/>
                  </a:moveTo>
                  <a:cubicBezTo>
                    <a:pt x="726" y="6215"/>
                    <a:pt x="111" y="3221"/>
                    <a:pt x="0" y="0"/>
                  </a:cubicBezTo>
                  <a:lnTo>
                    <a:pt x="10546" y="621"/>
                  </a:lnTo>
                  <a:cubicBezTo>
                    <a:pt x="10658" y="3698"/>
                    <a:pt x="11542" y="7165"/>
                    <a:pt x="11653" y="10241"/>
                  </a:cubicBezTo>
                  <a:lnTo>
                    <a:pt x="838" y="9436"/>
                  </a:lnTo>
                  <a:close/>
                </a:path>
              </a:pathLst>
            </a:custGeom>
            <a:grpFill/>
            <a:ln w="25400"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endParaRPr>
            </a:p>
          </p:txBody>
        </p:sp>
        <p:sp>
          <p:nvSpPr>
            <p:cNvPr id="18" name="Right Arrow 9"/>
            <p:cNvSpPr/>
            <p:nvPr/>
          </p:nvSpPr>
          <p:spPr>
            <a:xfrm flipH="1">
              <a:off x="1724526" y="1232129"/>
              <a:ext cx="5450096" cy="2969756"/>
            </a:xfrm>
            <a:custGeom>
              <a:avLst/>
              <a:gdLst>
                <a:gd name="connsiteX0" fmla="*/ 0 w 5450096"/>
                <a:gd name="connsiteY0" fmla="*/ 742439 h 2969756"/>
                <a:gd name="connsiteX1" fmla="*/ 3965218 w 5450096"/>
                <a:gd name="connsiteY1" fmla="*/ 742439 h 2969756"/>
                <a:gd name="connsiteX2" fmla="*/ 3965218 w 5450096"/>
                <a:gd name="connsiteY2" fmla="*/ 0 h 2969756"/>
                <a:gd name="connsiteX3" fmla="*/ 5450096 w 5450096"/>
                <a:gd name="connsiteY3" fmla="*/ 1484878 h 2969756"/>
                <a:gd name="connsiteX4" fmla="*/ 3965218 w 5450096"/>
                <a:gd name="connsiteY4" fmla="*/ 2969756 h 2969756"/>
                <a:gd name="connsiteX5" fmla="*/ 3965218 w 5450096"/>
                <a:gd name="connsiteY5" fmla="*/ 2227317 h 2969756"/>
                <a:gd name="connsiteX6" fmla="*/ 0 w 5450096"/>
                <a:gd name="connsiteY6" fmla="*/ 2227317 h 2969756"/>
                <a:gd name="connsiteX7" fmla="*/ 0 w 5450096"/>
                <a:gd name="connsiteY7" fmla="*/ 742439 h 2969756"/>
                <a:gd name="connsiteX0-1" fmla="*/ 0 w 5450096"/>
                <a:gd name="connsiteY0-2" fmla="*/ 742439 h 2969756"/>
                <a:gd name="connsiteX1-3" fmla="*/ 1137139 w 5450096"/>
                <a:gd name="connsiteY1-4" fmla="*/ 737348 h 2969756"/>
                <a:gd name="connsiteX2-5" fmla="*/ 3965218 w 5450096"/>
                <a:gd name="connsiteY2-6" fmla="*/ 742439 h 2969756"/>
                <a:gd name="connsiteX3-7" fmla="*/ 3965218 w 5450096"/>
                <a:gd name="connsiteY3-8" fmla="*/ 0 h 2969756"/>
                <a:gd name="connsiteX4-9" fmla="*/ 5450096 w 5450096"/>
                <a:gd name="connsiteY4-10" fmla="*/ 1484878 h 2969756"/>
                <a:gd name="connsiteX5-11" fmla="*/ 3965218 w 5450096"/>
                <a:gd name="connsiteY5-12" fmla="*/ 2969756 h 2969756"/>
                <a:gd name="connsiteX6-13" fmla="*/ 3965218 w 5450096"/>
                <a:gd name="connsiteY6-14" fmla="*/ 2227317 h 2969756"/>
                <a:gd name="connsiteX7-15" fmla="*/ 0 w 5450096"/>
                <a:gd name="connsiteY7-16" fmla="*/ 2227317 h 2969756"/>
                <a:gd name="connsiteX8" fmla="*/ 0 w 5450096"/>
                <a:gd name="connsiteY8" fmla="*/ 742439 h 2969756"/>
                <a:gd name="connsiteX0-17" fmla="*/ 0 w 5450096"/>
                <a:gd name="connsiteY0-18" fmla="*/ 2227317 h 2969756"/>
                <a:gd name="connsiteX1-19" fmla="*/ 1137139 w 5450096"/>
                <a:gd name="connsiteY1-20" fmla="*/ 737348 h 2969756"/>
                <a:gd name="connsiteX2-21" fmla="*/ 3965218 w 5450096"/>
                <a:gd name="connsiteY2-22" fmla="*/ 742439 h 2969756"/>
                <a:gd name="connsiteX3-23" fmla="*/ 3965218 w 5450096"/>
                <a:gd name="connsiteY3-24" fmla="*/ 0 h 2969756"/>
                <a:gd name="connsiteX4-25" fmla="*/ 5450096 w 5450096"/>
                <a:gd name="connsiteY4-26" fmla="*/ 1484878 h 2969756"/>
                <a:gd name="connsiteX5-27" fmla="*/ 3965218 w 5450096"/>
                <a:gd name="connsiteY5-28" fmla="*/ 2969756 h 2969756"/>
                <a:gd name="connsiteX6-29" fmla="*/ 3965218 w 5450096"/>
                <a:gd name="connsiteY6-30" fmla="*/ 2227317 h 2969756"/>
                <a:gd name="connsiteX7-31" fmla="*/ 0 w 5450096"/>
                <a:gd name="connsiteY7-32" fmla="*/ 2227317 h 2969756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  <a:cxn ang="0">
                  <a:pos x="connsiteX5-11" y="connsiteY5-12"/>
                </a:cxn>
                <a:cxn ang="0">
                  <a:pos x="connsiteX6-13" y="connsiteY6-14"/>
                </a:cxn>
                <a:cxn ang="0">
                  <a:pos x="connsiteX7-15" y="connsiteY7-16"/>
                </a:cxn>
              </a:cxnLst>
              <a:rect l="l" t="t" r="r" b="b"/>
              <a:pathLst>
                <a:path w="5450096" h="2969756">
                  <a:moveTo>
                    <a:pt x="0" y="2227317"/>
                  </a:moveTo>
                  <a:lnTo>
                    <a:pt x="1137139" y="737348"/>
                  </a:lnTo>
                  <a:lnTo>
                    <a:pt x="3965218" y="742439"/>
                  </a:lnTo>
                  <a:lnTo>
                    <a:pt x="3965218" y="0"/>
                  </a:lnTo>
                  <a:lnTo>
                    <a:pt x="5450096" y="1484878"/>
                  </a:lnTo>
                  <a:lnTo>
                    <a:pt x="3965218" y="2969756"/>
                  </a:lnTo>
                  <a:lnTo>
                    <a:pt x="3965218" y="2227317"/>
                  </a:lnTo>
                  <a:lnTo>
                    <a:pt x="0" y="2227317"/>
                  </a:lnTo>
                  <a:close/>
                </a:path>
              </a:pathLst>
            </a:custGeom>
            <a:grpFill/>
            <a:ln w="254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endParaRPr>
            </a:p>
          </p:txBody>
        </p:sp>
      </p:grpSp>
      <p:grpSp>
        <p:nvGrpSpPr>
          <p:cNvPr id="13" name="Group 12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GrpSpPr/>
          <p:nvPr/>
        </p:nvGrpSpPr>
        <p:grpSpPr>
          <a:xfrm>
            <a:off x="2298340" y="1654161"/>
            <a:ext cx="7829782" cy="4504536"/>
            <a:chOff x="1724526" y="1232129"/>
            <a:chExt cx="8931850" cy="5138564"/>
          </a:xfrm>
        </p:grpSpPr>
        <p:sp>
          <p:nvSpPr>
            <p:cNvPr id="12" name="Right Arrow 9"/>
            <p:cNvSpPr/>
            <p:nvPr/>
          </p:nvSpPr>
          <p:spPr>
            <a:xfrm>
              <a:off x="5206280" y="3400937"/>
              <a:ext cx="5450096" cy="2969756"/>
            </a:xfrm>
            <a:custGeom>
              <a:avLst/>
              <a:gdLst>
                <a:gd name="connsiteX0" fmla="*/ 0 w 5450096"/>
                <a:gd name="connsiteY0" fmla="*/ 742439 h 2969756"/>
                <a:gd name="connsiteX1" fmla="*/ 3965218 w 5450096"/>
                <a:gd name="connsiteY1" fmla="*/ 742439 h 2969756"/>
                <a:gd name="connsiteX2" fmla="*/ 3965218 w 5450096"/>
                <a:gd name="connsiteY2" fmla="*/ 0 h 2969756"/>
                <a:gd name="connsiteX3" fmla="*/ 5450096 w 5450096"/>
                <a:gd name="connsiteY3" fmla="*/ 1484878 h 2969756"/>
                <a:gd name="connsiteX4" fmla="*/ 3965218 w 5450096"/>
                <a:gd name="connsiteY4" fmla="*/ 2969756 h 2969756"/>
                <a:gd name="connsiteX5" fmla="*/ 3965218 w 5450096"/>
                <a:gd name="connsiteY5" fmla="*/ 2227317 h 2969756"/>
                <a:gd name="connsiteX6" fmla="*/ 0 w 5450096"/>
                <a:gd name="connsiteY6" fmla="*/ 2227317 h 2969756"/>
                <a:gd name="connsiteX7" fmla="*/ 0 w 5450096"/>
                <a:gd name="connsiteY7" fmla="*/ 742439 h 2969756"/>
                <a:gd name="connsiteX0-1" fmla="*/ 0 w 5450096"/>
                <a:gd name="connsiteY0-2" fmla="*/ 742439 h 2969756"/>
                <a:gd name="connsiteX1-3" fmla="*/ 1137139 w 5450096"/>
                <a:gd name="connsiteY1-4" fmla="*/ 737348 h 2969756"/>
                <a:gd name="connsiteX2-5" fmla="*/ 3965218 w 5450096"/>
                <a:gd name="connsiteY2-6" fmla="*/ 742439 h 2969756"/>
                <a:gd name="connsiteX3-7" fmla="*/ 3965218 w 5450096"/>
                <a:gd name="connsiteY3-8" fmla="*/ 0 h 2969756"/>
                <a:gd name="connsiteX4-9" fmla="*/ 5450096 w 5450096"/>
                <a:gd name="connsiteY4-10" fmla="*/ 1484878 h 2969756"/>
                <a:gd name="connsiteX5-11" fmla="*/ 3965218 w 5450096"/>
                <a:gd name="connsiteY5-12" fmla="*/ 2969756 h 2969756"/>
                <a:gd name="connsiteX6-13" fmla="*/ 3965218 w 5450096"/>
                <a:gd name="connsiteY6-14" fmla="*/ 2227317 h 2969756"/>
                <a:gd name="connsiteX7-15" fmla="*/ 0 w 5450096"/>
                <a:gd name="connsiteY7-16" fmla="*/ 2227317 h 2969756"/>
                <a:gd name="connsiteX8" fmla="*/ 0 w 5450096"/>
                <a:gd name="connsiteY8" fmla="*/ 742439 h 2969756"/>
                <a:gd name="connsiteX0-17" fmla="*/ 0 w 5450096"/>
                <a:gd name="connsiteY0-18" fmla="*/ 2227317 h 2969756"/>
                <a:gd name="connsiteX1-19" fmla="*/ 1137139 w 5450096"/>
                <a:gd name="connsiteY1-20" fmla="*/ 737348 h 2969756"/>
                <a:gd name="connsiteX2-21" fmla="*/ 3965218 w 5450096"/>
                <a:gd name="connsiteY2-22" fmla="*/ 742439 h 2969756"/>
                <a:gd name="connsiteX3-23" fmla="*/ 3965218 w 5450096"/>
                <a:gd name="connsiteY3-24" fmla="*/ 0 h 2969756"/>
                <a:gd name="connsiteX4-25" fmla="*/ 5450096 w 5450096"/>
                <a:gd name="connsiteY4-26" fmla="*/ 1484878 h 2969756"/>
                <a:gd name="connsiteX5-27" fmla="*/ 3965218 w 5450096"/>
                <a:gd name="connsiteY5-28" fmla="*/ 2969756 h 2969756"/>
                <a:gd name="connsiteX6-29" fmla="*/ 3965218 w 5450096"/>
                <a:gd name="connsiteY6-30" fmla="*/ 2227317 h 2969756"/>
                <a:gd name="connsiteX7-31" fmla="*/ 0 w 5450096"/>
                <a:gd name="connsiteY7-32" fmla="*/ 2227317 h 2969756"/>
                <a:gd name="connsiteX0-33" fmla="*/ 0 w 5450096"/>
                <a:gd name="connsiteY0-34" fmla="*/ 2227317 h 2969756"/>
                <a:gd name="connsiteX1-35" fmla="*/ 1324708 w 5450096"/>
                <a:gd name="connsiteY1-36" fmla="*/ 737348 h 2969756"/>
                <a:gd name="connsiteX2-37" fmla="*/ 3965218 w 5450096"/>
                <a:gd name="connsiteY2-38" fmla="*/ 742439 h 2969756"/>
                <a:gd name="connsiteX3-39" fmla="*/ 3965218 w 5450096"/>
                <a:gd name="connsiteY3-40" fmla="*/ 0 h 2969756"/>
                <a:gd name="connsiteX4-41" fmla="*/ 5450096 w 5450096"/>
                <a:gd name="connsiteY4-42" fmla="*/ 1484878 h 2969756"/>
                <a:gd name="connsiteX5-43" fmla="*/ 3965218 w 5450096"/>
                <a:gd name="connsiteY5-44" fmla="*/ 2969756 h 2969756"/>
                <a:gd name="connsiteX6-45" fmla="*/ 3965218 w 5450096"/>
                <a:gd name="connsiteY6-46" fmla="*/ 2227317 h 2969756"/>
                <a:gd name="connsiteX7-47" fmla="*/ 0 w 5450096"/>
                <a:gd name="connsiteY7-48" fmla="*/ 2227317 h 2969756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  <a:cxn ang="0">
                  <a:pos x="connsiteX5-11" y="connsiteY5-12"/>
                </a:cxn>
                <a:cxn ang="0">
                  <a:pos x="connsiteX6-13" y="connsiteY6-14"/>
                </a:cxn>
                <a:cxn ang="0">
                  <a:pos x="connsiteX7-15" y="connsiteY7-16"/>
                </a:cxn>
              </a:cxnLst>
              <a:rect l="l" t="t" r="r" b="b"/>
              <a:pathLst>
                <a:path w="5450096" h="2969756">
                  <a:moveTo>
                    <a:pt x="0" y="2227317"/>
                  </a:moveTo>
                  <a:lnTo>
                    <a:pt x="1324708" y="737348"/>
                  </a:lnTo>
                  <a:lnTo>
                    <a:pt x="3965218" y="742439"/>
                  </a:lnTo>
                  <a:lnTo>
                    <a:pt x="3965218" y="0"/>
                  </a:lnTo>
                  <a:lnTo>
                    <a:pt x="5450096" y="1484878"/>
                  </a:lnTo>
                  <a:lnTo>
                    <a:pt x="3965218" y="2969756"/>
                  </a:lnTo>
                  <a:lnTo>
                    <a:pt x="3965218" y="2227317"/>
                  </a:lnTo>
                  <a:lnTo>
                    <a:pt x="0" y="2227317"/>
                  </a:lnTo>
                  <a:close/>
                </a:path>
              </a:pathLst>
            </a:custGeom>
            <a:solidFill>
              <a:schemeClr val="bg1"/>
            </a:solidFill>
            <a:ln w="2540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endParaRPr>
            </a:p>
          </p:txBody>
        </p:sp>
        <p:sp>
          <p:nvSpPr>
            <p:cNvPr id="3" name="Freeform 12"/>
            <p:cNvSpPr/>
            <p:nvPr/>
          </p:nvSpPr>
          <p:spPr bwMode="auto">
            <a:xfrm rot="13500000">
              <a:off x="4632964" y="2204784"/>
              <a:ext cx="1978493" cy="3193254"/>
            </a:xfrm>
            <a:custGeom>
              <a:avLst/>
              <a:gdLst>
                <a:gd name="T0" fmla="*/ 0 w 418"/>
                <a:gd name="T1" fmla="*/ 676 h 676"/>
                <a:gd name="T2" fmla="*/ 0 w 418"/>
                <a:gd name="T3" fmla="*/ 0 h 676"/>
                <a:gd name="T4" fmla="*/ 418 w 418"/>
                <a:gd name="T5" fmla="*/ 162 h 676"/>
                <a:gd name="T6" fmla="*/ 418 w 418"/>
                <a:gd name="T7" fmla="*/ 676 h 676"/>
                <a:gd name="T8" fmla="*/ 0 w 418"/>
                <a:gd name="T9" fmla="*/ 676 h 676"/>
                <a:gd name="connsiteX0" fmla="*/ 0 w 11380"/>
                <a:gd name="connsiteY0" fmla="*/ 10000 h 10239"/>
                <a:gd name="connsiteX1" fmla="*/ 0 w 11380"/>
                <a:gd name="connsiteY1" fmla="*/ 0 h 10239"/>
                <a:gd name="connsiteX2" fmla="*/ 10000 w 11380"/>
                <a:gd name="connsiteY2" fmla="*/ 2396 h 10239"/>
                <a:gd name="connsiteX3" fmla="*/ 11380 w 11380"/>
                <a:gd name="connsiteY3" fmla="*/ 10239 h 10239"/>
                <a:gd name="connsiteX4" fmla="*/ 0 w 11380"/>
                <a:gd name="connsiteY4" fmla="*/ 10000 h 10239"/>
                <a:gd name="connsiteX0-1" fmla="*/ 0 w 11380"/>
                <a:gd name="connsiteY0-2" fmla="*/ 10000 h 10239"/>
                <a:gd name="connsiteX1-3" fmla="*/ 0 w 11380"/>
                <a:gd name="connsiteY1-4" fmla="*/ 0 h 10239"/>
                <a:gd name="connsiteX2-5" fmla="*/ 10986 w 11380"/>
                <a:gd name="connsiteY2-6" fmla="*/ 3710 h 10239"/>
                <a:gd name="connsiteX3-7" fmla="*/ 11380 w 11380"/>
                <a:gd name="connsiteY3-8" fmla="*/ 10239 h 10239"/>
                <a:gd name="connsiteX4-9" fmla="*/ 0 w 11380"/>
                <a:gd name="connsiteY4-10" fmla="*/ 10000 h 10239"/>
                <a:gd name="connsiteX0-11" fmla="*/ 394 w 11774"/>
                <a:gd name="connsiteY0-12" fmla="*/ 6834 h 7073"/>
                <a:gd name="connsiteX1-13" fmla="*/ 0 w 11774"/>
                <a:gd name="connsiteY1-14" fmla="*/ 0 h 7073"/>
                <a:gd name="connsiteX2-15" fmla="*/ 11380 w 11774"/>
                <a:gd name="connsiteY2-16" fmla="*/ 544 h 7073"/>
                <a:gd name="connsiteX3-17" fmla="*/ 11774 w 11774"/>
                <a:gd name="connsiteY3-18" fmla="*/ 7073 h 7073"/>
                <a:gd name="connsiteX4-19" fmla="*/ 394 w 11774"/>
                <a:gd name="connsiteY4-20" fmla="*/ 6834 h 7073"/>
                <a:gd name="connsiteX0-21" fmla="*/ 335 w 10000"/>
                <a:gd name="connsiteY0-22" fmla="*/ 9662 h 10000"/>
                <a:gd name="connsiteX1-23" fmla="*/ 0 w 10000"/>
                <a:gd name="connsiteY1-24" fmla="*/ 0 h 10000"/>
                <a:gd name="connsiteX2-25" fmla="*/ 9885 w 10000"/>
                <a:gd name="connsiteY2-26" fmla="*/ 621 h 10000"/>
                <a:gd name="connsiteX3-27" fmla="*/ 10000 w 10000"/>
                <a:gd name="connsiteY3-28" fmla="*/ 10000 h 10000"/>
                <a:gd name="connsiteX4-29" fmla="*/ 335 w 10000"/>
                <a:gd name="connsiteY4-30" fmla="*/ 9662 h 10000"/>
                <a:gd name="connsiteX0-31" fmla="*/ 776 w 10441"/>
                <a:gd name="connsiteY0-32" fmla="*/ 9699 h 10037"/>
                <a:gd name="connsiteX1-33" fmla="*/ 0 w 10441"/>
                <a:gd name="connsiteY1-34" fmla="*/ 0 h 10037"/>
                <a:gd name="connsiteX2-35" fmla="*/ 10326 w 10441"/>
                <a:gd name="connsiteY2-36" fmla="*/ 658 h 10037"/>
                <a:gd name="connsiteX3-37" fmla="*/ 10441 w 10441"/>
                <a:gd name="connsiteY3-38" fmla="*/ 10037 h 10037"/>
                <a:gd name="connsiteX4-39" fmla="*/ 776 w 10441"/>
                <a:gd name="connsiteY4-40" fmla="*/ 9699 h 10037"/>
                <a:gd name="connsiteX0-41" fmla="*/ 776 w 10441"/>
                <a:gd name="connsiteY0-42" fmla="*/ 9699 h 10037"/>
                <a:gd name="connsiteX1-43" fmla="*/ 0 w 10441"/>
                <a:gd name="connsiteY1-44" fmla="*/ 0 h 10037"/>
                <a:gd name="connsiteX2-45" fmla="*/ 9481 w 10441"/>
                <a:gd name="connsiteY2-46" fmla="*/ 788 h 10037"/>
                <a:gd name="connsiteX3-47" fmla="*/ 10441 w 10441"/>
                <a:gd name="connsiteY3-48" fmla="*/ 10037 h 10037"/>
                <a:gd name="connsiteX4-49" fmla="*/ 776 w 10441"/>
                <a:gd name="connsiteY4-50" fmla="*/ 9699 h 10037"/>
                <a:gd name="connsiteX0-51" fmla="*/ 776 w 10569"/>
                <a:gd name="connsiteY0-52" fmla="*/ 9699 h 10037"/>
                <a:gd name="connsiteX1-53" fmla="*/ 0 w 10569"/>
                <a:gd name="connsiteY1-54" fmla="*/ 0 h 10037"/>
                <a:gd name="connsiteX2-55" fmla="*/ 10546 w 10569"/>
                <a:gd name="connsiteY2-56" fmla="*/ 621 h 10037"/>
                <a:gd name="connsiteX3-57" fmla="*/ 10441 w 10569"/>
                <a:gd name="connsiteY3-58" fmla="*/ 10037 h 10037"/>
                <a:gd name="connsiteX4-59" fmla="*/ 776 w 10569"/>
                <a:gd name="connsiteY4-60" fmla="*/ 9699 h 10037"/>
                <a:gd name="connsiteX0-61" fmla="*/ 776 w 11653"/>
                <a:gd name="connsiteY0-62" fmla="*/ 9699 h 10241"/>
                <a:gd name="connsiteX1-63" fmla="*/ 0 w 11653"/>
                <a:gd name="connsiteY1-64" fmla="*/ 0 h 10241"/>
                <a:gd name="connsiteX2-65" fmla="*/ 10546 w 11653"/>
                <a:gd name="connsiteY2-66" fmla="*/ 621 h 10241"/>
                <a:gd name="connsiteX3-67" fmla="*/ 11653 w 11653"/>
                <a:gd name="connsiteY3-68" fmla="*/ 10241 h 10241"/>
                <a:gd name="connsiteX4-69" fmla="*/ 776 w 11653"/>
                <a:gd name="connsiteY4-70" fmla="*/ 9699 h 10241"/>
                <a:gd name="connsiteX0-71" fmla="*/ 1437 w 11653"/>
                <a:gd name="connsiteY0-72" fmla="*/ 9625 h 10241"/>
                <a:gd name="connsiteX1-73" fmla="*/ 0 w 11653"/>
                <a:gd name="connsiteY1-74" fmla="*/ 0 h 10241"/>
                <a:gd name="connsiteX2-75" fmla="*/ 10546 w 11653"/>
                <a:gd name="connsiteY2-76" fmla="*/ 621 h 10241"/>
                <a:gd name="connsiteX3-77" fmla="*/ 11653 w 11653"/>
                <a:gd name="connsiteY3-78" fmla="*/ 10241 h 10241"/>
                <a:gd name="connsiteX4-79" fmla="*/ 1437 w 11653"/>
                <a:gd name="connsiteY4-80" fmla="*/ 9625 h 10241"/>
                <a:gd name="connsiteX0-81" fmla="*/ 886 w 11653"/>
                <a:gd name="connsiteY0-82" fmla="*/ 9569 h 10241"/>
                <a:gd name="connsiteX1-83" fmla="*/ 0 w 11653"/>
                <a:gd name="connsiteY1-84" fmla="*/ 0 h 10241"/>
                <a:gd name="connsiteX2-85" fmla="*/ 10546 w 11653"/>
                <a:gd name="connsiteY2-86" fmla="*/ 621 h 10241"/>
                <a:gd name="connsiteX3-87" fmla="*/ 11653 w 11653"/>
                <a:gd name="connsiteY3-88" fmla="*/ 10241 h 10241"/>
                <a:gd name="connsiteX4-89" fmla="*/ 886 w 11653"/>
                <a:gd name="connsiteY4-90" fmla="*/ 9569 h 10241"/>
                <a:gd name="connsiteX0-91" fmla="*/ 984 w 11653"/>
                <a:gd name="connsiteY0-92" fmla="*/ 9516 h 10241"/>
                <a:gd name="connsiteX1-93" fmla="*/ 0 w 11653"/>
                <a:gd name="connsiteY1-94" fmla="*/ 0 h 10241"/>
                <a:gd name="connsiteX2-95" fmla="*/ 10546 w 11653"/>
                <a:gd name="connsiteY2-96" fmla="*/ 621 h 10241"/>
                <a:gd name="connsiteX3-97" fmla="*/ 11653 w 11653"/>
                <a:gd name="connsiteY3-98" fmla="*/ 10241 h 10241"/>
                <a:gd name="connsiteX4-99" fmla="*/ 984 w 11653"/>
                <a:gd name="connsiteY4-100" fmla="*/ 9516 h 10241"/>
                <a:gd name="connsiteX0-101" fmla="*/ 838 w 11653"/>
                <a:gd name="connsiteY0-102" fmla="*/ 9436 h 10241"/>
                <a:gd name="connsiteX1-103" fmla="*/ 0 w 11653"/>
                <a:gd name="connsiteY1-104" fmla="*/ 0 h 10241"/>
                <a:gd name="connsiteX2-105" fmla="*/ 10546 w 11653"/>
                <a:gd name="connsiteY2-106" fmla="*/ 621 h 10241"/>
                <a:gd name="connsiteX3-107" fmla="*/ 11653 w 11653"/>
                <a:gd name="connsiteY3-108" fmla="*/ 10241 h 10241"/>
                <a:gd name="connsiteX4-109" fmla="*/ 838 w 11653"/>
                <a:gd name="connsiteY4-110" fmla="*/ 9436 h 10241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</a:cxnLst>
              <a:rect l="l" t="t" r="r" b="b"/>
              <a:pathLst>
                <a:path w="11653" h="10241">
                  <a:moveTo>
                    <a:pt x="838" y="9436"/>
                  </a:moveTo>
                  <a:cubicBezTo>
                    <a:pt x="726" y="6215"/>
                    <a:pt x="111" y="3221"/>
                    <a:pt x="0" y="0"/>
                  </a:cubicBezTo>
                  <a:lnTo>
                    <a:pt x="10546" y="621"/>
                  </a:lnTo>
                  <a:cubicBezTo>
                    <a:pt x="10658" y="3698"/>
                    <a:pt x="11542" y="7165"/>
                    <a:pt x="11653" y="10241"/>
                  </a:cubicBezTo>
                  <a:lnTo>
                    <a:pt x="838" y="9436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25400">
              <a:gradFill>
                <a:gsLst>
                  <a:gs pos="28000">
                    <a:schemeClr val="accent2"/>
                  </a:gs>
                  <a:gs pos="99000">
                    <a:schemeClr val="accent1"/>
                  </a:gs>
                </a:gsLst>
                <a:lin ang="3000000" scaled="0"/>
              </a:gradFill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endParaRPr>
            </a:p>
          </p:txBody>
        </p:sp>
        <p:sp>
          <p:nvSpPr>
            <p:cNvPr id="10" name="Right Arrow 9"/>
            <p:cNvSpPr/>
            <p:nvPr/>
          </p:nvSpPr>
          <p:spPr>
            <a:xfrm flipH="1">
              <a:off x="1724526" y="1232129"/>
              <a:ext cx="5450096" cy="2969756"/>
            </a:xfrm>
            <a:custGeom>
              <a:avLst/>
              <a:gdLst>
                <a:gd name="connsiteX0" fmla="*/ 0 w 5450096"/>
                <a:gd name="connsiteY0" fmla="*/ 742439 h 2969756"/>
                <a:gd name="connsiteX1" fmla="*/ 3965218 w 5450096"/>
                <a:gd name="connsiteY1" fmla="*/ 742439 h 2969756"/>
                <a:gd name="connsiteX2" fmla="*/ 3965218 w 5450096"/>
                <a:gd name="connsiteY2" fmla="*/ 0 h 2969756"/>
                <a:gd name="connsiteX3" fmla="*/ 5450096 w 5450096"/>
                <a:gd name="connsiteY3" fmla="*/ 1484878 h 2969756"/>
                <a:gd name="connsiteX4" fmla="*/ 3965218 w 5450096"/>
                <a:gd name="connsiteY4" fmla="*/ 2969756 h 2969756"/>
                <a:gd name="connsiteX5" fmla="*/ 3965218 w 5450096"/>
                <a:gd name="connsiteY5" fmla="*/ 2227317 h 2969756"/>
                <a:gd name="connsiteX6" fmla="*/ 0 w 5450096"/>
                <a:gd name="connsiteY6" fmla="*/ 2227317 h 2969756"/>
                <a:gd name="connsiteX7" fmla="*/ 0 w 5450096"/>
                <a:gd name="connsiteY7" fmla="*/ 742439 h 2969756"/>
                <a:gd name="connsiteX0-1" fmla="*/ 0 w 5450096"/>
                <a:gd name="connsiteY0-2" fmla="*/ 742439 h 2969756"/>
                <a:gd name="connsiteX1-3" fmla="*/ 1137139 w 5450096"/>
                <a:gd name="connsiteY1-4" fmla="*/ 737348 h 2969756"/>
                <a:gd name="connsiteX2-5" fmla="*/ 3965218 w 5450096"/>
                <a:gd name="connsiteY2-6" fmla="*/ 742439 h 2969756"/>
                <a:gd name="connsiteX3-7" fmla="*/ 3965218 w 5450096"/>
                <a:gd name="connsiteY3-8" fmla="*/ 0 h 2969756"/>
                <a:gd name="connsiteX4-9" fmla="*/ 5450096 w 5450096"/>
                <a:gd name="connsiteY4-10" fmla="*/ 1484878 h 2969756"/>
                <a:gd name="connsiteX5-11" fmla="*/ 3965218 w 5450096"/>
                <a:gd name="connsiteY5-12" fmla="*/ 2969756 h 2969756"/>
                <a:gd name="connsiteX6-13" fmla="*/ 3965218 w 5450096"/>
                <a:gd name="connsiteY6-14" fmla="*/ 2227317 h 2969756"/>
                <a:gd name="connsiteX7-15" fmla="*/ 0 w 5450096"/>
                <a:gd name="connsiteY7-16" fmla="*/ 2227317 h 2969756"/>
                <a:gd name="connsiteX8" fmla="*/ 0 w 5450096"/>
                <a:gd name="connsiteY8" fmla="*/ 742439 h 2969756"/>
                <a:gd name="connsiteX0-17" fmla="*/ 0 w 5450096"/>
                <a:gd name="connsiteY0-18" fmla="*/ 2227317 h 2969756"/>
                <a:gd name="connsiteX1-19" fmla="*/ 1137139 w 5450096"/>
                <a:gd name="connsiteY1-20" fmla="*/ 737348 h 2969756"/>
                <a:gd name="connsiteX2-21" fmla="*/ 3965218 w 5450096"/>
                <a:gd name="connsiteY2-22" fmla="*/ 742439 h 2969756"/>
                <a:gd name="connsiteX3-23" fmla="*/ 3965218 w 5450096"/>
                <a:gd name="connsiteY3-24" fmla="*/ 0 h 2969756"/>
                <a:gd name="connsiteX4-25" fmla="*/ 5450096 w 5450096"/>
                <a:gd name="connsiteY4-26" fmla="*/ 1484878 h 2969756"/>
                <a:gd name="connsiteX5-27" fmla="*/ 3965218 w 5450096"/>
                <a:gd name="connsiteY5-28" fmla="*/ 2969756 h 2969756"/>
                <a:gd name="connsiteX6-29" fmla="*/ 3965218 w 5450096"/>
                <a:gd name="connsiteY6-30" fmla="*/ 2227317 h 2969756"/>
                <a:gd name="connsiteX7-31" fmla="*/ 0 w 5450096"/>
                <a:gd name="connsiteY7-32" fmla="*/ 2227317 h 2969756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  <a:cxn ang="0">
                  <a:pos x="connsiteX5-11" y="connsiteY5-12"/>
                </a:cxn>
                <a:cxn ang="0">
                  <a:pos x="connsiteX6-13" y="connsiteY6-14"/>
                </a:cxn>
                <a:cxn ang="0">
                  <a:pos x="connsiteX7-15" y="connsiteY7-16"/>
                </a:cxn>
              </a:cxnLst>
              <a:rect l="l" t="t" r="r" b="b"/>
              <a:pathLst>
                <a:path w="5450096" h="2969756">
                  <a:moveTo>
                    <a:pt x="0" y="2227317"/>
                  </a:moveTo>
                  <a:lnTo>
                    <a:pt x="1137139" y="737348"/>
                  </a:lnTo>
                  <a:lnTo>
                    <a:pt x="3965218" y="742439"/>
                  </a:lnTo>
                  <a:lnTo>
                    <a:pt x="3965218" y="0"/>
                  </a:lnTo>
                  <a:lnTo>
                    <a:pt x="5450096" y="1484878"/>
                  </a:lnTo>
                  <a:lnTo>
                    <a:pt x="3965218" y="2969756"/>
                  </a:lnTo>
                  <a:lnTo>
                    <a:pt x="3965218" y="2227317"/>
                  </a:lnTo>
                  <a:lnTo>
                    <a:pt x="0" y="2227317"/>
                  </a:lnTo>
                  <a:close/>
                </a:path>
              </a:pathLst>
            </a:custGeom>
            <a:solidFill>
              <a:schemeClr val="bg1"/>
            </a:solidFill>
            <a:ln w="2540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endParaRPr>
            </a:p>
          </p:txBody>
        </p:sp>
      </p:grpSp>
      <p:sp>
        <p:nvSpPr>
          <p:cNvPr id="2" name="Title 1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SpPr>
            <a:spLocks noGrp="1"/>
          </p:cNvSpPr>
          <p:nvPr>
            <p:ph type="title" idx="4294967295"/>
          </p:nvPr>
        </p:nvSpPr>
        <p:spPr>
          <a:xfrm>
            <a:off x="1409700" y="685800"/>
            <a:ext cx="9372600" cy="495486"/>
          </a:xfrm>
        </p:spPr>
        <p:txBody>
          <a:bodyPr vert="horz" lIns="91440" tIns="45720" rIns="91440" bIns="45720" rtlCol="0" anchor="ctr">
            <a:noAutofit/>
          </a:bodyPr>
          <a:lstStyle/>
          <a:p>
            <a:pPr algn="ctr"/>
            <a:r>
              <a:rPr lang="en-US">
                <a:latin typeface="Arial" panose="020B0604020202020204" pitchFamily="34" charset="0"/>
                <a:ea typeface="微软雅黑" panose="020B0503020204020204" pitchFamily="34" charset="-122"/>
                <a:cs typeface="Gill Sans MT" panose="020B0502020104020203" charset="0"/>
                <a:sym typeface="Arial" panose="020B0604020202020204" pitchFamily="34" charset="0"/>
              </a:rPr>
              <a:t>ARROW  INFOGRAPHIC</a:t>
            </a:r>
          </a:p>
        </p:txBody>
      </p:sp>
      <p:sp>
        <p:nvSpPr>
          <p:cNvPr id="11" name="Triangle 10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SpPr/>
          <p:nvPr/>
        </p:nvSpPr>
        <p:spPr>
          <a:xfrm rot="16200000">
            <a:off x="1644338" y="2219706"/>
            <a:ext cx="2756934" cy="1459305"/>
          </a:xfrm>
          <a:prstGeom prst="triangle">
            <a:avLst/>
          </a:prstGeom>
          <a:gradFill>
            <a:gsLst>
              <a:gs pos="0">
                <a:schemeClr val="accent1">
                  <a:alpha val="20000"/>
                </a:schemeClr>
              </a:gs>
              <a:gs pos="99000">
                <a:schemeClr val="bg1">
                  <a:alpha val="0"/>
                </a:schemeClr>
              </a:gs>
            </a:gsLst>
            <a:lin ang="5400000" scaled="0"/>
          </a:gradFill>
          <a:ln w="254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rial" panose="020B0604020202020204" pitchFamily="34" charset="0"/>
              <a:ea typeface="微软雅黑" panose="020B0503020204020204" pitchFamily="34" charset="-122"/>
              <a:cs typeface="思源黑体 CN Regular" panose="020B0500000000000000" charset="-122"/>
              <a:sym typeface="Arial" panose="020B0604020202020204" pitchFamily="34" charset="0"/>
            </a:endParaRPr>
          </a:p>
        </p:txBody>
      </p:sp>
      <p:sp>
        <p:nvSpPr>
          <p:cNvPr id="14" name="Triangle 13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SpPr/>
          <p:nvPr/>
        </p:nvSpPr>
        <p:spPr>
          <a:xfrm rot="5400000" flipH="1">
            <a:off x="8041440" y="4127379"/>
            <a:ext cx="2756934" cy="1459305"/>
          </a:xfrm>
          <a:prstGeom prst="triangle">
            <a:avLst/>
          </a:prstGeom>
          <a:gradFill>
            <a:gsLst>
              <a:gs pos="0">
                <a:schemeClr val="accent2">
                  <a:alpha val="20000"/>
                </a:schemeClr>
              </a:gs>
              <a:gs pos="99000">
                <a:schemeClr val="bg1">
                  <a:alpha val="0"/>
                </a:schemeClr>
              </a:gs>
            </a:gsLst>
            <a:lin ang="5400000" scaled="0"/>
          </a:gradFill>
          <a:ln w="254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rial" panose="020B0604020202020204" pitchFamily="34" charset="0"/>
              <a:ea typeface="微软雅黑" panose="020B0503020204020204" pitchFamily="34" charset="-122"/>
              <a:cs typeface="思源黑体 CN Regular" panose="020B0500000000000000" charset="-122"/>
              <a:sym typeface="Arial" panose="020B0604020202020204" pitchFamily="34" charset="0"/>
            </a:endParaRPr>
          </a:p>
        </p:txBody>
      </p:sp>
      <p:sp>
        <p:nvSpPr>
          <p:cNvPr id="19" name="TextBox 18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SpPr txBox="1"/>
          <p:nvPr/>
        </p:nvSpPr>
        <p:spPr>
          <a:xfrm>
            <a:off x="3615948" y="2532189"/>
            <a:ext cx="2480052" cy="944874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>
              <a:lnSpc>
                <a:spcPct val="120000"/>
              </a:lnSpc>
              <a:spcBef>
                <a:spcPts val="600"/>
              </a:spcBef>
            </a:pPr>
            <a:r>
              <a:rPr lang="en-US" sz="1200" b="1"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rPr>
              <a:t>Write title here</a:t>
            </a:r>
          </a:p>
          <a:p>
            <a:pPr>
              <a:lnSpc>
                <a:spcPct val="120000"/>
              </a:lnSpc>
              <a:spcBef>
                <a:spcPts val="600"/>
              </a:spcBef>
            </a:pPr>
            <a:r>
              <a:rPr lang="en-US" sz="1000"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rPr>
              <a:t>This is some text. Place your preferred texts here. You can change it as you want. This is some text.</a:t>
            </a:r>
          </a:p>
        </p:txBody>
      </p:sp>
      <p:sp>
        <p:nvSpPr>
          <p:cNvPr id="20" name="TextBox 19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SpPr txBox="1"/>
          <p:nvPr/>
        </p:nvSpPr>
        <p:spPr>
          <a:xfrm>
            <a:off x="6132576" y="4372329"/>
            <a:ext cx="2727928" cy="1055674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r">
              <a:lnSpc>
                <a:spcPct val="120000"/>
              </a:lnSpc>
              <a:spcBef>
                <a:spcPts val="600"/>
              </a:spcBef>
            </a:pPr>
            <a:r>
              <a:rPr lang="en-US" altLang="zh-CN" sz="1200" b="1"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rPr>
              <a:t>Write title here</a:t>
            </a:r>
          </a:p>
          <a:p>
            <a:pPr algn="r">
              <a:lnSpc>
                <a:spcPct val="120000"/>
              </a:lnSpc>
              <a:spcBef>
                <a:spcPts val="600"/>
              </a:spcBef>
            </a:pPr>
            <a:r>
              <a:rPr lang="en-US" altLang="zh-CN" sz="1200"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rPr>
              <a:t>This is some text. Place your preferred texts here. You can change it as you want. This is some text.</a:t>
            </a:r>
          </a:p>
        </p:txBody>
      </p:sp>
      <p:sp>
        <p:nvSpPr>
          <p:cNvPr id="22" name="Rectangle 3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SpPr/>
          <p:nvPr/>
        </p:nvSpPr>
        <p:spPr>
          <a:xfrm>
            <a:off x="6899516" y="2153537"/>
            <a:ext cx="3928504" cy="62331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30000"/>
              </a:lnSpc>
            </a:pPr>
            <a:r>
              <a:rPr lang="en-US" altLang="zh-CN" sz="1400" dirty="0">
                <a:solidFill>
                  <a:schemeClr val="accent6">
                    <a:lumMod val="50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rPr>
              <a:t>Click here to add content, content to match the title. </a:t>
            </a:r>
          </a:p>
        </p:txBody>
      </p:sp>
      <p:grpSp>
        <p:nvGrpSpPr>
          <p:cNvPr id="4" name="组合 3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GrpSpPr/>
          <p:nvPr/>
        </p:nvGrpSpPr>
        <p:grpSpPr>
          <a:xfrm>
            <a:off x="5563318" y="6024872"/>
            <a:ext cx="1065364" cy="294656"/>
            <a:chOff x="725336" y="5029560"/>
            <a:chExt cx="1065364" cy="294656"/>
          </a:xfrm>
        </p:grpSpPr>
        <p:sp>
          <p:nvSpPr>
            <p:cNvPr id="23" name="矩形 22"/>
            <p:cNvSpPr/>
            <p:nvPr/>
          </p:nvSpPr>
          <p:spPr>
            <a:xfrm>
              <a:off x="725336" y="5029560"/>
              <a:ext cx="1065364" cy="294656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600"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endParaRPr>
            </a:p>
          </p:txBody>
        </p:sp>
        <p:sp>
          <p:nvSpPr>
            <p:cNvPr id="24" name="文本框 23"/>
            <p:cNvSpPr txBox="1"/>
            <p:nvPr/>
          </p:nvSpPr>
          <p:spPr>
            <a:xfrm>
              <a:off x="881152" y="5034031"/>
              <a:ext cx="829330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sz="1200">
                  <a:solidFill>
                    <a:schemeClr val="bg1"/>
                  </a:solidFill>
                  <a:latin typeface="Arial" panose="020B0604020202020204" pitchFamily="34" charset="0"/>
                  <a:ea typeface="微软雅黑" panose="020B0503020204020204" pitchFamily="34" charset="-122"/>
                  <a:cs typeface="思源黑体 CN Regular" panose="020B0500000000000000" charset="-122"/>
                  <a:sym typeface="Arial" panose="020B0604020202020204" pitchFamily="34" charset="0"/>
                </a:rPr>
                <a:t>START</a:t>
              </a:r>
              <a:r>
                <a:rPr lang="zh-CN" altLang="en-US" sz="1200">
                  <a:solidFill>
                    <a:schemeClr val="bg1"/>
                  </a:solidFill>
                  <a:latin typeface="Arial" panose="020B0604020202020204" pitchFamily="34" charset="0"/>
                  <a:ea typeface="微软雅黑" panose="020B0503020204020204" pitchFamily="34" charset="-122"/>
                  <a:cs typeface="思源黑体 CN Regular" panose="020B0500000000000000" charset="-122"/>
                  <a:sym typeface="Arial" panose="020B0604020202020204" pitchFamily="34" charset="0"/>
                </a:rPr>
                <a:t>→</a:t>
              </a:r>
            </a:p>
          </p:txBody>
        </p:sp>
      </p:grpSp>
      <p:sp>
        <p:nvSpPr>
          <p:cNvPr id="26" name="Прямоугольник 9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SpPr/>
          <p:nvPr/>
        </p:nvSpPr>
        <p:spPr>
          <a:xfrm>
            <a:off x="0" y="0"/>
            <a:ext cx="45719" cy="3429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rial" panose="020B0604020202020204" pitchFamily="34" charset="0"/>
              <a:ea typeface="微软雅黑" panose="020B0503020204020204" pitchFamily="34" charset="-122"/>
              <a:cs typeface="思源黑体 CN Regular" panose="020B0500000000000000" charset="-122"/>
              <a:sym typeface="Arial" panose="020B0604020202020204" pitchFamily="34" charset="0"/>
            </a:endParaRPr>
          </a:p>
        </p:txBody>
      </p:sp>
      <p:sp>
        <p:nvSpPr>
          <p:cNvPr id="33" name="Rectangle 3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SpPr/>
          <p:nvPr/>
        </p:nvSpPr>
        <p:spPr>
          <a:xfrm>
            <a:off x="541388" y="4500497"/>
            <a:ext cx="3928504" cy="62331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>
              <a:lnSpc>
                <a:spcPct val="130000"/>
              </a:lnSpc>
            </a:pPr>
            <a:r>
              <a:rPr lang="en-US" altLang="zh-CN" sz="1400" dirty="0">
                <a:solidFill>
                  <a:schemeClr val="accent6">
                    <a:lumMod val="50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rPr>
              <a:t>Click here to add content, content to match the title. </a:t>
            </a:r>
          </a:p>
        </p:txBody>
      </p:sp>
      <p:sp>
        <p:nvSpPr>
          <p:cNvPr id="5" name="e7d195523061f1c0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 hidden="1"/>
          <p:cNvSpPr txBox="1"/>
          <p:nvPr/>
        </p:nvSpPr>
        <p:spPr>
          <a:xfrm>
            <a:off x="-355600" y="1803400"/>
            <a:ext cx="284693" cy="1016000"/>
          </a:xfrm>
          <a:prstGeom prst="rect">
            <a:avLst/>
          </a:prstGeom>
          <a:noFill/>
        </p:spPr>
        <p:txBody>
          <a:bodyPr vert="wordArtVert" rtlCol="0">
            <a:spAutoFit/>
          </a:bodyPr>
          <a:lstStyle/>
          <a:p>
            <a:r>
              <a:rPr lang="en-US" altLang="zh-CN" sz="100"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rPr>
              <a:t>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</a:t>
            </a:r>
            <a:endParaRPr lang="zh-CN" altLang="en-US" sz="100">
              <a:latin typeface="Arial" panose="020B0604020202020204" pitchFamily="34" charset="0"/>
              <a:ea typeface="微软雅黑" panose="020B0503020204020204" pitchFamily="34" charset="-122"/>
              <a:cs typeface="思源黑体 CN Regular" panose="020B0500000000000000" charset="-122"/>
              <a:sym typeface="Arial" panose="020B0604020202020204" pitchFamily="34" charset="0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random/>
      </p:transition>
    </mc:Choice>
    <mc:Fallback xmlns:p159="http://schemas.microsoft.com/office/powerpoint/2015/09/main" xmlns:p15="http://schemas.microsoft.com/office/powerpoint/2012/main" xmlns:a14="http://schemas.microsoft.com/office/drawing/2010/main" xmlns:wp="http://schemas.openxmlformats.org/drawingml/2006/wordprocessingDrawing" xmlns:w="http://schemas.openxmlformats.org/wordprocessingml/2006/main" xmlns:m="http://schemas.openxmlformats.org/officeDocument/2006/math" xmlns="">
      <p:transition spd="slow">
        <p:random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dur="50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 nodeType="clickPar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45" presetClass="entr" presetSubtype="0" dur="2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20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2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 fmla="#ppt_w*sin(2.5*pi*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2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" presetID="45" presetClass="entr" presetSubtype="0" dur="2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20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8" dur="2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 fmla="#ppt_w*sin(2.5*pi*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2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0" presetID="45" presetClass="entr" presetSubtype="0" dur="2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2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3" dur="2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 fmla="#ppt_w*sin(2.5*pi*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2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45" presetClass="entr" presetSubtype="0" dur="2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20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8" dur="2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 fmla="#ppt_w*sin(2.5*pi*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2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 nodeType="clickPar">
                      <p:stCondLst>
                        <p:cond delay="indefinite"/>
                      </p:stCondLst>
                      <p:childTnLst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14" presetClass="entr" presetSubtype="10" dur="50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34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14" presetClass="entr" presetSubtype="10" dur="5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37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14" presetClass="entr" presetSubtype="10" dur="5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40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14" presetClass="entr" presetSubtype="10" dur="5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43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11" grpId="0" animBg="1"/>
      <p:bldP spid="14" grpId="0" animBg="1"/>
      <p:bldP spid="19" grpId="0"/>
      <p:bldP spid="20" grpId="0"/>
      <p:bldP spid="22" grpId="0"/>
      <p:bldP spid="33" grpId="0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7" name="Group 36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GrpSpPr/>
          <p:nvPr/>
        </p:nvGrpSpPr>
        <p:grpSpPr>
          <a:xfrm>
            <a:off x="4342661" y="1907941"/>
            <a:ext cx="3646304" cy="3613400"/>
            <a:chOff x="4366107" y="1954833"/>
            <a:chExt cx="3646304" cy="3613400"/>
          </a:xfrm>
          <a:pattFill prst="wdUpDiag">
            <a:fgClr>
              <a:schemeClr val="bg1">
                <a:lumMod val="65000"/>
              </a:schemeClr>
            </a:fgClr>
            <a:bgClr>
              <a:schemeClr val="bg1"/>
            </a:bgClr>
          </a:pattFill>
        </p:grpSpPr>
        <p:sp>
          <p:nvSpPr>
            <p:cNvPr id="31" name="Freeform 5"/>
            <p:cNvSpPr/>
            <p:nvPr/>
          </p:nvSpPr>
          <p:spPr bwMode="auto">
            <a:xfrm>
              <a:off x="6247693" y="1963708"/>
              <a:ext cx="1507832" cy="1433546"/>
            </a:xfrm>
            <a:custGeom>
              <a:avLst/>
              <a:gdLst/>
              <a:ahLst/>
              <a:cxnLst>
                <a:cxn ang="0">
                  <a:pos x="451" y="262"/>
                </a:cxn>
                <a:cxn ang="0">
                  <a:pos x="395" y="429"/>
                </a:cxn>
                <a:cxn ang="0">
                  <a:pos x="243" y="385"/>
                </a:cxn>
                <a:cxn ang="0">
                  <a:pos x="243" y="384"/>
                </a:cxn>
                <a:cxn ang="0">
                  <a:pos x="194" y="318"/>
                </a:cxn>
                <a:cxn ang="0">
                  <a:pos x="5" y="240"/>
                </a:cxn>
                <a:cxn ang="0">
                  <a:pos x="0" y="240"/>
                </a:cxn>
                <a:cxn ang="0">
                  <a:pos x="125" y="120"/>
                </a:cxn>
                <a:cxn ang="0">
                  <a:pos x="13" y="0"/>
                </a:cxn>
                <a:cxn ang="0">
                  <a:pos x="363" y="148"/>
                </a:cxn>
                <a:cxn ang="0">
                  <a:pos x="451" y="262"/>
                </a:cxn>
              </a:cxnLst>
              <a:rect l="0" t="0" r="r" b="b"/>
              <a:pathLst>
                <a:path w="451" h="429">
                  <a:moveTo>
                    <a:pt x="451" y="262"/>
                  </a:moveTo>
                  <a:cubicBezTo>
                    <a:pt x="395" y="429"/>
                    <a:pt x="395" y="429"/>
                    <a:pt x="395" y="429"/>
                  </a:cubicBezTo>
                  <a:cubicBezTo>
                    <a:pt x="243" y="385"/>
                    <a:pt x="243" y="385"/>
                    <a:pt x="243" y="385"/>
                  </a:cubicBezTo>
                  <a:cubicBezTo>
                    <a:pt x="243" y="385"/>
                    <a:pt x="243" y="384"/>
                    <a:pt x="243" y="384"/>
                  </a:cubicBezTo>
                  <a:cubicBezTo>
                    <a:pt x="230" y="360"/>
                    <a:pt x="214" y="338"/>
                    <a:pt x="194" y="318"/>
                  </a:cubicBezTo>
                  <a:cubicBezTo>
                    <a:pt x="142" y="266"/>
                    <a:pt x="79" y="240"/>
                    <a:pt x="5" y="240"/>
                  </a:cubicBezTo>
                  <a:cubicBezTo>
                    <a:pt x="4" y="240"/>
                    <a:pt x="2" y="240"/>
                    <a:pt x="0" y="240"/>
                  </a:cubicBezTo>
                  <a:cubicBezTo>
                    <a:pt x="125" y="120"/>
                    <a:pt x="125" y="120"/>
                    <a:pt x="125" y="120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49" y="2"/>
                    <a:pt x="266" y="51"/>
                    <a:pt x="363" y="148"/>
                  </a:cubicBezTo>
                  <a:cubicBezTo>
                    <a:pt x="399" y="183"/>
                    <a:pt x="428" y="222"/>
                    <a:pt x="451" y="262"/>
                  </a:cubicBezTo>
                  <a:close/>
                </a:path>
              </a:pathLst>
            </a:custGeom>
            <a:grpFill/>
            <a:ln w="25400">
              <a:noFill/>
              <a:miter lim="800000"/>
            </a:ln>
            <a:effectLst/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endParaRPr>
            </a:p>
          </p:txBody>
        </p:sp>
        <p:sp>
          <p:nvSpPr>
            <p:cNvPr id="32" name="Freeform 6"/>
            <p:cNvSpPr/>
            <p:nvPr/>
          </p:nvSpPr>
          <p:spPr bwMode="auto">
            <a:xfrm>
              <a:off x="7097278" y="2997032"/>
              <a:ext cx="915133" cy="1768623"/>
            </a:xfrm>
            <a:custGeom>
              <a:avLst/>
              <a:gdLst/>
              <a:ahLst/>
              <a:cxnLst>
                <a:cxn ang="0">
                  <a:pos x="220" y="0"/>
                </a:cxn>
                <a:cxn ang="0">
                  <a:pos x="274" y="231"/>
                </a:cxn>
                <a:cxn ang="0">
                  <a:pos x="202" y="494"/>
                </a:cxn>
                <a:cxn ang="0">
                  <a:pos x="32" y="529"/>
                </a:cxn>
                <a:cxn ang="0">
                  <a:pos x="0" y="362"/>
                </a:cxn>
                <a:cxn ang="0">
                  <a:pos x="34" y="231"/>
                </a:cxn>
                <a:cxn ang="0">
                  <a:pos x="12" y="123"/>
                </a:cxn>
                <a:cxn ang="0">
                  <a:pos x="166" y="166"/>
                </a:cxn>
                <a:cxn ang="0">
                  <a:pos x="220" y="0"/>
                </a:cxn>
              </a:cxnLst>
              <a:rect l="0" t="0" r="r" b="b"/>
              <a:pathLst>
                <a:path w="274" h="529">
                  <a:moveTo>
                    <a:pt x="220" y="0"/>
                  </a:moveTo>
                  <a:cubicBezTo>
                    <a:pt x="256" y="70"/>
                    <a:pt x="274" y="147"/>
                    <a:pt x="274" y="231"/>
                  </a:cubicBezTo>
                  <a:cubicBezTo>
                    <a:pt x="274" y="329"/>
                    <a:pt x="250" y="416"/>
                    <a:pt x="202" y="494"/>
                  </a:cubicBezTo>
                  <a:cubicBezTo>
                    <a:pt x="32" y="529"/>
                    <a:pt x="32" y="529"/>
                    <a:pt x="32" y="529"/>
                  </a:cubicBezTo>
                  <a:cubicBezTo>
                    <a:pt x="0" y="362"/>
                    <a:pt x="0" y="362"/>
                    <a:pt x="0" y="362"/>
                  </a:cubicBezTo>
                  <a:cubicBezTo>
                    <a:pt x="22" y="323"/>
                    <a:pt x="34" y="279"/>
                    <a:pt x="34" y="231"/>
                  </a:cubicBezTo>
                  <a:cubicBezTo>
                    <a:pt x="34" y="192"/>
                    <a:pt x="26" y="156"/>
                    <a:pt x="12" y="123"/>
                  </a:cubicBezTo>
                  <a:cubicBezTo>
                    <a:pt x="166" y="166"/>
                    <a:pt x="166" y="166"/>
                    <a:pt x="166" y="166"/>
                  </a:cubicBezTo>
                  <a:lnTo>
                    <a:pt x="220" y="0"/>
                  </a:lnTo>
                  <a:close/>
                </a:path>
              </a:pathLst>
            </a:custGeom>
            <a:grpFill/>
            <a:ln w="25400">
              <a:noFill/>
              <a:miter lim="800000"/>
            </a:ln>
            <a:effectLst/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endParaRPr>
            </a:p>
          </p:txBody>
        </p:sp>
        <p:sp>
          <p:nvSpPr>
            <p:cNvPr id="33" name="Freeform 7"/>
            <p:cNvSpPr/>
            <p:nvPr/>
          </p:nvSpPr>
          <p:spPr bwMode="auto">
            <a:xfrm>
              <a:off x="5846251" y="4365444"/>
              <a:ext cx="1816036" cy="1202789"/>
            </a:xfrm>
            <a:custGeom>
              <a:avLst/>
              <a:gdLst/>
              <a:ahLst/>
              <a:cxnLst>
                <a:cxn ang="0">
                  <a:pos x="476" y="211"/>
                </a:cxn>
                <a:cxn ang="0">
                  <a:pos x="118" y="360"/>
                </a:cxn>
                <a:cxn ang="0">
                  <a:pos x="104" y="360"/>
                </a:cxn>
                <a:cxn ang="0">
                  <a:pos x="0" y="235"/>
                </a:cxn>
                <a:cxn ang="0">
                  <a:pos x="138" y="119"/>
                </a:cxn>
                <a:cxn ang="0">
                  <a:pos x="307" y="41"/>
                </a:cxn>
                <a:cxn ang="0">
                  <a:pos x="341" y="0"/>
                </a:cxn>
                <a:cxn ang="0">
                  <a:pos x="375" y="164"/>
                </a:cxn>
                <a:cxn ang="0">
                  <a:pos x="543" y="131"/>
                </a:cxn>
                <a:cxn ang="0">
                  <a:pos x="476" y="211"/>
                </a:cxn>
              </a:cxnLst>
              <a:rect l="0" t="0" r="r" b="b"/>
              <a:pathLst>
                <a:path w="543" h="360">
                  <a:moveTo>
                    <a:pt x="476" y="211"/>
                  </a:moveTo>
                  <a:cubicBezTo>
                    <a:pt x="378" y="310"/>
                    <a:pt x="258" y="360"/>
                    <a:pt x="118" y="360"/>
                  </a:cubicBezTo>
                  <a:cubicBezTo>
                    <a:pt x="113" y="360"/>
                    <a:pt x="109" y="360"/>
                    <a:pt x="104" y="360"/>
                  </a:cubicBezTo>
                  <a:cubicBezTo>
                    <a:pt x="0" y="235"/>
                    <a:pt x="0" y="235"/>
                    <a:pt x="0" y="235"/>
                  </a:cubicBezTo>
                  <a:cubicBezTo>
                    <a:pt x="138" y="119"/>
                    <a:pt x="138" y="119"/>
                    <a:pt x="138" y="119"/>
                  </a:cubicBezTo>
                  <a:cubicBezTo>
                    <a:pt x="203" y="115"/>
                    <a:pt x="259" y="89"/>
                    <a:pt x="307" y="41"/>
                  </a:cubicBezTo>
                  <a:cubicBezTo>
                    <a:pt x="320" y="28"/>
                    <a:pt x="331" y="14"/>
                    <a:pt x="341" y="0"/>
                  </a:cubicBezTo>
                  <a:cubicBezTo>
                    <a:pt x="375" y="164"/>
                    <a:pt x="375" y="164"/>
                    <a:pt x="375" y="164"/>
                  </a:cubicBezTo>
                  <a:cubicBezTo>
                    <a:pt x="543" y="131"/>
                    <a:pt x="543" y="131"/>
                    <a:pt x="543" y="131"/>
                  </a:cubicBezTo>
                  <a:cubicBezTo>
                    <a:pt x="524" y="159"/>
                    <a:pt x="502" y="186"/>
                    <a:pt x="476" y="211"/>
                  </a:cubicBezTo>
                  <a:close/>
                </a:path>
              </a:pathLst>
            </a:custGeom>
            <a:grpFill/>
            <a:ln w="25400">
              <a:noFill/>
              <a:miter lim="800000"/>
            </a:ln>
            <a:effectLst/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endParaRPr>
            </a:p>
          </p:txBody>
        </p:sp>
        <p:sp>
          <p:nvSpPr>
            <p:cNvPr id="34" name="Freeform 8"/>
            <p:cNvSpPr/>
            <p:nvPr/>
          </p:nvSpPr>
          <p:spPr bwMode="auto">
            <a:xfrm>
              <a:off x="4635906" y="1954833"/>
              <a:ext cx="1835003" cy="1266009"/>
            </a:xfrm>
            <a:custGeom>
              <a:avLst/>
              <a:gdLst/>
              <a:ahLst/>
              <a:cxnLst>
                <a:cxn ang="0">
                  <a:pos x="88" y="148"/>
                </a:cxn>
                <a:cxn ang="0">
                  <a:pos x="436" y="0"/>
                </a:cxn>
                <a:cxn ang="0">
                  <a:pos x="549" y="119"/>
                </a:cxn>
                <a:cxn ang="0">
                  <a:pos x="426" y="241"/>
                </a:cxn>
                <a:cxn ang="0">
                  <a:pos x="258" y="318"/>
                </a:cxn>
                <a:cxn ang="0">
                  <a:pos x="212" y="379"/>
                </a:cxn>
                <a:cxn ang="0">
                  <a:pos x="178" y="221"/>
                </a:cxn>
                <a:cxn ang="0">
                  <a:pos x="0" y="264"/>
                </a:cxn>
                <a:cxn ang="0">
                  <a:pos x="88" y="148"/>
                </a:cxn>
              </a:cxnLst>
              <a:rect l="0" t="0" r="r" b="b"/>
              <a:pathLst>
                <a:path w="549" h="379">
                  <a:moveTo>
                    <a:pt x="88" y="148"/>
                  </a:moveTo>
                  <a:cubicBezTo>
                    <a:pt x="185" y="52"/>
                    <a:pt x="301" y="2"/>
                    <a:pt x="436" y="0"/>
                  </a:cubicBezTo>
                  <a:cubicBezTo>
                    <a:pt x="549" y="119"/>
                    <a:pt x="549" y="119"/>
                    <a:pt x="549" y="119"/>
                  </a:cubicBezTo>
                  <a:cubicBezTo>
                    <a:pt x="426" y="241"/>
                    <a:pt x="426" y="241"/>
                    <a:pt x="426" y="241"/>
                  </a:cubicBezTo>
                  <a:cubicBezTo>
                    <a:pt x="361" y="245"/>
                    <a:pt x="305" y="271"/>
                    <a:pt x="258" y="318"/>
                  </a:cubicBezTo>
                  <a:cubicBezTo>
                    <a:pt x="239" y="337"/>
                    <a:pt x="224" y="357"/>
                    <a:pt x="212" y="379"/>
                  </a:cubicBezTo>
                  <a:cubicBezTo>
                    <a:pt x="178" y="221"/>
                    <a:pt x="178" y="221"/>
                    <a:pt x="178" y="221"/>
                  </a:cubicBezTo>
                  <a:cubicBezTo>
                    <a:pt x="0" y="264"/>
                    <a:pt x="0" y="264"/>
                    <a:pt x="0" y="264"/>
                  </a:cubicBezTo>
                  <a:cubicBezTo>
                    <a:pt x="23" y="223"/>
                    <a:pt x="52" y="184"/>
                    <a:pt x="88" y="148"/>
                  </a:cubicBezTo>
                  <a:close/>
                </a:path>
              </a:pathLst>
            </a:custGeom>
            <a:grpFill/>
            <a:ln w="25400">
              <a:noFill/>
              <a:miter lim="800000"/>
            </a:ln>
            <a:effectLst/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endParaRPr>
            </a:p>
          </p:txBody>
        </p:sp>
        <p:sp>
          <p:nvSpPr>
            <p:cNvPr id="35" name="Freeform 9"/>
            <p:cNvSpPr/>
            <p:nvPr/>
          </p:nvSpPr>
          <p:spPr bwMode="auto">
            <a:xfrm>
              <a:off x="4669414" y="4255437"/>
              <a:ext cx="1444610" cy="1303941"/>
            </a:xfrm>
            <a:custGeom>
              <a:avLst/>
              <a:gdLst/>
              <a:ahLst/>
              <a:cxnLst>
                <a:cxn ang="0">
                  <a:pos x="431" y="150"/>
                </a:cxn>
                <a:cxn ang="0">
                  <a:pos x="432" y="150"/>
                </a:cxn>
                <a:cxn ang="0">
                  <a:pos x="298" y="266"/>
                </a:cxn>
                <a:cxn ang="0">
                  <a:pos x="402" y="390"/>
                </a:cxn>
                <a:cxn ang="0">
                  <a:pos x="73" y="242"/>
                </a:cxn>
                <a:cxn ang="0">
                  <a:pos x="0" y="152"/>
                </a:cxn>
                <a:cxn ang="0">
                  <a:pos x="47" y="0"/>
                </a:cxn>
                <a:cxn ang="0">
                  <a:pos x="212" y="36"/>
                </a:cxn>
                <a:cxn ang="0">
                  <a:pos x="243" y="72"/>
                </a:cxn>
                <a:cxn ang="0">
                  <a:pos x="431" y="150"/>
                </a:cxn>
              </a:cxnLst>
              <a:rect l="0" t="0" r="r" b="b"/>
              <a:pathLst>
                <a:path w="432" h="390">
                  <a:moveTo>
                    <a:pt x="431" y="150"/>
                  </a:moveTo>
                  <a:cubicBezTo>
                    <a:pt x="432" y="150"/>
                    <a:pt x="432" y="150"/>
                    <a:pt x="432" y="150"/>
                  </a:cubicBezTo>
                  <a:cubicBezTo>
                    <a:pt x="298" y="266"/>
                    <a:pt x="298" y="266"/>
                    <a:pt x="298" y="266"/>
                  </a:cubicBezTo>
                  <a:cubicBezTo>
                    <a:pt x="402" y="390"/>
                    <a:pt x="402" y="390"/>
                    <a:pt x="402" y="390"/>
                  </a:cubicBezTo>
                  <a:cubicBezTo>
                    <a:pt x="275" y="384"/>
                    <a:pt x="165" y="334"/>
                    <a:pt x="73" y="242"/>
                  </a:cubicBezTo>
                  <a:cubicBezTo>
                    <a:pt x="45" y="214"/>
                    <a:pt x="20" y="184"/>
                    <a:pt x="0" y="152"/>
                  </a:cubicBezTo>
                  <a:cubicBezTo>
                    <a:pt x="47" y="0"/>
                    <a:pt x="47" y="0"/>
                    <a:pt x="47" y="0"/>
                  </a:cubicBezTo>
                  <a:cubicBezTo>
                    <a:pt x="212" y="36"/>
                    <a:pt x="212" y="36"/>
                    <a:pt x="212" y="36"/>
                  </a:cubicBezTo>
                  <a:cubicBezTo>
                    <a:pt x="221" y="48"/>
                    <a:pt x="232" y="61"/>
                    <a:pt x="243" y="72"/>
                  </a:cubicBezTo>
                  <a:cubicBezTo>
                    <a:pt x="295" y="124"/>
                    <a:pt x="358" y="150"/>
                    <a:pt x="431" y="150"/>
                  </a:cubicBezTo>
                  <a:close/>
                </a:path>
              </a:pathLst>
            </a:custGeom>
            <a:grpFill/>
            <a:ln w="25400">
              <a:noFill/>
              <a:miter lim="800000"/>
            </a:ln>
            <a:effectLst/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endParaRPr>
            </a:p>
          </p:txBody>
        </p:sp>
        <p:sp>
          <p:nvSpPr>
            <p:cNvPr id="36" name="Freeform 10"/>
            <p:cNvSpPr/>
            <p:nvPr/>
          </p:nvSpPr>
          <p:spPr bwMode="auto">
            <a:xfrm>
              <a:off x="4366107" y="2843128"/>
              <a:ext cx="932517" cy="1767038"/>
            </a:xfrm>
            <a:custGeom>
              <a:avLst/>
              <a:gdLst/>
              <a:ahLst/>
              <a:cxnLst>
                <a:cxn ang="0">
                  <a:pos x="53" y="43"/>
                </a:cxn>
                <a:cxn ang="0">
                  <a:pos x="229" y="0"/>
                </a:cxn>
                <a:cxn ang="0">
                  <a:pos x="264" y="162"/>
                </a:cxn>
                <a:cxn ang="0">
                  <a:pos x="240" y="273"/>
                </a:cxn>
                <a:cxn ang="0">
                  <a:pos x="279" y="413"/>
                </a:cxn>
                <a:cxn ang="0">
                  <a:pos x="115" y="374"/>
                </a:cxn>
                <a:cxn ang="0">
                  <a:pos x="115" y="374"/>
                </a:cxn>
                <a:cxn ang="0">
                  <a:pos x="68" y="529"/>
                </a:cxn>
                <a:cxn ang="0">
                  <a:pos x="0" y="273"/>
                </a:cxn>
                <a:cxn ang="0">
                  <a:pos x="53" y="43"/>
                </a:cxn>
              </a:cxnLst>
              <a:rect l="0" t="0" r="r" b="b"/>
              <a:pathLst>
                <a:path w="279" h="529">
                  <a:moveTo>
                    <a:pt x="53" y="43"/>
                  </a:moveTo>
                  <a:cubicBezTo>
                    <a:pt x="229" y="0"/>
                    <a:pt x="229" y="0"/>
                    <a:pt x="229" y="0"/>
                  </a:cubicBezTo>
                  <a:cubicBezTo>
                    <a:pt x="264" y="162"/>
                    <a:pt x="264" y="162"/>
                    <a:pt x="264" y="162"/>
                  </a:cubicBezTo>
                  <a:cubicBezTo>
                    <a:pt x="248" y="196"/>
                    <a:pt x="240" y="233"/>
                    <a:pt x="240" y="273"/>
                  </a:cubicBezTo>
                  <a:cubicBezTo>
                    <a:pt x="240" y="325"/>
                    <a:pt x="253" y="372"/>
                    <a:pt x="279" y="413"/>
                  </a:cubicBezTo>
                  <a:cubicBezTo>
                    <a:pt x="115" y="374"/>
                    <a:pt x="115" y="374"/>
                    <a:pt x="115" y="374"/>
                  </a:cubicBezTo>
                  <a:cubicBezTo>
                    <a:pt x="115" y="374"/>
                    <a:pt x="115" y="374"/>
                    <a:pt x="115" y="374"/>
                  </a:cubicBezTo>
                  <a:cubicBezTo>
                    <a:pt x="68" y="529"/>
                    <a:pt x="68" y="529"/>
                    <a:pt x="68" y="529"/>
                  </a:cubicBezTo>
                  <a:cubicBezTo>
                    <a:pt x="22" y="453"/>
                    <a:pt x="0" y="368"/>
                    <a:pt x="0" y="273"/>
                  </a:cubicBezTo>
                  <a:cubicBezTo>
                    <a:pt x="0" y="189"/>
                    <a:pt x="18" y="112"/>
                    <a:pt x="53" y="43"/>
                  </a:cubicBezTo>
                  <a:close/>
                </a:path>
              </a:pathLst>
            </a:custGeom>
            <a:grpFill/>
            <a:ln w="25400">
              <a:noFill/>
              <a:miter lim="800000"/>
            </a:ln>
            <a:effectLst/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endParaRPr>
            </a:p>
          </p:txBody>
        </p:sp>
      </p:grpSp>
      <p:sp>
        <p:nvSpPr>
          <p:cNvPr id="2" name="Title 1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SpPr>
            <a:spLocks noGrp="1"/>
          </p:cNvSpPr>
          <p:nvPr>
            <p:ph type="title" idx="4294967295"/>
          </p:nvPr>
        </p:nvSpPr>
        <p:spPr>
          <a:xfrm>
            <a:off x="707136" y="685800"/>
            <a:ext cx="10401300" cy="495486"/>
          </a:xfrm>
        </p:spPr>
        <p:txBody>
          <a:bodyPr vert="horz" lIns="91440" tIns="45720" rIns="91440" bIns="45720" rtlCol="0" anchor="ctr">
            <a:noAutofit/>
          </a:bodyPr>
          <a:lstStyle/>
          <a:p>
            <a:pPr algn="ctr"/>
            <a:r>
              <a:rPr lang="en-US">
                <a:latin typeface="Arial" panose="020B0604020202020204" pitchFamily="34" charset="0"/>
                <a:ea typeface="微软雅黑" panose="020B0503020204020204" pitchFamily="34" charset="-122"/>
                <a:cs typeface="Gill Sans MT" panose="020B0502020104020203" charset="0"/>
                <a:sym typeface="Arial" panose="020B0604020202020204" pitchFamily="34" charset="0"/>
              </a:rPr>
              <a:t>CIRCLE PROCESS  INFOGRAPHIC</a:t>
            </a:r>
          </a:p>
        </p:txBody>
      </p:sp>
      <p:sp>
        <p:nvSpPr>
          <p:cNvPr id="3" name="Freeform 5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SpPr/>
          <p:nvPr/>
        </p:nvSpPr>
        <p:spPr bwMode="auto">
          <a:xfrm>
            <a:off x="6173903" y="1872844"/>
            <a:ext cx="1507832" cy="1433546"/>
          </a:xfrm>
          <a:custGeom>
            <a:avLst/>
            <a:gdLst/>
            <a:ahLst/>
            <a:cxnLst>
              <a:cxn ang="0">
                <a:pos x="451" y="262"/>
              </a:cxn>
              <a:cxn ang="0">
                <a:pos x="395" y="429"/>
              </a:cxn>
              <a:cxn ang="0">
                <a:pos x="243" y="385"/>
              </a:cxn>
              <a:cxn ang="0">
                <a:pos x="243" y="384"/>
              </a:cxn>
              <a:cxn ang="0">
                <a:pos x="194" y="318"/>
              </a:cxn>
              <a:cxn ang="0">
                <a:pos x="5" y="240"/>
              </a:cxn>
              <a:cxn ang="0">
                <a:pos x="0" y="240"/>
              </a:cxn>
              <a:cxn ang="0">
                <a:pos x="125" y="120"/>
              </a:cxn>
              <a:cxn ang="0">
                <a:pos x="13" y="0"/>
              </a:cxn>
              <a:cxn ang="0">
                <a:pos x="363" y="148"/>
              </a:cxn>
              <a:cxn ang="0">
                <a:pos x="451" y="262"/>
              </a:cxn>
            </a:cxnLst>
            <a:rect l="0" t="0" r="r" b="b"/>
            <a:pathLst>
              <a:path w="451" h="429">
                <a:moveTo>
                  <a:pt x="451" y="262"/>
                </a:moveTo>
                <a:cubicBezTo>
                  <a:pt x="395" y="429"/>
                  <a:pt x="395" y="429"/>
                  <a:pt x="395" y="429"/>
                </a:cubicBezTo>
                <a:cubicBezTo>
                  <a:pt x="243" y="385"/>
                  <a:pt x="243" y="385"/>
                  <a:pt x="243" y="385"/>
                </a:cubicBezTo>
                <a:cubicBezTo>
                  <a:pt x="243" y="385"/>
                  <a:pt x="243" y="384"/>
                  <a:pt x="243" y="384"/>
                </a:cubicBezTo>
                <a:cubicBezTo>
                  <a:pt x="230" y="360"/>
                  <a:pt x="214" y="338"/>
                  <a:pt x="194" y="318"/>
                </a:cubicBezTo>
                <a:cubicBezTo>
                  <a:pt x="142" y="266"/>
                  <a:pt x="79" y="240"/>
                  <a:pt x="5" y="240"/>
                </a:cubicBezTo>
                <a:cubicBezTo>
                  <a:pt x="4" y="240"/>
                  <a:pt x="2" y="240"/>
                  <a:pt x="0" y="240"/>
                </a:cubicBezTo>
                <a:cubicBezTo>
                  <a:pt x="125" y="120"/>
                  <a:pt x="125" y="120"/>
                  <a:pt x="125" y="120"/>
                </a:cubicBezTo>
                <a:cubicBezTo>
                  <a:pt x="13" y="0"/>
                  <a:pt x="13" y="0"/>
                  <a:pt x="13" y="0"/>
                </a:cubicBezTo>
                <a:cubicBezTo>
                  <a:pt x="149" y="2"/>
                  <a:pt x="266" y="51"/>
                  <a:pt x="363" y="148"/>
                </a:cubicBezTo>
                <a:cubicBezTo>
                  <a:pt x="399" y="183"/>
                  <a:pt x="428" y="222"/>
                  <a:pt x="451" y="262"/>
                </a:cubicBezTo>
                <a:close/>
              </a:path>
            </a:pathLst>
          </a:custGeom>
          <a:solidFill>
            <a:schemeClr val="bg1"/>
          </a:solidFill>
          <a:ln w="25400">
            <a:solidFill>
              <a:schemeClr val="accent2"/>
            </a:solidFill>
            <a:miter lim="800000"/>
          </a:ln>
          <a:effectLst/>
        </p:spPr>
        <p:txBody>
          <a:bodyPr vert="horz" wrap="square" lIns="91440" tIns="45720" rIns="91440" bIns="45720" numCol="1" anchor="t" anchorCtr="0" compatLnSpc="1"/>
          <a:lstStyle/>
          <a:p>
            <a:endParaRPr lang="en-US">
              <a:latin typeface="Arial" panose="020B0604020202020204" pitchFamily="34" charset="0"/>
              <a:ea typeface="微软雅黑" panose="020B0503020204020204" pitchFamily="34" charset="-122"/>
              <a:cs typeface="思源黑体 CN Regular" panose="020B0500000000000000" charset="-122"/>
              <a:sym typeface="Arial" panose="020B0604020202020204" pitchFamily="34" charset="0"/>
            </a:endParaRPr>
          </a:p>
        </p:txBody>
      </p:sp>
      <p:sp>
        <p:nvSpPr>
          <p:cNvPr id="4" name="Freeform 6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SpPr/>
          <p:nvPr/>
        </p:nvSpPr>
        <p:spPr bwMode="auto">
          <a:xfrm>
            <a:off x="7023488" y="2906168"/>
            <a:ext cx="915133" cy="1768623"/>
          </a:xfrm>
          <a:custGeom>
            <a:avLst/>
            <a:gdLst/>
            <a:ahLst/>
            <a:cxnLst>
              <a:cxn ang="0">
                <a:pos x="220" y="0"/>
              </a:cxn>
              <a:cxn ang="0">
                <a:pos x="274" y="231"/>
              </a:cxn>
              <a:cxn ang="0">
                <a:pos x="202" y="494"/>
              </a:cxn>
              <a:cxn ang="0">
                <a:pos x="32" y="529"/>
              </a:cxn>
              <a:cxn ang="0">
                <a:pos x="0" y="362"/>
              </a:cxn>
              <a:cxn ang="0">
                <a:pos x="34" y="231"/>
              </a:cxn>
              <a:cxn ang="0">
                <a:pos x="12" y="123"/>
              </a:cxn>
              <a:cxn ang="0">
                <a:pos x="166" y="166"/>
              </a:cxn>
              <a:cxn ang="0">
                <a:pos x="220" y="0"/>
              </a:cxn>
            </a:cxnLst>
            <a:rect l="0" t="0" r="r" b="b"/>
            <a:pathLst>
              <a:path w="274" h="529">
                <a:moveTo>
                  <a:pt x="220" y="0"/>
                </a:moveTo>
                <a:cubicBezTo>
                  <a:pt x="256" y="70"/>
                  <a:pt x="274" y="147"/>
                  <a:pt x="274" y="231"/>
                </a:cubicBezTo>
                <a:cubicBezTo>
                  <a:pt x="274" y="329"/>
                  <a:pt x="250" y="416"/>
                  <a:pt x="202" y="494"/>
                </a:cubicBezTo>
                <a:cubicBezTo>
                  <a:pt x="32" y="529"/>
                  <a:pt x="32" y="529"/>
                  <a:pt x="32" y="529"/>
                </a:cubicBezTo>
                <a:cubicBezTo>
                  <a:pt x="0" y="362"/>
                  <a:pt x="0" y="362"/>
                  <a:pt x="0" y="362"/>
                </a:cubicBezTo>
                <a:cubicBezTo>
                  <a:pt x="22" y="323"/>
                  <a:pt x="34" y="279"/>
                  <a:pt x="34" y="231"/>
                </a:cubicBezTo>
                <a:cubicBezTo>
                  <a:pt x="34" y="192"/>
                  <a:pt x="26" y="156"/>
                  <a:pt x="12" y="123"/>
                </a:cubicBezTo>
                <a:cubicBezTo>
                  <a:pt x="166" y="166"/>
                  <a:pt x="166" y="166"/>
                  <a:pt x="166" y="166"/>
                </a:cubicBezTo>
                <a:lnTo>
                  <a:pt x="220" y="0"/>
                </a:lnTo>
                <a:close/>
              </a:path>
            </a:pathLst>
          </a:custGeom>
          <a:solidFill>
            <a:schemeClr val="bg1"/>
          </a:solidFill>
          <a:ln w="25400">
            <a:solidFill>
              <a:schemeClr val="accent3"/>
            </a:solidFill>
            <a:miter lim="800000"/>
          </a:ln>
          <a:effectLst/>
        </p:spPr>
        <p:txBody>
          <a:bodyPr vert="horz" wrap="square" lIns="91440" tIns="45720" rIns="91440" bIns="45720" numCol="1" anchor="t" anchorCtr="0" compatLnSpc="1"/>
          <a:lstStyle/>
          <a:p>
            <a:endParaRPr lang="en-US">
              <a:latin typeface="Arial" panose="020B0604020202020204" pitchFamily="34" charset="0"/>
              <a:ea typeface="微软雅黑" panose="020B0503020204020204" pitchFamily="34" charset="-122"/>
              <a:cs typeface="思源黑体 CN Regular" panose="020B0500000000000000" charset="-122"/>
              <a:sym typeface="Arial" panose="020B0604020202020204" pitchFamily="34" charset="0"/>
            </a:endParaRPr>
          </a:p>
        </p:txBody>
      </p:sp>
      <p:sp>
        <p:nvSpPr>
          <p:cNvPr id="5" name="Freeform 7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SpPr/>
          <p:nvPr/>
        </p:nvSpPr>
        <p:spPr bwMode="auto">
          <a:xfrm>
            <a:off x="5772461" y="4274580"/>
            <a:ext cx="1816036" cy="1202789"/>
          </a:xfrm>
          <a:custGeom>
            <a:avLst/>
            <a:gdLst/>
            <a:ahLst/>
            <a:cxnLst>
              <a:cxn ang="0">
                <a:pos x="476" y="211"/>
              </a:cxn>
              <a:cxn ang="0">
                <a:pos x="118" y="360"/>
              </a:cxn>
              <a:cxn ang="0">
                <a:pos x="104" y="360"/>
              </a:cxn>
              <a:cxn ang="0">
                <a:pos x="0" y="235"/>
              </a:cxn>
              <a:cxn ang="0">
                <a:pos x="138" y="119"/>
              </a:cxn>
              <a:cxn ang="0">
                <a:pos x="307" y="41"/>
              </a:cxn>
              <a:cxn ang="0">
                <a:pos x="341" y="0"/>
              </a:cxn>
              <a:cxn ang="0">
                <a:pos x="375" y="164"/>
              </a:cxn>
              <a:cxn ang="0">
                <a:pos x="543" y="131"/>
              </a:cxn>
              <a:cxn ang="0">
                <a:pos x="476" y="211"/>
              </a:cxn>
            </a:cxnLst>
            <a:rect l="0" t="0" r="r" b="b"/>
            <a:pathLst>
              <a:path w="543" h="360">
                <a:moveTo>
                  <a:pt x="476" y="211"/>
                </a:moveTo>
                <a:cubicBezTo>
                  <a:pt x="378" y="310"/>
                  <a:pt x="258" y="360"/>
                  <a:pt x="118" y="360"/>
                </a:cubicBezTo>
                <a:cubicBezTo>
                  <a:pt x="113" y="360"/>
                  <a:pt x="109" y="360"/>
                  <a:pt x="104" y="360"/>
                </a:cubicBezTo>
                <a:cubicBezTo>
                  <a:pt x="0" y="235"/>
                  <a:pt x="0" y="235"/>
                  <a:pt x="0" y="235"/>
                </a:cubicBezTo>
                <a:cubicBezTo>
                  <a:pt x="138" y="119"/>
                  <a:pt x="138" y="119"/>
                  <a:pt x="138" y="119"/>
                </a:cubicBezTo>
                <a:cubicBezTo>
                  <a:pt x="203" y="115"/>
                  <a:pt x="259" y="89"/>
                  <a:pt x="307" y="41"/>
                </a:cubicBezTo>
                <a:cubicBezTo>
                  <a:pt x="320" y="28"/>
                  <a:pt x="331" y="14"/>
                  <a:pt x="341" y="0"/>
                </a:cubicBezTo>
                <a:cubicBezTo>
                  <a:pt x="375" y="164"/>
                  <a:pt x="375" y="164"/>
                  <a:pt x="375" y="164"/>
                </a:cubicBezTo>
                <a:cubicBezTo>
                  <a:pt x="543" y="131"/>
                  <a:pt x="543" y="131"/>
                  <a:pt x="543" y="131"/>
                </a:cubicBezTo>
                <a:cubicBezTo>
                  <a:pt x="524" y="159"/>
                  <a:pt x="502" y="186"/>
                  <a:pt x="476" y="211"/>
                </a:cubicBezTo>
                <a:close/>
              </a:path>
            </a:pathLst>
          </a:custGeom>
          <a:solidFill>
            <a:schemeClr val="bg1"/>
          </a:solidFill>
          <a:ln w="25400">
            <a:solidFill>
              <a:schemeClr val="accent4"/>
            </a:solidFill>
            <a:miter lim="800000"/>
          </a:ln>
          <a:effectLst/>
        </p:spPr>
        <p:txBody>
          <a:bodyPr vert="horz" wrap="square" lIns="91440" tIns="45720" rIns="91440" bIns="45720" numCol="1" anchor="t" anchorCtr="0" compatLnSpc="1"/>
          <a:lstStyle/>
          <a:p>
            <a:endParaRPr lang="en-US">
              <a:latin typeface="Arial" panose="020B0604020202020204" pitchFamily="34" charset="0"/>
              <a:ea typeface="微软雅黑" panose="020B0503020204020204" pitchFamily="34" charset="-122"/>
              <a:cs typeface="思源黑体 CN Regular" panose="020B0500000000000000" charset="-122"/>
              <a:sym typeface="Arial" panose="020B0604020202020204" pitchFamily="34" charset="0"/>
            </a:endParaRPr>
          </a:p>
        </p:txBody>
      </p:sp>
      <p:sp>
        <p:nvSpPr>
          <p:cNvPr id="6" name="Freeform 8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SpPr/>
          <p:nvPr/>
        </p:nvSpPr>
        <p:spPr bwMode="auto">
          <a:xfrm>
            <a:off x="4562116" y="1863969"/>
            <a:ext cx="1835003" cy="1266009"/>
          </a:xfrm>
          <a:custGeom>
            <a:avLst/>
            <a:gdLst/>
            <a:ahLst/>
            <a:cxnLst>
              <a:cxn ang="0">
                <a:pos x="88" y="148"/>
              </a:cxn>
              <a:cxn ang="0">
                <a:pos x="436" y="0"/>
              </a:cxn>
              <a:cxn ang="0">
                <a:pos x="549" y="119"/>
              </a:cxn>
              <a:cxn ang="0">
                <a:pos x="426" y="241"/>
              </a:cxn>
              <a:cxn ang="0">
                <a:pos x="258" y="318"/>
              </a:cxn>
              <a:cxn ang="0">
                <a:pos x="212" y="379"/>
              </a:cxn>
              <a:cxn ang="0">
                <a:pos x="178" y="221"/>
              </a:cxn>
              <a:cxn ang="0">
                <a:pos x="0" y="264"/>
              </a:cxn>
              <a:cxn ang="0">
                <a:pos x="88" y="148"/>
              </a:cxn>
            </a:cxnLst>
            <a:rect l="0" t="0" r="r" b="b"/>
            <a:pathLst>
              <a:path w="549" h="379">
                <a:moveTo>
                  <a:pt x="88" y="148"/>
                </a:moveTo>
                <a:cubicBezTo>
                  <a:pt x="185" y="52"/>
                  <a:pt x="301" y="2"/>
                  <a:pt x="436" y="0"/>
                </a:cubicBezTo>
                <a:cubicBezTo>
                  <a:pt x="549" y="119"/>
                  <a:pt x="549" y="119"/>
                  <a:pt x="549" y="119"/>
                </a:cubicBezTo>
                <a:cubicBezTo>
                  <a:pt x="426" y="241"/>
                  <a:pt x="426" y="241"/>
                  <a:pt x="426" y="241"/>
                </a:cubicBezTo>
                <a:cubicBezTo>
                  <a:pt x="361" y="245"/>
                  <a:pt x="305" y="271"/>
                  <a:pt x="258" y="318"/>
                </a:cubicBezTo>
                <a:cubicBezTo>
                  <a:pt x="239" y="337"/>
                  <a:pt x="224" y="357"/>
                  <a:pt x="212" y="379"/>
                </a:cubicBezTo>
                <a:cubicBezTo>
                  <a:pt x="178" y="221"/>
                  <a:pt x="178" y="221"/>
                  <a:pt x="178" y="221"/>
                </a:cubicBezTo>
                <a:cubicBezTo>
                  <a:pt x="0" y="264"/>
                  <a:pt x="0" y="264"/>
                  <a:pt x="0" y="264"/>
                </a:cubicBezTo>
                <a:cubicBezTo>
                  <a:pt x="23" y="223"/>
                  <a:pt x="52" y="184"/>
                  <a:pt x="88" y="148"/>
                </a:cubicBezTo>
                <a:close/>
              </a:path>
            </a:pathLst>
          </a:custGeom>
          <a:solidFill>
            <a:schemeClr val="bg1"/>
          </a:solidFill>
          <a:ln w="25400">
            <a:solidFill>
              <a:schemeClr val="accent1"/>
            </a:solidFill>
            <a:miter lim="800000"/>
          </a:ln>
          <a:effectLst/>
        </p:spPr>
        <p:txBody>
          <a:bodyPr vert="horz" wrap="square" lIns="91440" tIns="45720" rIns="91440" bIns="45720" numCol="1" anchor="t" anchorCtr="0" compatLnSpc="1"/>
          <a:lstStyle/>
          <a:p>
            <a:endParaRPr lang="en-US">
              <a:latin typeface="Arial" panose="020B0604020202020204" pitchFamily="34" charset="0"/>
              <a:ea typeface="微软雅黑" panose="020B0503020204020204" pitchFamily="34" charset="-122"/>
              <a:cs typeface="思源黑体 CN Regular" panose="020B0500000000000000" charset="-122"/>
              <a:sym typeface="Arial" panose="020B0604020202020204" pitchFamily="34" charset="0"/>
            </a:endParaRPr>
          </a:p>
        </p:txBody>
      </p:sp>
      <p:sp>
        <p:nvSpPr>
          <p:cNvPr id="7" name="Freeform 9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SpPr/>
          <p:nvPr/>
        </p:nvSpPr>
        <p:spPr bwMode="auto">
          <a:xfrm>
            <a:off x="4595624" y="4164573"/>
            <a:ext cx="1444610" cy="1303941"/>
          </a:xfrm>
          <a:custGeom>
            <a:avLst/>
            <a:gdLst/>
            <a:ahLst/>
            <a:cxnLst>
              <a:cxn ang="0">
                <a:pos x="431" y="150"/>
              </a:cxn>
              <a:cxn ang="0">
                <a:pos x="432" y="150"/>
              </a:cxn>
              <a:cxn ang="0">
                <a:pos x="298" y="266"/>
              </a:cxn>
              <a:cxn ang="0">
                <a:pos x="402" y="390"/>
              </a:cxn>
              <a:cxn ang="0">
                <a:pos x="73" y="242"/>
              </a:cxn>
              <a:cxn ang="0">
                <a:pos x="0" y="152"/>
              </a:cxn>
              <a:cxn ang="0">
                <a:pos x="47" y="0"/>
              </a:cxn>
              <a:cxn ang="0">
                <a:pos x="212" y="36"/>
              </a:cxn>
              <a:cxn ang="0">
                <a:pos x="243" y="72"/>
              </a:cxn>
              <a:cxn ang="0">
                <a:pos x="431" y="150"/>
              </a:cxn>
            </a:cxnLst>
            <a:rect l="0" t="0" r="r" b="b"/>
            <a:pathLst>
              <a:path w="432" h="390">
                <a:moveTo>
                  <a:pt x="431" y="150"/>
                </a:moveTo>
                <a:cubicBezTo>
                  <a:pt x="432" y="150"/>
                  <a:pt x="432" y="150"/>
                  <a:pt x="432" y="150"/>
                </a:cubicBezTo>
                <a:cubicBezTo>
                  <a:pt x="298" y="266"/>
                  <a:pt x="298" y="266"/>
                  <a:pt x="298" y="266"/>
                </a:cubicBezTo>
                <a:cubicBezTo>
                  <a:pt x="402" y="390"/>
                  <a:pt x="402" y="390"/>
                  <a:pt x="402" y="390"/>
                </a:cubicBezTo>
                <a:cubicBezTo>
                  <a:pt x="275" y="384"/>
                  <a:pt x="165" y="334"/>
                  <a:pt x="73" y="242"/>
                </a:cubicBezTo>
                <a:cubicBezTo>
                  <a:pt x="45" y="214"/>
                  <a:pt x="20" y="184"/>
                  <a:pt x="0" y="152"/>
                </a:cubicBezTo>
                <a:cubicBezTo>
                  <a:pt x="47" y="0"/>
                  <a:pt x="47" y="0"/>
                  <a:pt x="47" y="0"/>
                </a:cubicBezTo>
                <a:cubicBezTo>
                  <a:pt x="212" y="36"/>
                  <a:pt x="212" y="36"/>
                  <a:pt x="212" y="36"/>
                </a:cubicBezTo>
                <a:cubicBezTo>
                  <a:pt x="221" y="48"/>
                  <a:pt x="232" y="61"/>
                  <a:pt x="243" y="72"/>
                </a:cubicBezTo>
                <a:cubicBezTo>
                  <a:pt x="295" y="124"/>
                  <a:pt x="358" y="150"/>
                  <a:pt x="431" y="150"/>
                </a:cubicBezTo>
                <a:close/>
              </a:path>
            </a:pathLst>
          </a:custGeom>
          <a:solidFill>
            <a:schemeClr val="bg1"/>
          </a:solidFill>
          <a:ln w="25400">
            <a:solidFill>
              <a:schemeClr val="accent5"/>
            </a:solidFill>
            <a:miter lim="800000"/>
          </a:ln>
          <a:effectLst/>
        </p:spPr>
        <p:txBody>
          <a:bodyPr vert="horz" wrap="square" lIns="91440" tIns="45720" rIns="91440" bIns="45720" numCol="1" anchor="t" anchorCtr="0" compatLnSpc="1"/>
          <a:lstStyle/>
          <a:p>
            <a:endParaRPr lang="en-US">
              <a:latin typeface="Arial" panose="020B0604020202020204" pitchFamily="34" charset="0"/>
              <a:ea typeface="微软雅黑" panose="020B0503020204020204" pitchFamily="34" charset="-122"/>
              <a:cs typeface="思源黑体 CN Regular" panose="020B0500000000000000" charset="-122"/>
              <a:sym typeface="Arial" panose="020B0604020202020204" pitchFamily="34" charset="0"/>
            </a:endParaRPr>
          </a:p>
        </p:txBody>
      </p:sp>
      <p:sp>
        <p:nvSpPr>
          <p:cNvPr id="8" name="Freeform 10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SpPr/>
          <p:nvPr/>
        </p:nvSpPr>
        <p:spPr bwMode="auto">
          <a:xfrm>
            <a:off x="4292317" y="2752264"/>
            <a:ext cx="932517" cy="1767038"/>
          </a:xfrm>
          <a:custGeom>
            <a:avLst/>
            <a:gdLst/>
            <a:ahLst/>
            <a:cxnLst>
              <a:cxn ang="0">
                <a:pos x="53" y="43"/>
              </a:cxn>
              <a:cxn ang="0">
                <a:pos x="229" y="0"/>
              </a:cxn>
              <a:cxn ang="0">
                <a:pos x="264" y="162"/>
              </a:cxn>
              <a:cxn ang="0">
                <a:pos x="240" y="273"/>
              </a:cxn>
              <a:cxn ang="0">
                <a:pos x="279" y="413"/>
              </a:cxn>
              <a:cxn ang="0">
                <a:pos x="115" y="374"/>
              </a:cxn>
              <a:cxn ang="0">
                <a:pos x="115" y="374"/>
              </a:cxn>
              <a:cxn ang="0">
                <a:pos x="68" y="529"/>
              </a:cxn>
              <a:cxn ang="0">
                <a:pos x="0" y="273"/>
              </a:cxn>
              <a:cxn ang="0">
                <a:pos x="53" y="43"/>
              </a:cxn>
            </a:cxnLst>
            <a:rect l="0" t="0" r="r" b="b"/>
            <a:pathLst>
              <a:path w="279" h="529">
                <a:moveTo>
                  <a:pt x="53" y="43"/>
                </a:moveTo>
                <a:cubicBezTo>
                  <a:pt x="229" y="0"/>
                  <a:pt x="229" y="0"/>
                  <a:pt x="229" y="0"/>
                </a:cubicBezTo>
                <a:cubicBezTo>
                  <a:pt x="264" y="162"/>
                  <a:pt x="264" y="162"/>
                  <a:pt x="264" y="162"/>
                </a:cubicBezTo>
                <a:cubicBezTo>
                  <a:pt x="248" y="196"/>
                  <a:pt x="240" y="233"/>
                  <a:pt x="240" y="273"/>
                </a:cubicBezTo>
                <a:cubicBezTo>
                  <a:pt x="240" y="325"/>
                  <a:pt x="253" y="372"/>
                  <a:pt x="279" y="413"/>
                </a:cubicBezTo>
                <a:cubicBezTo>
                  <a:pt x="115" y="374"/>
                  <a:pt x="115" y="374"/>
                  <a:pt x="115" y="374"/>
                </a:cubicBezTo>
                <a:cubicBezTo>
                  <a:pt x="115" y="374"/>
                  <a:pt x="115" y="374"/>
                  <a:pt x="115" y="374"/>
                </a:cubicBezTo>
                <a:cubicBezTo>
                  <a:pt x="68" y="529"/>
                  <a:pt x="68" y="529"/>
                  <a:pt x="68" y="529"/>
                </a:cubicBezTo>
                <a:cubicBezTo>
                  <a:pt x="22" y="453"/>
                  <a:pt x="0" y="368"/>
                  <a:pt x="0" y="273"/>
                </a:cubicBezTo>
                <a:cubicBezTo>
                  <a:pt x="0" y="189"/>
                  <a:pt x="18" y="112"/>
                  <a:pt x="53" y="43"/>
                </a:cubicBezTo>
                <a:close/>
              </a:path>
            </a:pathLst>
          </a:custGeom>
          <a:solidFill>
            <a:schemeClr val="bg1"/>
          </a:solidFill>
          <a:ln w="25400">
            <a:solidFill>
              <a:schemeClr val="accent6"/>
            </a:solidFill>
            <a:miter lim="800000"/>
          </a:ln>
          <a:effectLst/>
        </p:spPr>
        <p:txBody>
          <a:bodyPr vert="horz" wrap="square" lIns="91440" tIns="45720" rIns="91440" bIns="45720" numCol="1" anchor="t" anchorCtr="0" compatLnSpc="1"/>
          <a:lstStyle/>
          <a:p>
            <a:endParaRPr lang="en-US">
              <a:latin typeface="Arial" panose="020B0604020202020204" pitchFamily="34" charset="0"/>
              <a:ea typeface="微软雅黑" panose="020B0503020204020204" pitchFamily="34" charset="-122"/>
              <a:cs typeface="思源黑体 CN Regular" panose="020B0500000000000000" charset="-122"/>
              <a:sym typeface="Arial" panose="020B0604020202020204" pitchFamily="34" charset="0"/>
            </a:endParaRPr>
          </a:p>
        </p:txBody>
      </p:sp>
      <p:sp>
        <p:nvSpPr>
          <p:cNvPr id="10" name="TextBox 9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SpPr txBox="1"/>
          <p:nvPr/>
        </p:nvSpPr>
        <p:spPr>
          <a:xfrm>
            <a:off x="7934294" y="1661762"/>
            <a:ext cx="2892201" cy="493148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>
              <a:lnSpc>
                <a:spcPct val="120000"/>
              </a:lnSpc>
              <a:spcBef>
                <a:spcPts val="600"/>
              </a:spcBef>
            </a:pPr>
            <a:r>
              <a:rPr lang="en-US" sz="1200" b="1" dirty="0"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rPr>
              <a:t>Write title here</a:t>
            </a:r>
          </a:p>
          <a:p>
            <a:pPr>
              <a:lnSpc>
                <a:spcPct val="130000"/>
              </a:lnSpc>
            </a:pPr>
            <a:r>
              <a:rPr lang="en-US" altLang="zh-CN" sz="1000" dirty="0">
                <a:solidFill>
                  <a:schemeClr val="accent6">
                    <a:lumMod val="50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rPr>
              <a:t>Click here to add content, content to match the title. </a:t>
            </a:r>
          </a:p>
        </p:txBody>
      </p:sp>
      <p:sp>
        <p:nvSpPr>
          <p:cNvPr id="11" name="Oval 10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SpPr/>
          <p:nvPr/>
        </p:nvSpPr>
        <p:spPr>
          <a:xfrm>
            <a:off x="7108424" y="2064438"/>
            <a:ext cx="302671" cy="302671"/>
          </a:xfrm>
          <a:prstGeom prst="ellipse">
            <a:avLst/>
          </a:prstGeom>
          <a:solidFill>
            <a:schemeClr val="accent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80000"/>
              </a:lnSpc>
            </a:pPr>
            <a:r>
              <a:rPr lang="en-US" sz="1000">
                <a:solidFill>
                  <a:srgbClr val="FFFFFF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rPr>
              <a:t>02</a:t>
            </a:r>
          </a:p>
        </p:txBody>
      </p:sp>
      <p:sp>
        <p:nvSpPr>
          <p:cNvPr id="12" name="TextBox 11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SpPr txBox="1"/>
          <p:nvPr/>
        </p:nvSpPr>
        <p:spPr>
          <a:xfrm>
            <a:off x="8298068" y="3501240"/>
            <a:ext cx="2747884" cy="1004827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>
              <a:lnSpc>
                <a:spcPct val="120000"/>
              </a:lnSpc>
              <a:spcBef>
                <a:spcPts val="600"/>
              </a:spcBef>
            </a:pPr>
            <a:r>
              <a:rPr lang="en-US" sz="1200" b="1" dirty="0"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rPr>
              <a:t>Write title here</a:t>
            </a:r>
          </a:p>
          <a:p>
            <a:pPr>
              <a:lnSpc>
                <a:spcPct val="120000"/>
              </a:lnSpc>
              <a:spcBef>
                <a:spcPts val="600"/>
              </a:spcBef>
            </a:pPr>
            <a:r>
              <a:rPr lang="en-US" altLang="zh-CN" sz="1000" dirty="0">
                <a:solidFill>
                  <a:schemeClr val="accent6">
                    <a:lumMod val="50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rPr>
              <a:t>Click here to add content, content to match the title. </a:t>
            </a:r>
          </a:p>
          <a:p>
            <a:pPr>
              <a:lnSpc>
                <a:spcPct val="120000"/>
              </a:lnSpc>
              <a:spcBef>
                <a:spcPts val="600"/>
              </a:spcBef>
            </a:pPr>
            <a:r>
              <a:rPr lang="en-US" sz="1000" dirty="0"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rPr>
              <a:t>.</a:t>
            </a:r>
          </a:p>
        </p:txBody>
      </p:sp>
      <p:sp>
        <p:nvSpPr>
          <p:cNvPr id="13" name="Oval 12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SpPr/>
          <p:nvPr/>
        </p:nvSpPr>
        <p:spPr>
          <a:xfrm>
            <a:off x="7775121" y="3730009"/>
            <a:ext cx="302671" cy="302671"/>
          </a:xfrm>
          <a:prstGeom prst="ellipse">
            <a:avLst/>
          </a:prstGeom>
          <a:solidFill>
            <a:schemeClr val="accent3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80000"/>
              </a:lnSpc>
            </a:pPr>
            <a:r>
              <a:rPr lang="en-US" sz="1000">
                <a:solidFill>
                  <a:srgbClr val="FFFFFF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rPr>
              <a:t>03</a:t>
            </a:r>
          </a:p>
        </p:txBody>
      </p:sp>
      <p:sp>
        <p:nvSpPr>
          <p:cNvPr id="15" name="TextBox 14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SpPr txBox="1"/>
          <p:nvPr/>
        </p:nvSpPr>
        <p:spPr>
          <a:xfrm>
            <a:off x="7479214" y="5258104"/>
            <a:ext cx="3141541" cy="493148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>
              <a:lnSpc>
                <a:spcPct val="120000"/>
              </a:lnSpc>
              <a:spcBef>
                <a:spcPts val="600"/>
              </a:spcBef>
            </a:pPr>
            <a:r>
              <a:rPr lang="en-US" sz="1200" b="1" dirty="0"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rPr>
              <a:t>Write title here</a:t>
            </a:r>
          </a:p>
          <a:p>
            <a:pPr>
              <a:lnSpc>
                <a:spcPct val="130000"/>
              </a:lnSpc>
            </a:pPr>
            <a:r>
              <a:rPr lang="en-US" altLang="zh-CN" sz="1000" dirty="0">
                <a:solidFill>
                  <a:schemeClr val="accent6">
                    <a:lumMod val="50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rPr>
              <a:t>Click here to add content, content to match the title. </a:t>
            </a:r>
          </a:p>
        </p:txBody>
      </p:sp>
      <p:sp>
        <p:nvSpPr>
          <p:cNvPr id="16" name="Oval 15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SpPr/>
          <p:nvPr/>
        </p:nvSpPr>
        <p:spPr>
          <a:xfrm>
            <a:off x="6736812" y="5156781"/>
            <a:ext cx="302671" cy="302671"/>
          </a:xfrm>
          <a:prstGeom prst="ellipse">
            <a:avLst/>
          </a:prstGeom>
          <a:solidFill>
            <a:schemeClr val="accent4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80000"/>
              </a:lnSpc>
            </a:pPr>
            <a:r>
              <a:rPr lang="en-US" sz="1000">
                <a:solidFill>
                  <a:srgbClr val="FFFFFF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rPr>
              <a:t>04</a:t>
            </a:r>
          </a:p>
        </p:txBody>
      </p:sp>
      <p:sp>
        <p:nvSpPr>
          <p:cNvPr id="18" name="TextBox 17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SpPr txBox="1"/>
          <p:nvPr/>
        </p:nvSpPr>
        <p:spPr>
          <a:xfrm>
            <a:off x="1645920" y="5204334"/>
            <a:ext cx="3010746" cy="820161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r">
              <a:lnSpc>
                <a:spcPct val="120000"/>
              </a:lnSpc>
              <a:spcBef>
                <a:spcPts val="600"/>
              </a:spcBef>
            </a:pPr>
            <a:r>
              <a:rPr lang="en-US" sz="1200" b="1" dirty="0"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rPr>
              <a:t>Write title here</a:t>
            </a:r>
          </a:p>
          <a:p>
            <a:pPr algn="r">
              <a:lnSpc>
                <a:spcPct val="120000"/>
              </a:lnSpc>
              <a:spcBef>
                <a:spcPts val="600"/>
              </a:spcBef>
            </a:pPr>
            <a:r>
              <a:rPr lang="en-US" altLang="zh-CN" sz="1000" dirty="0">
                <a:solidFill>
                  <a:schemeClr val="accent6">
                    <a:lumMod val="50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rPr>
              <a:t>Click here to add content, content to match the title. </a:t>
            </a:r>
          </a:p>
          <a:p>
            <a:pPr algn="r">
              <a:lnSpc>
                <a:spcPct val="120000"/>
              </a:lnSpc>
              <a:spcBef>
                <a:spcPts val="600"/>
              </a:spcBef>
            </a:pPr>
            <a:r>
              <a:rPr lang="en-US" sz="1000" dirty="0"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rPr>
              <a:t>.</a:t>
            </a:r>
          </a:p>
        </p:txBody>
      </p:sp>
      <p:sp>
        <p:nvSpPr>
          <p:cNvPr id="19" name="Oval 18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SpPr/>
          <p:nvPr/>
        </p:nvSpPr>
        <p:spPr>
          <a:xfrm>
            <a:off x="5130751" y="5156781"/>
            <a:ext cx="302671" cy="302671"/>
          </a:xfrm>
          <a:prstGeom prst="ellipse">
            <a:avLst/>
          </a:prstGeom>
          <a:solidFill>
            <a:schemeClr val="accent5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80000"/>
              </a:lnSpc>
            </a:pPr>
            <a:r>
              <a:rPr lang="en-US" sz="1000">
                <a:solidFill>
                  <a:srgbClr val="FFFFFF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rPr>
              <a:t>05</a:t>
            </a:r>
          </a:p>
        </p:txBody>
      </p:sp>
      <p:sp>
        <p:nvSpPr>
          <p:cNvPr id="20" name="Oval 19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SpPr/>
          <p:nvPr/>
        </p:nvSpPr>
        <p:spPr>
          <a:xfrm>
            <a:off x="4140967" y="3730009"/>
            <a:ext cx="302671" cy="302671"/>
          </a:xfrm>
          <a:prstGeom prst="ellipse">
            <a:avLst/>
          </a:prstGeom>
          <a:solidFill>
            <a:schemeClr val="accent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80000"/>
              </a:lnSpc>
            </a:pPr>
            <a:r>
              <a:rPr lang="en-US" sz="1000">
                <a:solidFill>
                  <a:srgbClr val="FFFFFF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rPr>
              <a:t>06</a:t>
            </a:r>
          </a:p>
        </p:txBody>
      </p:sp>
      <p:sp>
        <p:nvSpPr>
          <p:cNvPr id="21" name="TextBox 20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SpPr txBox="1"/>
          <p:nvPr/>
        </p:nvSpPr>
        <p:spPr>
          <a:xfrm>
            <a:off x="1097280" y="3501240"/>
            <a:ext cx="2902536" cy="493148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r">
              <a:lnSpc>
                <a:spcPct val="120000"/>
              </a:lnSpc>
              <a:spcBef>
                <a:spcPts val="600"/>
              </a:spcBef>
            </a:pPr>
            <a:r>
              <a:rPr lang="en-US" sz="1200" b="1" dirty="0"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rPr>
              <a:t>Write title here</a:t>
            </a:r>
          </a:p>
          <a:p>
            <a:pPr algn="r">
              <a:lnSpc>
                <a:spcPct val="130000"/>
              </a:lnSpc>
            </a:pPr>
            <a:r>
              <a:rPr lang="en-US" altLang="zh-CN" sz="1000" dirty="0">
                <a:solidFill>
                  <a:schemeClr val="accent6">
                    <a:lumMod val="50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rPr>
              <a:t>Click here to add content, content to match the title. </a:t>
            </a:r>
          </a:p>
        </p:txBody>
      </p:sp>
      <p:sp>
        <p:nvSpPr>
          <p:cNvPr id="22" name="Oval 21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SpPr/>
          <p:nvPr/>
        </p:nvSpPr>
        <p:spPr>
          <a:xfrm>
            <a:off x="4847345" y="2064438"/>
            <a:ext cx="302671" cy="302671"/>
          </a:xfrm>
          <a:prstGeom prst="ellipse">
            <a:avLst/>
          </a:prstGeom>
          <a:solidFill>
            <a:schemeClr val="accent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80000"/>
              </a:lnSpc>
            </a:pPr>
            <a:r>
              <a:rPr lang="en-US" sz="1000">
                <a:solidFill>
                  <a:srgbClr val="FFFFFF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rPr>
              <a:t>01</a:t>
            </a:r>
          </a:p>
        </p:txBody>
      </p:sp>
      <p:sp>
        <p:nvSpPr>
          <p:cNvPr id="23" name="TextBox 22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SpPr txBox="1"/>
          <p:nvPr/>
        </p:nvSpPr>
        <p:spPr>
          <a:xfrm>
            <a:off x="1516380" y="1680050"/>
            <a:ext cx="2870097" cy="493148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r">
              <a:lnSpc>
                <a:spcPct val="120000"/>
              </a:lnSpc>
              <a:spcBef>
                <a:spcPts val="600"/>
              </a:spcBef>
            </a:pPr>
            <a:r>
              <a:rPr lang="en-US" sz="1200" b="1" dirty="0"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rPr>
              <a:t>Write title here</a:t>
            </a:r>
          </a:p>
          <a:p>
            <a:pPr algn="r">
              <a:lnSpc>
                <a:spcPct val="130000"/>
              </a:lnSpc>
            </a:pPr>
            <a:r>
              <a:rPr lang="en-US" altLang="zh-CN" sz="1000" dirty="0">
                <a:solidFill>
                  <a:schemeClr val="accent6">
                    <a:lumMod val="50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rPr>
              <a:t>Click here to add content, content to match the title. </a:t>
            </a:r>
          </a:p>
        </p:txBody>
      </p:sp>
      <p:sp>
        <p:nvSpPr>
          <p:cNvPr id="24" name="Freeform 851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SpPr>
            <a:spLocks noEditPoints="1"/>
          </p:cNvSpPr>
          <p:nvPr/>
        </p:nvSpPr>
        <p:spPr bwMode="auto">
          <a:xfrm>
            <a:off x="6313661" y="4816543"/>
            <a:ext cx="328539" cy="376247"/>
          </a:xfrm>
          <a:custGeom>
            <a:avLst/>
            <a:gdLst>
              <a:gd name="T0" fmla="*/ 119 w 141"/>
              <a:gd name="T1" fmla="*/ 84 h 160"/>
              <a:gd name="T2" fmla="*/ 95 w 141"/>
              <a:gd name="T3" fmla="*/ 20 h 160"/>
              <a:gd name="T4" fmla="*/ 84 w 141"/>
              <a:gd name="T5" fmla="*/ 15 h 160"/>
              <a:gd name="T6" fmla="*/ 55 w 141"/>
              <a:gd name="T7" fmla="*/ 15 h 160"/>
              <a:gd name="T8" fmla="*/ 46 w 141"/>
              <a:gd name="T9" fmla="*/ 20 h 160"/>
              <a:gd name="T10" fmla="*/ 20 w 141"/>
              <a:gd name="T11" fmla="*/ 84 h 160"/>
              <a:gd name="T12" fmla="*/ 0 w 141"/>
              <a:gd name="T13" fmla="*/ 135 h 160"/>
              <a:gd name="T14" fmla="*/ 30 w 141"/>
              <a:gd name="T15" fmla="*/ 141 h 160"/>
              <a:gd name="T16" fmla="*/ 70 w 141"/>
              <a:gd name="T17" fmla="*/ 160 h 160"/>
              <a:gd name="T18" fmla="*/ 111 w 141"/>
              <a:gd name="T19" fmla="*/ 141 h 160"/>
              <a:gd name="T20" fmla="*/ 140 w 141"/>
              <a:gd name="T21" fmla="*/ 135 h 160"/>
              <a:gd name="T22" fmla="*/ 61 w 141"/>
              <a:gd name="T23" fmla="*/ 15 h 160"/>
              <a:gd name="T24" fmla="*/ 79 w 141"/>
              <a:gd name="T25" fmla="*/ 15 h 160"/>
              <a:gd name="T26" fmla="*/ 61 w 141"/>
              <a:gd name="T27" fmla="*/ 15 h 160"/>
              <a:gd name="T28" fmla="*/ 52 w 141"/>
              <a:gd name="T29" fmla="*/ 145 h 160"/>
              <a:gd name="T30" fmla="*/ 89 w 141"/>
              <a:gd name="T31" fmla="*/ 145 h 160"/>
              <a:gd name="T32" fmla="*/ 110 w 141"/>
              <a:gd name="T33" fmla="*/ 136 h 160"/>
              <a:gd name="T34" fmla="*/ 94 w 141"/>
              <a:gd name="T35" fmla="*/ 138 h 160"/>
              <a:gd name="T36" fmla="*/ 88 w 141"/>
              <a:gd name="T37" fmla="*/ 139 h 160"/>
              <a:gd name="T38" fmla="*/ 81 w 141"/>
              <a:gd name="T39" fmla="*/ 139 h 160"/>
              <a:gd name="T40" fmla="*/ 76 w 141"/>
              <a:gd name="T41" fmla="*/ 140 h 160"/>
              <a:gd name="T42" fmla="*/ 64 w 141"/>
              <a:gd name="T43" fmla="*/ 140 h 160"/>
              <a:gd name="T44" fmla="*/ 58 w 141"/>
              <a:gd name="T45" fmla="*/ 139 h 160"/>
              <a:gd name="T46" fmla="*/ 53 w 141"/>
              <a:gd name="T47" fmla="*/ 139 h 160"/>
              <a:gd name="T48" fmla="*/ 47 w 141"/>
              <a:gd name="T49" fmla="*/ 138 h 160"/>
              <a:gd name="T50" fmla="*/ 9 w 141"/>
              <a:gd name="T51" fmla="*/ 132 h 160"/>
              <a:gd name="T52" fmla="*/ 26 w 141"/>
              <a:gd name="T53" fmla="*/ 58 h 160"/>
              <a:gd name="T54" fmla="*/ 59 w 141"/>
              <a:gd name="T55" fmla="*/ 22 h 160"/>
              <a:gd name="T56" fmla="*/ 81 w 141"/>
              <a:gd name="T57" fmla="*/ 21 h 160"/>
              <a:gd name="T58" fmla="*/ 92 w 141"/>
              <a:gd name="T59" fmla="*/ 25 h 160"/>
              <a:gd name="T60" fmla="*/ 114 w 141"/>
              <a:gd name="T61" fmla="*/ 84 h 160"/>
              <a:gd name="T62" fmla="*/ 110 w 141"/>
              <a:gd name="T63" fmla="*/ 136 h 160"/>
              <a:gd name="T64" fmla="*/ 86 w 141"/>
              <a:gd name="T65" fmla="*/ 38 h 160"/>
              <a:gd name="T66" fmla="*/ 41 w 141"/>
              <a:gd name="T67" fmla="*/ 58 h 160"/>
              <a:gd name="T68" fmla="*/ 38 w 141"/>
              <a:gd name="T69" fmla="*/ 61 h 160"/>
              <a:gd name="T70" fmla="*/ 52 w 141"/>
              <a:gd name="T71" fmla="*/ 33 h 160"/>
              <a:gd name="T72" fmla="*/ 90 w 141"/>
              <a:gd name="T73" fmla="*/ 37 h 1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141" h="160">
                <a:moveTo>
                  <a:pt x="140" y="132"/>
                </a:moveTo>
                <a:cubicBezTo>
                  <a:pt x="126" y="118"/>
                  <a:pt x="119" y="102"/>
                  <a:pt x="119" y="84"/>
                </a:cubicBezTo>
                <a:cubicBezTo>
                  <a:pt x="119" y="58"/>
                  <a:pt x="119" y="58"/>
                  <a:pt x="119" y="58"/>
                </a:cubicBezTo>
                <a:cubicBezTo>
                  <a:pt x="119" y="38"/>
                  <a:pt x="106" y="25"/>
                  <a:pt x="95" y="20"/>
                </a:cubicBezTo>
                <a:cubicBezTo>
                  <a:pt x="91" y="18"/>
                  <a:pt x="88" y="17"/>
                  <a:pt x="84" y="16"/>
                </a:cubicBezTo>
                <a:cubicBezTo>
                  <a:pt x="84" y="15"/>
                  <a:pt x="84" y="15"/>
                  <a:pt x="84" y="15"/>
                </a:cubicBezTo>
                <a:cubicBezTo>
                  <a:pt x="84" y="7"/>
                  <a:pt x="78" y="0"/>
                  <a:pt x="70" y="0"/>
                </a:cubicBezTo>
                <a:cubicBezTo>
                  <a:pt x="62" y="0"/>
                  <a:pt x="55" y="7"/>
                  <a:pt x="55" y="15"/>
                </a:cubicBezTo>
                <a:cubicBezTo>
                  <a:pt x="55" y="16"/>
                  <a:pt x="55" y="16"/>
                  <a:pt x="55" y="16"/>
                </a:cubicBezTo>
                <a:cubicBezTo>
                  <a:pt x="52" y="17"/>
                  <a:pt x="49" y="18"/>
                  <a:pt x="46" y="20"/>
                </a:cubicBezTo>
                <a:cubicBezTo>
                  <a:pt x="33" y="26"/>
                  <a:pt x="20" y="40"/>
                  <a:pt x="20" y="58"/>
                </a:cubicBezTo>
                <a:cubicBezTo>
                  <a:pt x="20" y="84"/>
                  <a:pt x="20" y="84"/>
                  <a:pt x="20" y="84"/>
                </a:cubicBezTo>
                <a:cubicBezTo>
                  <a:pt x="20" y="103"/>
                  <a:pt x="14" y="119"/>
                  <a:pt x="1" y="132"/>
                </a:cubicBezTo>
                <a:cubicBezTo>
                  <a:pt x="0" y="133"/>
                  <a:pt x="0" y="134"/>
                  <a:pt x="0" y="135"/>
                </a:cubicBezTo>
                <a:cubicBezTo>
                  <a:pt x="0" y="136"/>
                  <a:pt x="1" y="137"/>
                  <a:pt x="2" y="137"/>
                </a:cubicBezTo>
                <a:cubicBezTo>
                  <a:pt x="30" y="141"/>
                  <a:pt x="30" y="141"/>
                  <a:pt x="30" y="141"/>
                </a:cubicBezTo>
                <a:cubicBezTo>
                  <a:pt x="35" y="142"/>
                  <a:pt x="40" y="143"/>
                  <a:pt x="44" y="144"/>
                </a:cubicBezTo>
                <a:cubicBezTo>
                  <a:pt x="49" y="154"/>
                  <a:pt x="59" y="160"/>
                  <a:pt x="70" y="160"/>
                </a:cubicBezTo>
                <a:cubicBezTo>
                  <a:pt x="81" y="160"/>
                  <a:pt x="91" y="154"/>
                  <a:pt x="96" y="144"/>
                </a:cubicBezTo>
                <a:cubicBezTo>
                  <a:pt x="101" y="143"/>
                  <a:pt x="105" y="142"/>
                  <a:pt x="111" y="141"/>
                </a:cubicBezTo>
                <a:cubicBezTo>
                  <a:pt x="138" y="137"/>
                  <a:pt x="138" y="137"/>
                  <a:pt x="138" y="137"/>
                </a:cubicBezTo>
                <a:cubicBezTo>
                  <a:pt x="139" y="137"/>
                  <a:pt x="140" y="136"/>
                  <a:pt x="140" y="135"/>
                </a:cubicBezTo>
                <a:cubicBezTo>
                  <a:pt x="141" y="134"/>
                  <a:pt x="141" y="133"/>
                  <a:pt x="140" y="132"/>
                </a:cubicBezTo>
                <a:close/>
                <a:moveTo>
                  <a:pt x="61" y="15"/>
                </a:moveTo>
                <a:cubicBezTo>
                  <a:pt x="61" y="10"/>
                  <a:pt x="65" y="6"/>
                  <a:pt x="70" y="6"/>
                </a:cubicBezTo>
                <a:cubicBezTo>
                  <a:pt x="75" y="6"/>
                  <a:pt x="79" y="10"/>
                  <a:pt x="79" y="15"/>
                </a:cubicBezTo>
                <a:cubicBezTo>
                  <a:pt x="79" y="15"/>
                  <a:pt x="79" y="15"/>
                  <a:pt x="79" y="15"/>
                </a:cubicBezTo>
                <a:cubicBezTo>
                  <a:pt x="73" y="14"/>
                  <a:pt x="67" y="14"/>
                  <a:pt x="61" y="15"/>
                </a:cubicBezTo>
                <a:close/>
                <a:moveTo>
                  <a:pt x="70" y="154"/>
                </a:moveTo>
                <a:cubicBezTo>
                  <a:pt x="63" y="154"/>
                  <a:pt x="56" y="151"/>
                  <a:pt x="52" y="145"/>
                </a:cubicBezTo>
                <a:cubicBezTo>
                  <a:pt x="58" y="145"/>
                  <a:pt x="64" y="146"/>
                  <a:pt x="70" y="146"/>
                </a:cubicBezTo>
                <a:cubicBezTo>
                  <a:pt x="76" y="146"/>
                  <a:pt x="82" y="145"/>
                  <a:pt x="89" y="145"/>
                </a:cubicBezTo>
                <a:cubicBezTo>
                  <a:pt x="85" y="151"/>
                  <a:pt x="78" y="154"/>
                  <a:pt x="70" y="154"/>
                </a:cubicBezTo>
                <a:close/>
                <a:moveTo>
                  <a:pt x="110" y="136"/>
                </a:moveTo>
                <a:cubicBezTo>
                  <a:pt x="104" y="137"/>
                  <a:pt x="99" y="137"/>
                  <a:pt x="94" y="138"/>
                </a:cubicBezTo>
                <a:cubicBezTo>
                  <a:pt x="94" y="138"/>
                  <a:pt x="94" y="138"/>
                  <a:pt x="94" y="138"/>
                </a:cubicBezTo>
                <a:cubicBezTo>
                  <a:pt x="92" y="138"/>
                  <a:pt x="90" y="139"/>
                  <a:pt x="88" y="139"/>
                </a:cubicBezTo>
                <a:cubicBezTo>
                  <a:pt x="88" y="139"/>
                  <a:pt x="88" y="139"/>
                  <a:pt x="88" y="139"/>
                </a:cubicBezTo>
                <a:cubicBezTo>
                  <a:pt x="86" y="139"/>
                  <a:pt x="84" y="139"/>
                  <a:pt x="82" y="139"/>
                </a:cubicBezTo>
                <a:cubicBezTo>
                  <a:pt x="82" y="139"/>
                  <a:pt x="82" y="139"/>
                  <a:pt x="81" y="139"/>
                </a:cubicBezTo>
                <a:cubicBezTo>
                  <a:pt x="80" y="139"/>
                  <a:pt x="78" y="140"/>
                  <a:pt x="77" y="140"/>
                </a:cubicBezTo>
                <a:cubicBezTo>
                  <a:pt x="76" y="140"/>
                  <a:pt x="76" y="140"/>
                  <a:pt x="76" y="140"/>
                </a:cubicBezTo>
                <a:cubicBezTo>
                  <a:pt x="72" y="140"/>
                  <a:pt x="69" y="140"/>
                  <a:pt x="65" y="140"/>
                </a:cubicBezTo>
                <a:cubicBezTo>
                  <a:pt x="65" y="140"/>
                  <a:pt x="64" y="140"/>
                  <a:pt x="64" y="140"/>
                </a:cubicBezTo>
                <a:cubicBezTo>
                  <a:pt x="62" y="140"/>
                  <a:pt x="61" y="139"/>
                  <a:pt x="59" y="139"/>
                </a:cubicBezTo>
                <a:cubicBezTo>
                  <a:pt x="59" y="139"/>
                  <a:pt x="59" y="139"/>
                  <a:pt x="58" y="139"/>
                </a:cubicBezTo>
                <a:cubicBezTo>
                  <a:pt x="57" y="139"/>
                  <a:pt x="55" y="139"/>
                  <a:pt x="53" y="139"/>
                </a:cubicBezTo>
                <a:cubicBezTo>
                  <a:pt x="53" y="139"/>
                  <a:pt x="53" y="139"/>
                  <a:pt x="53" y="139"/>
                </a:cubicBezTo>
                <a:cubicBezTo>
                  <a:pt x="51" y="139"/>
                  <a:pt x="49" y="138"/>
                  <a:pt x="47" y="138"/>
                </a:cubicBezTo>
                <a:cubicBezTo>
                  <a:pt x="47" y="138"/>
                  <a:pt x="47" y="138"/>
                  <a:pt x="47" y="138"/>
                </a:cubicBezTo>
                <a:cubicBezTo>
                  <a:pt x="42" y="137"/>
                  <a:pt x="37" y="137"/>
                  <a:pt x="31" y="136"/>
                </a:cubicBezTo>
                <a:cubicBezTo>
                  <a:pt x="9" y="132"/>
                  <a:pt x="9" y="132"/>
                  <a:pt x="9" y="132"/>
                </a:cubicBezTo>
                <a:cubicBezTo>
                  <a:pt x="20" y="119"/>
                  <a:pt x="26" y="103"/>
                  <a:pt x="26" y="84"/>
                </a:cubicBezTo>
                <a:cubicBezTo>
                  <a:pt x="26" y="58"/>
                  <a:pt x="26" y="58"/>
                  <a:pt x="26" y="58"/>
                </a:cubicBezTo>
                <a:cubicBezTo>
                  <a:pt x="26" y="42"/>
                  <a:pt x="37" y="30"/>
                  <a:pt x="49" y="25"/>
                </a:cubicBezTo>
                <a:cubicBezTo>
                  <a:pt x="52" y="24"/>
                  <a:pt x="55" y="22"/>
                  <a:pt x="59" y="22"/>
                </a:cubicBezTo>
                <a:cubicBezTo>
                  <a:pt x="59" y="22"/>
                  <a:pt x="59" y="22"/>
                  <a:pt x="59" y="22"/>
                </a:cubicBezTo>
                <a:cubicBezTo>
                  <a:pt x="66" y="20"/>
                  <a:pt x="74" y="20"/>
                  <a:pt x="81" y="21"/>
                </a:cubicBezTo>
                <a:cubicBezTo>
                  <a:pt x="81" y="21"/>
                  <a:pt x="81" y="21"/>
                  <a:pt x="81" y="21"/>
                </a:cubicBezTo>
                <a:cubicBezTo>
                  <a:pt x="85" y="22"/>
                  <a:pt x="89" y="23"/>
                  <a:pt x="92" y="25"/>
                </a:cubicBezTo>
                <a:cubicBezTo>
                  <a:pt x="103" y="30"/>
                  <a:pt x="114" y="42"/>
                  <a:pt x="114" y="58"/>
                </a:cubicBezTo>
                <a:cubicBezTo>
                  <a:pt x="114" y="84"/>
                  <a:pt x="114" y="84"/>
                  <a:pt x="114" y="84"/>
                </a:cubicBezTo>
                <a:cubicBezTo>
                  <a:pt x="114" y="102"/>
                  <a:pt x="120" y="118"/>
                  <a:pt x="132" y="132"/>
                </a:cubicBezTo>
                <a:lnTo>
                  <a:pt x="110" y="136"/>
                </a:lnTo>
                <a:close/>
                <a:moveTo>
                  <a:pt x="90" y="37"/>
                </a:moveTo>
                <a:cubicBezTo>
                  <a:pt x="89" y="38"/>
                  <a:pt x="88" y="39"/>
                  <a:pt x="86" y="38"/>
                </a:cubicBezTo>
                <a:cubicBezTo>
                  <a:pt x="76" y="34"/>
                  <a:pt x="64" y="34"/>
                  <a:pt x="55" y="38"/>
                </a:cubicBezTo>
                <a:cubicBezTo>
                  <a:pt x="50" y="41"/>
                  <a:pt x="41" y="48"/>
                  <a:pt x="41" y="58"/>
                </a:cubicBezTo>
                <a:cubicBezTo>
                  <a:pt x="41" y="60"/>
                  <a:pt x="39" y="61"/>
                  <a:pt x="38" y="61"/>
                </a:cubicBezTo>
                <a:cubicBezTo>
                  <a:pt x="38" y="61"/>
                  <a:pt x="38" y="61"/>
                  <a:pt x="38" y="61"/>
                </a:cubicBezTo>
                <a:cubicBezTo>
                  <a:pt x="36" y="61"/>
                  <a:pt x="35" y="60"/>
                  <a:pt x="35" y="58"/>
                </a:cubicBezTo>
                <a:cubicBezTo>
                  <a:pt x="35" y="45"/>
                  <a:pt x="46" y="36"/>
                  <a:pt x="52" y="33"/>
                </a:cubicBezTo>
                <a:cubicBezTo>
                  <a:pt x="63" y="28"/>
                  <a:pt x="77" y="28"/>
                  <a:pt x="88" y="33"/>
                </a:cubicBezTo>
                <a:cubicBezTo>
                  <a:pt x="90" y="34"/>
                  <a:pt x="91" y="35"/>
                  <a:pt x="90" y="37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en-US">
              <a:latin typeface="Arial" panose="020B0604020202020204" pitchFamily="34" charset="0"/>
              <a:ea typeface="微软雅黑" panose="020B0503020204020204" pitchFamily="34" charset="-122"/>
              <a:cs typeface="思源黑体 CN Regular" panose="020B0500000000000000" charset="-122"/>
              <a:sym typeface="Arial" panose="020B0604020202020204" pitchFamily="34" charset="0"/>
            </a:endParaRPr>
          </a:p>
        </p:txBody>
      </p:sp>
      <p:sp>
        <p:nvSpPr>
          <p:cNvPr id="25" name="Freeform 1050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SpPr>
            <a:spLocks noEditPoints="1"/>
          </p:cNvSpPr>
          <p:nvPr/>
        </p:nvSpPr>
        <p:spPr bwMode="auto">
          <a:xfrm>
            <a:off x="5394207" y="2197961"/>
            <a:ext cx="372995" cy="338296"/>
          </a:xfrm>
          <a:custGeom>
            <a:avLst/>
            <a:gdLst>
              <a:gd name="T0" fmla="*/ 115 w 160"/>
              <a:gd name="T1" fmla="*/ 0 h 144"/>
              <a:gd name="T2" fmla="*/ 89 w 160"/>
              <a:gd name="T3" fmla="*/ 37 h 144"/>
              <a:gd name="T4" fmla="*/ 63 w 160"/>
              <a:gd name="T5" fmla="*/ 7 h 144"/>
              <a:gd name="T6" fmla="*/ 4 w 160"/>
              <a:gd name="T7" fmla="*/ 91 h 144"/>
              <a:gd name="T8" fmla="*/ 71 w 160"/>
              <a:gd name="T9" fmla="*/ 110 h 144"/>
              <a:gd name="T10" fmla="*/ 71 w 160"/>
              <a:gd name="T11" fmla="*/ 82 h 144"/>
              <a:gd name="T12" fmla="*/ 89 w 160"/>
              <a:gd name="T13" fmla="*/ 110 h 144"/>
              <a:gd name="T14" fmla="*/ 160 w 160"/>
              <a:gd name="T15" fmla="*/ 109 h 144"/>
              <a:gd name="T16" fmla="*/ 6 w 160"/>
              <a:gd name="T17" fmla="*/ 109 h 144"/>
              <a:gd name="T18" fmla="*/ 12 w 160"/>
              <a:gd name="T19" fmla="*/ 90 h 144"/>
              <a:gd name="T20" fmla="*/ 20 w 160"/>
              <a:gd name="T21" fmla="*/ 83 h 144"/>
              <a:gd name="T22" fmla="*/ 28 w 160"/>
              <a:gd name="T23" fmla="*/ 80 h 144"/>
              <a:gd name="T24" fmla="*/ 36 w 160"/>
              <a:gd name="T25" fmla="*/ 79 h 144"/>
              <a:gd name="T26" fmla="*/ 65 w 160"/>
              <a:gd name="T27" fmla="*/ 110 h 144"/>
              <a:gd name="T28" fmla="*/ 63 w 160"/>
              <a:gd name="T29" fmla="*/ 86 h 144"/>
              <a:gd name="T30" fmla="*/ 59 w 160"/>
              <a:gd name="T31" fmla="*/ 82 h 144"/>
              <a:gd name="T32" fmla="*/ 53 w 160"/>
              <a:gd name="T33" fmla="*/ 78 h 144"/>
              <a:gd name="T34" fmla="*/ 48 w 160"/>
              <a:gd name="T35" fmla="*/ 75 h 144"/>
              <a:gd name="T36" fmla="*/ 41 w 160"/>
              <a:gd name="T37" fmla="*/ 73 h 144"/>
              <a:gd name="T38" fmla="*/ 32 w 160"/>
              <a:gd name="T39" fmla="*/ 73 h 144"/>
              <a:gd name="T40" fmla="*/ 27 w 160"/>
              <a:gd name="T41" fmla="*/ 74 h 144"/>
              <a:gd name="T42" fmla="*/ 23 w 160"/>
              <a:gd name="T43" fmla="*/ 75 h 144"/>
              <a:gd name="T44" fmla="*/ 18 w 160"/>
              <a:gd name="T45" fmla="*/ 78 h 144"/>
              <a:gd name="T46" fmla="*/ 15 w 160"/>
              <a:gd name="T47" fmla="*/ 80 h 144"/>
              <a:gd name="T48" fmla="*/ 45 w 160"/>
              <a:gd name="T49" fmla="*/ 6 h 144"/>
              <a:gd name="T50" fmla="*/ 65 w 160"/>
              <a:gd name="T51" fmla="*/ 40 h 144"/>
              <a:gd name="T52" fmla="*/ 65 w 160"/>
              <a:gd name="T53" fmla="*/ 89 h 144"/>
              <a:gd name="T54" fmla="*/ 71 w 160"/>
              <a:gd name="T55" fmla="*/ 43 h 144"/>
              <a:gd name="T56" fmla="*/ 71 w 160"/>
              <a:gd name="T57" fmla="*/ 76 h 144"/>
              <a:gd name="T58" fmla="*/ 95 w 160"/>
              <a:gd name="T59" fmla="*/ 40 h 144"/>
              <a:gd name="T60" fmla="*/ 114 w 160"/>
              <a:gd name="T61" fmla="*/ 6 h 144"/>
              <a:gd name="T62" fmla="*/ 147 w 160"/>
              <a:gd name="T63" fmla="*/ 81 h 144"/>
              <a:gd name="T64" fmla="*/ 140 w 160"/>
              <a:gd name="T65" fmla="*/ 77 h 144"/>
              <a:gd name="T66" fmla="*/ 136 w 160"/>
              <a:gd name="T67" fmla="*/ 75 h 144"/>
              <a:gd name="T68" fmla="*/ 131 w 160"/>
              <a:gd name="T69" fmla="*/ 74 h 144"/>
              <a:gd name="T70" fmla="*/ 124 w 160"/>
              <a:gd name="T71" fmla="*/ 73 h 144"/>
              <a:gd name="T72" fmla="*/ 116 w 160"/>
              <a:gd name="T73" fmla="*/ 74 h 144"/>
              <a:gd name="T74" fmla="*/ 111 w 160"/>
              <a:gd name="T75" fmla="*/ 76 h 144"/>
              <a:gd name="T76" fmla="*/ 104 w 160"/>
              <a:gd name="T77" fmla="*/ 79 h 144"/>
              <a:gd name="T78" fmla="*/ 100 w 160"/>
              <a:gd name="T79" fmla="*/ 83 h 144"/>
              <a:gd name="T80" fmla="*/ 95 w 160"/>
              <a:gd name="T81" fmla="*/ 89 h 144"/>
              <a:gd name="T82" fmla="*/ 95 w 160"/>
              <a:gd name="T83" fmla="*/ 110 h 144"/>
              <a:gd name="T84" fmla="*/ 95 w 160"/>
              <a:gd name="T85" fmla="*/ 109 h 144"/>
              <a:gd name="T86" fmla="*/ 129 w 160"/>
              <a:gd name="T87" fmla="*/ 79 h 144"/>
              <a:gd name="T88" fmla="*/ 139 w 160"/>
              <a:gd name="T89" fmla="*/ 83 h 144"/>
              <a:gd name="T90" fmla="*/ 143 w 160"/>
              <a:gd name="T91" fmla="*/ 85 h 144"/>
              <a:gd name="T92" fmla="*/ 150 w 160"/>
              <a:gd name="T93" fmla="*/ 94 h 14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160" h="144">
                <a:moveTo>
                  <a:pt x="156" y="91"/>
                </a:moveTo>
                <a:cubicBezTo>
                  <a:pt x="138" y="20"/>
                  <a:pt x="138" y="20"/>
                  <a:pt x="138" y="20"/>
                </a:cubicBezTo>
                <a:cubicBezTo>
                  <a:pt x="135" y="9"/>
                  <a:pt x="126" y="1"/>
                  <a:pt x="115" y="0"/>
                </a:cubicBezTo>
                <a:cubicBezTo>
                  <a:pt x="108" y="0"/>
                  <a:pt x="102" y="2"/>
                  <a:pt x="97" y="7"/>
                </a:cubicBezTo>
                <a:cubicBezTo>
                  <a:pt x="92" y="12"/>
                  <a:pt x="89" y="18"/>
                  <a:pt x="89" y="25"/>
                </a:cubicBezTo>
                <a:cubicBezTo>
                  <a:pt x="89" y="37"/>
                  <a:pt x="89" y="37"/>
                  <a:pt x="89" y="37"/>
                </a:cubicBezTo>
                <a:cubicBezTo>
                  <a:pt x="71" y="37"/>
                  <a:pt x="71" y="37"/>
                  <a:pt x="71" y="37"/>
                </a:cubicBezTo>
                <a:cubicBezTo>
                  <a:pt x="71" y="25"/>
                  <a:pt x="71" y="25"/>
                  <a:pt x="71" y="25"/>
                </a:cubicBezTo>
                <a:cubicBezTo>
                  <a:pt x="71" y="18"/>
                  <a:pt x="68" y="12"/>
                  <a:pt x="63" y="7"/>
                </a:cubicBezTo>
                <a:cubicBezTo>
                  <a:pt x="58" y="2"/>
                  <a:pt x="52" y="0"/>
                  <a:pt x="45" y="0"/>
                </a:cubicBezTo>
                <a:cubicBezTo>
                  <a:pt x="34" y="1"/>
                  <a:pt x="25" y="9"/>
                  <a:pt x="22" y="20"/>
                </a:cubicBezTo>
                <a:cubicBezTo>
                  <a:pt x="4" y="91"/>
                  <a:pt x="4" y="91"/>
                  <a:pt x="4" y="91"/>
                </a:cubicBezTo>
                <a:cubicBezTo>
                  <a:pt x="2" y="97"/>
                  <a:pt x="0" y="102"/>
                  <a:pt x="0" y="109"/>
                </a:cubicBezTo>
                <a:cubicBezTo>
                  <a:pt x="0" y="128"/>
                  <a:pt x="16" y="144"/>
                  <a:pt x="36" y="144"/>
                </a:cubicBezTo>
                <a:cubicBezTo>
                  <a:pt x="55" y="144"/>
                  <a:pt x="70" y="129"/>
                  <a:pt x="71" y="110"/>
                </a:cubicBezTo>
                <a:cubicBezTo>
                  <a:pt x="71" y="110"/>
                  <a:pt x="71" y="110"/>
                  <a:pt x="71" y="110"/>
                </a:cubicBezTo>
                <a:cubicBezTo>
                  <a:pt x="71" y="109"/>
                  <a:pt x="71" y="109"/>
                  <a:pt x="71" y="109"/>
                </a:cubicBezTo>
                <a:cubicBezTo>
                  <a:pt x="71" y="82"/>
                  <a:pt x="71" y="82"/>
                  <a:pt x="71" y="82"/>
                </a:cubicBezTo>
                <a:cubicBezTo>
                  <a:pt x="89" y="82"/>
                  <a:pt x="89" y="82"/>
                  <a:pt x="89" y="82"/>
                </a:cubicBezTo>
                <a:cubicBezTo>
                  <a:pt x="89" y="109"/>
                  <a:pt x="89" y="109"/>
                  <a:pt x="89" y="109"/>
                </a:cubicBezTo>
                <a:cubicBezTo>
                  <a:pt x="89" y="110"/>
                  <a:pt x="89" y="110"/>
                  <a:pt x="89" y="110"/>
                </a:cubicBezTo>
                <a:cubicBezTo>
                  <a:pt x="89" y="110"/>
                  <a:pt x="89" y="110"/>
                  <a:pt x="89" y="110"/>
                </a:cubicBezTo>
                <a:cubicBezTo>
                  <a:pt x="90" y="129"/>
                  <a:pt x="105" y="144"/>
                  <a:pt x="124" y="144"/>
                </a:cubicBezTo>
                <a:cubicBezTo>
                  <a:pt x="144" y="144"/>
                  <a:pt x="160" y="128"/>
                  <a:pt x="160" y="109"/>
                </a:cubicBezTo>
                <a:cubicBezTo>
                  <a:pt x="160" y="102"/>
                  <a:pt x="158" y="97"/>
                  <a:pt x="156" y="91"/>
                </a:cubicBezTo>
                <a:close/>
                <a:moveTo>
                  <a:pt x="36" y="138"/>
                </a:moveTo>
                <a:cubicBezTo>
                  <a:pt x="19" y="138"/>
                  <a:pt x="6" y="125"/>
                  <a:pt x="6" y="109"/>
                </a:cubicBezTo>
                <a:cubicBezTo>
                  <a:pt x="6" y="103"/>
                  <a:pt x="7" y="98"/>
                  <a:pt x="10" y="94"/>
                </a:cubicBezTo>
                <a:cubicBezTo>
                  <a:pt x="10" y="93"/>
                  <a:pt x="11" y="92"/>
                  <a:pt x="12" y="91"/>
                </a:cubicBezTo>
                <a:cubicBezTo>
                  <a:pt x="12" y="91"/>
                  <a:pt x="12" y="91"/>
                  <a:pt x="12" y="90"/>
                </a:cubicBezTo>
                <a:cubicBezTo>
                  <a:pt x="14" y="89"/>
                  <a:pt x="15" y="87"/>
                  <a:pt x="17" y="85"/>
                </a:cubicBezTo>
                <a:cubicBezTo>
                  <a:pt x="17" y="85"/>
                  <a:pt x="18" y="85"/>
                  <a:pt x="18" y="85"/>
                </a:cubicBezTo>
                <a:cubicBezTo>
                  <a:pt x="19" y="84"/>
                  <a:pt x="19" y="84"/>
                  <a:pt x="20" y="83"/>
                </a:cubicBezTo>
                <a:cubicBezTo>
                  <a:pt x="21" y="83"/>
                  <a:pt x="21" y="83"/>
                  <a:pt x="21" y="83"/>
                </a:cubicBezTo>
                <a:cubicBezTo>
                  <a:pt x="23" y="82"/>
                  <a:pt x="25" y="81"/>
                  <a:pt x="28" y="80"/>
                </a:cubicBezTo>
                <a:cubicBezTo>
                  <a:pt x="28" y="80"/>
                  <a:pt x="28" y="80"/>
                  <a:pt x="28" y="80"/>
                </a:cubicBezTo>
                <a:cubicBezTo>
                  <a:pt x="29" y="80"/>
                  <a:pt x="30" y="79"/>
                  <a:pt x="31" y="79"/>
                </a:cubicBezTo>
                <a:cubicBezTo>
                  <a:pt x="31" y="79"/>
                  <a:pt x="32" y="79"/>
                  <a:pt x="32" y="79"/>
                </a:cubicBezTo>
                <a:cubicBezTo>
                  <a:pt x="33" y="79"/>
                  <a:pt x="34" y="79"/>
                  <a:pt x="36" y="79"/>
                </a:cubicBezTo>
                <a:cubicBezTo>
                  <a:pt x="52" y="79"/>
                  <a:pt x="65" y="92"/>
                  <a:pt x="65" y="109"/>
                </a:cubicBezTo>
                <a:cubicBezTo>
                  <a:pt x="65" y="109"/>
                  <a:pt x="65" y="109"/>
                  <a:pt x="65" y="109"/>
                </a:cubicBezTo>
                <a:cubicBezTo>
                  <a:pt x="65" y="110"/>
                  <a:pt x="65" y="110"/>
                  <a:pt x="65" y="110"/>
                </a:cubicBezTo>
                <a:cubicBezTo>
                  <a:pt x="65" y="110"/>
                  <a:pt x="65" y="110"/>
                  <a:pt x="65" y="110"/>
                </a:cubicBezTo>
                <a:cubicBezTo>
                  <a:pt x="64" y="126"/>
                  <a:pt x="51" y="138"/>
                  <a:pt x="36" y="138"/>
                </a:cubicBezTo>
                <a:close/>
                <a:moveTo>
                  <a:pt x="63" y="86"/>
                </a:moveTo>
                <a:cubicBezTo>
                  <a:pt x="63" y="85"/>
                  <a:pt x="62" y="85"/>
                  <a:pt x="62" y="85"/>
                </a:cubicBezTo>
                <a:cubicBezTo>
                  <a:pt x="61" y="84"/>
                  <a:pt x="61" y="83"/>
                  <a:pt x="60" y="83"/>
                </a:cubicBezTo>
                <a:cubicBezTo>
                  <a:pt x="60" y="83"/>
                  <a:pt x="59" y="82"/>
                  <a:pt x="59" y="82"/>
                </a:cubicBezTo>
                <a:cubicBezTo>
                  <a:pt x="58" y="81"/>
                  <a:pt x="58" y="81"/>
                  <a:pt x="57" y="80"/>
                </a:cubicBezTo>
                <a:cubicBezTo>
                  <a:pt x="57" y="80"/>
                  <a:pt x="56" y="80"/>
                  <a:pt x="56" y="79"/>
                </a:cubicBezTo>
                <a:cubicBezTo>
                  <a:pt x="55" y="79"/>
                  <a:pt x="54" y="78"/>
                  <a:pt x="53" y="78"/>
                </a:cubicBezTo>
                <a:cubicBezTo>
                  <a:pt x="53" y="78"/>
                  <a:pt x="53" y="77"/>
                  <a:pt x="53" y="77"/>
                </a:cubicBezTo>
                <a:cubicBezTo>
                  <a:pt x="51" y="77"/>
                  <a:pt x="50" y="76"/>
                  <a:pt x="49" y="76"/>
                </a:cubicBezTo>
                <a:cubicBezTo>
                  <a:pt x="49" y="76"/>
                  <a:pt x="48" y="75"/>
                  <a:pt x="48" y="75"/>
                </a:cubicBezTo>
                <a:cubicBezTo>
                  <a:pt x="47" y="75"/>
                  <a:pt x="46" y="75"/>
                  <a:pt x="45" y="74"/>
                </a:cubicBezTo>
                <a:cubicBezTo>
                  <a:pt x="45" y="74"/>
                  <a:pt x="44" y="74"/>
                  <a:pt x="44" y="74"/>
                </a:cubicBezTo>
                <a:cubicBezTo>
                  <a:pt x="43" y="74"/>
                  <a:pt x="42" y="74"/>
                  <a:pt x="41" y="73"/>
                </a:cubicBezTo>
                <a:cubicBezTo>
                  <a:pt x="41" y="73"/>
                  <a:pt x="40" y="73"/>
                  <a:pt x="40" y="73"/>
                </a:cubicBezTo>
                <a:cubicBezTo>
                  <a:pt x="38" y="73"/>
                  <a:pt x="37" y="73"/>
                  <a:pt x="36" y="73"/>
                </a:cubicBezTo>
                <a:cubicBezTo>
                  <a:pt x="34" y="73"/>
                  <a:pt x="33" y="73"/>
                  <a:pt x="32" y="73"/>
                </a:cubicBezTo>
                <a:cubicBezTo>
                  <a:pt x="32" y="73"/>
                  <a:pt x="31" y="73"/>
                  <a:pt x="31" y="73"/>
                </a:cubicBezTo>
                <a:cubicBezTo>
                  <a:pt x="30" y="73"/>
                  <a:pt x="30" y="74"/>
                  <a:pt x="29" y="74"/>
                </a:cubicBezTo>
                <a:cubicBezTo>
                  <a:pt x="28" y="74"/>
                  <a:pt x="28" y="74"/>
                  <a:pt x="27" y="74"/>
                </a:cubicBezTo>
                <a:cubicBezTo>
                  <a:pt x="27" y="74"/>
                  <a:pt x="26" y="74"/>
                  <a:pt x="26" y="74"/>
                </a:cubicBezTo>
                <a:cubicBezTo>
                  <a:pt x="25" y="75"/>
                  <a:pt x="25" y="75"/>
                  <a:pt x="24" y="75"/>
                </a:cubicBezTo>
                <a:cubicBezTo>
                  <a:pt x="24" y="75"/>
                  <a:pt x="23" y="75"/>
                  <a:pt x="23" y="75"/>
                </a:cubicBezTo>
                <a:cubicBezTo>
                  <a:pt x="22" y="76"/>
                  <a:pt x="22" y="76"/>
                  <a:pt x="21" y="76"/>
                </a:cubicBezTo>
                <a:cubicBezTo>
                  <a:pt x="21" y="76"/>
                  <a:pt x="20" y="76"/>
                  <a:pt x="20" y="77"/>
                </a:cubicBezTo>
                <a:cubicBezTo>
                  <a:pt x="19" y="77"/>
                  <a:pt x="19" y="77"/>
                  <a:pt x="18" y="78"/>
                </a:cubicBezTo>
                <a:cubicBezTo>
                  <a:pt x="18" y="78"/>
                  <a:pt x="18" y="78"/>
                  <a:pt x="17" y="78"/>
                </a:cubicBezTo>
                <a:cubicBezTo>
                  <a:pt x="17" y="79"/>
                  <a:pt x="16" y="79"/>
                  <a:pt x="15" y="79"/>
                </a:cubicBezTo>
                <a:cubicBezTo>
                  <a:pt x="15" y="79"/>
                  <a:pt x="15" y="79"/>
                  <a:pt x="15" y="80"/>
                </a:cubicBezTo>
                <a:cubicBezTo>
                  <a:pt x="14" y="80"/>
                  <a:pt x="14" y="81"/>
                  <a:pt x="13" y="81"/>
                </a:cubicBezTo>
                <a:cubicBezTo>
                  <a:pt x="28" y="21"/>
                  <a:pt x="28" y="21"/>
                  <a:pt x="28" y="21"/>
                </a:cubicBezTo>
                <a:cubicBezTo>
                  <a:pt x="30" y="13"/>
                  <a:pt x="37" y="6"/>
                  <a:pt x="45" y="6"/>
                </a:cubicBezTo>
                <a:cubicBezTo>
                  <a:pt x="51" y="6"/>
                  <a:pt x="56" y="8"/>
                  <a:pt x="59" y="11"/>
                </a:cubicBezTo>
                <a:cubicBezTo>
                  <a:pt x="63" y="15"/>
                  <a:pt x="65" y="20"/>
                  <a:pt x="65" y="25"/>
                </a:cubicBezTo>
                <a:cubicBezTo>
                  <a:pt x="65" y="40"/>
                  <a:pt x="65" y="40"/>
                  <a:pt x="65" y="40"/>
                </a:cubicBezTo>
                <a:cubicBezTo>
                  <a:pt x="65" y="79"/>
                  <a:pt x="65" y="79"/>
                  <a:pt x="65" y="79"/>
                </a:cubicBezTo>
                <a:cubicBezTo>
                  <a:pt x="65" y="89"/>
                  <a:pt x="65" y="89"/>
                  <a:pt x="65" y="89"/>
                </a:cubicBezTo>
                <a:cubicBezTo>
                  <a:pt x="65" y="89"/>
                  <a:pt x="65" y="89"/>
                  <a:pt x="65" y="89"/>
                </a:cubicBezTo>
                <a:cubicBezTo>
                  <a:pt x="64" y="88"/>
                  <a:pt x="64" y="87"/>
                  <a:pt x="63" y="86"/>
                </a:cubicBezTo>
                <a:close/>
                <a:moveTo>
                  <a:pt x="71" y="76"/>
                </a:moveTo>
                <a:cubicBezTo>
                  <a:pt x="71" y="43"/>
                  <a:pt x="71" y="43"/>
                  <a:pt x="71" y="43"/>
                </a:cubicBezTo>
                <a:cubicBezTo>
                  <a:pt x="89" y="43"/>
                  <a:pt x="89" y="43"/>
                  <a:pt x="89" y="43"/>
                </a:cubicBezTo>
                <a:cubicBezTo>
                  <a:pt x="89" y="76"/>
                  <a:pt x="89" y="76"/>
                  <a:pt x="89" y="76"/>
                </a:cubicBezTo>
                <a:lnTo>
                  <a:pt x="71" y="76"/>
                </a:lnTo>
                <a:close/>
                <a:moveTo>
                  <a:pt x="95" y="89"/>
                </a:moveTo>
                <a:cubicBezTo>
                  <a:pt x="95" y="79"/>
                  <a:pt x="95" y="79"/>
                  <a:pt x="95" y="79"/>
                </a:cubicBezTo>
                <a:cubicBezTo>
                  <a:pt x="95" y="40"/>
                  <a:pt x="95" y="40"/>
                  <a:pt x="95" y="40"/>
                </a:cubicBezTo>
                <a:cubicBezTo>
                  <a:pt x="95" y="25"/>
                  <a:pt x="95" y="25"/>
                  <a:pt x="95" y="25"/>
                </a:cubicBezTo>
                <a:cubicBezTo>
                  <a:pt x="95" y="20"/>
                  <a:pt x="97" y="15"/>
                  <a:pt x="101" y="11"/>
                </a:cubicBezTo>
                <a:cubicBezTo>
                  <a:pt x="104" y="8"/>
                  <a:pt x="109" y="6"/>
                  <a:pt x="114" y="6"/>
                </a:cubicBezTo>
                <a:cubicBezTo>
                  <a:pt x="114" y="6"/>
                  <a:pt x="114" y="6"/>
                  <a:pt x="115" y="6"/>
                </a:cubicBezTo>
                <a:cubicBezTo>
                  <a:pt x="123" y="6"/>
                  <a:pt x="130" y="13"/>
                  <a:pt x="132" y="21"/>
                </a:cubicBezTo>
                <a:cubicBezTo>
                  <a:pt x="147" y="81"/>
                  <a:pt x="147" y="81"/>
                  <a:pt x="147" y="81"/>
                </a:cubicBezTo>
                <a:cubicBezTo>
                  <a:pt x="146" y="80"/>
                  <a:pt x="144" y="79"/>
                  <a:pt x="143" y="78"/>
                </a:cubicBezTo>
                <a:cubicBezTo>
                  <a:pt x="142" y="78"/>
                  <a:pt x="142" y="78"/>
                  <a:pt x="142" y="78"/>
                </a:cubicBezTo>
                <a:cubicBezTo>
                  <a:pt x="141" y="77"/>
                  <a:pt x="141" y="77"/>
                  <a:pt x="140" y="77"/>
                </a:cubicBezTo>
                <a:cubicBezTo>
                  <a:pt x="140" y="76"/>
                  <a:pt x="139" y="76"/>
                  <a:pt x="139" y="76"/>
                </a:cubicBezTo>
                <a:cubicBezTo>
                  <a:pt x="138" y="76"/>
                  <a:pt x="138" y="76"/>
                  <a:pt x="137" y="75"/>
                </a:cubicBezTo>
                <a:cubicBezTo>
                  <a:pt x="137" y="75"/>
                  <a:pt x="136" y="75"/>
                  <a:pt x="136" y="75"/>
                </a:cubicBezTo>
                <a:cubicBezTo>
                  <a:pt x="135" y="75"/>
                  <a:pt x="135" y="75"/>
                  <a:pt x="134" y="74"/>
                </a:cubicBezTo>
                <a:cubicBezTo>
                  <a:pt x="134" y="74"/>
                  <a:pt x="133" y="74"/>
                  <a:pt x="133" y="74"/>
                </a:cubicBezTo>
                <a:cubicBezTo>
                  <a:pt x="132" y="74"/>
                  <a:pt x="132" y="74"/>
                  <a:pt x="131" y="74"/>
                </a:cubicBezTo>
                <a:cubicBezTo>
                  <a:pt x="130" y="74"/>
                  <a:pt x="130" y="73"/>
                  <a:pt x="129" y="73"/>
                </a:cubicBezTo>
                <a:cubicBezTo>
                  <a:pt x="129" y="73"/>
                  <a:pt x="128" y="73"/>
                  <a:pt x="128" y="73"/>
                </a:cubicBezTo>
                <a:cubicBezTo>
                  <a:pt x="127" y="73"/>
                  <a:pt x="126" y="73"/>
                  <a:pt x="124" y="73"/>
                </a:cubicBezTo>
                <a:cubicBezTo>
                  <a:pt x="123" y="73"/>
                  <a:pt x="122" y="73"/>
                  <a:pt x="120" y="73"/>
                </a:cubicBezTo>
                <a:cubicBezTo>
                  <a:pt x="120" y="73"/>
                  <a:pt x="119" y="73"/>
                  <a:pt x="119" y="73"/>
                </a:cubicBezTo>
                <a:cubicBezTo>
                  <a:pt x="118" y="74"/>
                  <a:pt x="117" y="74"/>
                  <a:pt x="116" y="74"/>
                </a:cubicBezTo>
                <a:cubicBezTo>
                  <a:pt x="116" y="74"/>
                  <a:pt x="115" y="74"/>
                  <a:pt x="115" y="74"/>
                </a:cubicBezTo>
                <a:cubicBezTo>
                  <a:pt x="114" y="75"/>
                  <a:pt x="113" y="75"/>
                  <a:pt x="112" y="75"/>
                </a:cubicBezTo>
                <a:cubicBezTo>
                  <a:pt x="112" y="75"/>
                  <a:pt x="111" y="76"/>
                  <a:pt x="111" y="76"/>
                </a:cubicBezTo>
                <a:cubicBezTo>
                  <a:pt x="110" y="76"/>
                  <a:pt x="109" y="77"/>
                  <a:pt x="107" y="77"/>
                </a:cubicBezTo>
                <a:cubicBezTo>
                  <a:pt x="107" y="77"/>
                  <a:pt x="107" y="78"/>
                  <a:pt x="107" y="78"/>
                </a:cubicBezTo>
                <a:cubicBezTo>
                  <a:pt x="106" y="78"/>
                  <a:pt x="105" y="79"/>
                  <a:pt x="104" y="79"/>
                </a:cubicBezTo>
                <a:cubicBezTo>
                  <a:pt x="104" y="80"/>
                  <a:pt x="103" y="80"/>
                  <a:pt x="103" y="80"/>
                </a:cubicBezTo>
                <a:cubicBezTo>
                  <a:pt x="102" y="81"/>
                  <a:pt x="102" y="81"/>
                  <a:pt x="101" y="82"/>
                </a:cubicBezTo>
                <a:cubicBezTo>
                  <a:pt x="101" y="82"/>
                  <a:pt x="100" y="83"/>
                  <a:pt x="100" y="83"/>
                </a:cubicBezTo>
                <a:cubicBezTo>
                  <a:pt x="99" y="83"/>
                  <a:pt x="99" y="84"/>
                  <a:pt x="98" y="85"/>
                </a:cubicBezTo>
                <a:cubicBezTo>
                  <a:pt x="98" y="85"/>
                  <a:pt x="97" y="85"/>
                  <a:pt x="97" y="86"/>
                </a:cubicBezTo>
                <a:cubicBezTo>
                  <a:pt x="96" y="87"/>
                  <a:pt x="96" y="88"/>
                  <a:pt x="95" y="89"/>
                </a:cubicBezTo>
                <a:cubicBezTo>
                  <a:pt x="95" y="89"/>
                  <a:pt x="95" y="89"/>
                  <a:pt x="95" y="89"/>
                </a:cubicBezTo>
                <a:close/>
                <a:moveTo>
                  <a:pt x="124" y="138"/>
                </a:moveTo>
                <a:cubicBezTo>
                  <a:pt x="109" y="138"/>
                  <a:pt x="96" y="126"/>
                  <a:pt x="95" y="110"/>
                </a:cubicBezTo>
                <a:cubicBezTo>
                  <a:pt x="95" y="110"/>
                  <a:pt x="95" y="110"/>
                  <a:pt x="95" y="110"/>
                </a:cubicBezTo>
                <a:cubicBezTo>
                  <a:pt x="95" y="109"/>
                  <a:pt x="95" y="109"/>
                  <a:pt x="95" y="109"/>
                </a:cubicBezTo>
                <a:cubicBezTo>
                  <a:pt x="95" y="109"/>
                  <a:pt x="95" y="109"/>
                  <a:pt x="95" y="109"/>
                </a:cubicBezTo>
                <a:cubicBezTo>
                  <a:pt x="95" y="92"/>
                  <a:pt x="108" y="79"/>
                  <a:pt x="124" y="79"/>
                </a:cubicBezTo>
                <a:cubicBezTo>
                  <a:pt x="126" y="79"/>
                  <a:pt x="127" y="79"/>
                  <a:pt x="128" y="79"/>
                </a:cubicBezTo>
                <a:cubicBezTo>
                  <a:pt x="128" y="79"/>
                  <a:pt x="129" y="79"/>
                  <a:pt x="129" y="79"/>
                </a:cubicBezTo>
                <a:cubicBezTo>
                  <a:pt x="130" y="79"/>
                  <a:pt x="131" y="80"/>
                  <a:pt x="132" y="80"/>
                </a:cubicBezTo>
                <a:cubicBezTo>
                  <a:pt x="132" y="80"/>
                  <a:pt x="132" y="80"/>
                  <a:pt x="132" y="80"/>
                </a:cubicBezTo>
                <a:cubicBezTo>
                  <a:pt x="135" y="81"/>
                  <a:pt x="137" y="82"/>
                  <a:pt x="139" y="83"/>
                </a:cubicBezTo>
                <a:cubicBezTo>
                  <a:pt x="139" y="83"/>
                  <a:pt x="139" y="83"/>
                  <a:pt x="140" y="83"/>
                </a:cubicBezTo>
                <a:cubicBezTo>
                  <a:pt x="141" y="84"/>
                  <a:pt x="141" y="84"/>
                  <a:pt x="142" y="85"/>
                </a:cubicBezTo>
                <a:cubicBezTo>
                  <a:pt x="142" y="85"/>
                  <a:pt x="143" y="85"/>
                  <a:pt x="143" y="85"/>
                </a:cubicBezTo>
                <a:cubicBezTo>
                  <a:pt x="145" y="87"/>
                  <a:pt x="146" y="89"/>
                  <a:pt x="148" y="90"/>
                </a:cubicBezTo>
                <a:cubicBezTo>
                  <a:pt x="148" y="91"/>
                  <a:pt x="148" y="91"/>
                  <a:pt x="148" y="91"/>
                </a:cubicBezTo>
                <a:cubicBezTo>
                  <a:pt x="149" y="92"/>
                  <a:pt x="150" y="93"/>
                  <a:pt x="150" y="94"/>
                </a:cubicBezTo>
                <a:cubicBezTo>
                  <a:pt x="153" y="98"/>
                  <a:pt x="154" y="103"/>
                  <a:pt x="154" y="109"/>
                </a:cubicBezTo>
                <a:cubicBezTo>
                  <a:pt x="154" y="125"/>
                  <a:pt x="141" y="138"/>
                  <a:pt x="124" y="138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en-US">
              <a:latin typeface="Arial" panose="020B0604020202020204" pitchFamily="34" charset="0"/>
              <a:ea typeface="微软雅黑" panose="020B0503020204020204" pitchFamily="34" charset="-122"/>
              <a:cs typeface="思源黑体 CN Regular" panose="020B0500000000000000" charset="-122"/>
              <a:sym typeface="Arial" panose="020B0604020202020204" pitchFamily="34" charset="0"/>
            </a:endParaRPr>
          </a:p>
        </p:txBody>
      </p:sp>
      <p:sp>
        <p:nvSpPr>
          <p:cNvPr id="26" name="Freeform 1137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SpPr>
            <a:spLocks noEditPoints="1"/>
          </p:cNvSpPr>
          <p:nvPr/>
        </p:nvSpPr>
        <p:spPr bwMode="auto">
          <a:xfrm>
            <a:off x="7253772" y="3835933"/>
            <a:ext cx="372995" cy="338296"/>
          </a:xfrm>
          <a:custGeom>
            <a:avLst/>
            <a:gdLst>
              <a:gd name="T0" fmla="*/ 160 w 160"/>
              <a:gd name="T1" fmla="*/ 45 h 144"/>
              <a:gd name="T2" fmla="*/ 160 w 160"/>
              <a:gd name="T3" fmla="*/ 45 h 144"/>
              <a:gd name="T4" fmla="*/ 160 w 160"/>
              <a:gd name="T5" fmla="*/ 44 h 144"/>
              <a:gd name="T6" fmla="*/ 160 w 160"/>
              <a:gd name="T7" fmla="*/ 44 h 144"/>
              <a:gd name="T8" fmla="*/ 133 w 160"/>
              <a:gd name="T9" fmla="*/ 1 h 144"/>
              <a:gd name="T10" fmla="*/ 132 w 160"/>
              <a:gd name="T11" fmla="*/ 0 h 144"/>
              <a:gd name="T12" fmla="*/ 132 w 160"/>
              <a:gd name="T13" fmla="*/ 0 h 144"/>
              <a:gd name="T14" fmla="*/ 29 w 160"/>
              <a:gd name="T15" fmla="*/ 0 h 144"/>
              <a:gd name="T16" fmla="*/ 28 w 160"/>
              <a:gd name="T17" fmla="*/ 0 h 144"/>
              <a:gd name="T18" fmla="*/ 28 w 160"/>
              <a:gd name="T19" fmla="*/ 1 h 144"/>
              <a:gd name="T20" fmla="*/ 27 w 160"/>
              <a:gd name="T21" fmla="*/ 1 h 144"/>
              <a:gd name="T22" fmla="*/ 0 w 160"/>
              <a:gd name="T23" fmla="*/ 44 h 144"/>
              <a:gd name="T24" fmla="*/ 0 w 160"/>
              <a:gd name="T25" fmla="*/ 44 h 144"/>
              <a:gd name="T26" fmla="*/ 0 w 160"/>
              <a:gd name="T27" fmla="*/ 45 h 144"/>
              <a:gd name="T28" fmla="*/ 0 w 160"/>
              <a:gd name="T29" fmla="*/ 46 h 144"/>
              <a:gd name="T30" fmla="*/ 0 w 160"/>
              <a:gd name="T31" fmla="*/ 46 h 144"/>
              <a:gd name="T32" fmla="*/ 0 w 160"/>
              <a:gd name="T33" fmla="*/ 47 h 144"/>
              <a:gd name="T34" fmla="*/ 78 w 160"/>
              <a:gd name="T35" fmla="*/ 143 h 144"/>
              <a:gd name="T36" fmla="*/ 78 w 160"/>
              <a:gd name="T37" fmla="*/ 143 h 144"/>
              <a:gd name="T38" fmla="*/ 79 w 160"/>
              <a:gd name="T39" fmla="*/ 144 h 144"/>
              <a:gd name="T40" fmla="*/ 80 w 160"/>
              <a:gd name="T41" fmla="*/ 144 h 144"/>
              <a:gd name="T42" fmla="*/ 81 w 160"/>
              <a:gd name="T43" fmla="*/ 144 h 144"/>
              <a:gd name="T44" fmla="*/ 82 w 160"/>
              <a:gd name="T45" fmla="*/ 143 h 144"/>
              <a:gd name="T46" fmla="*/ 159 w 160"/>
              <a:gd name="T47" fmla="*/ 47 h 144"/>
              <a:gd name="T48" fmla="*/ 160 w 160"/>
              <a:gd name="T49" fmla="*/ 47 h 144"/>
              <a:gd name="T50" fmla="*/ 160 w 160"/>
              <a:gd name="T51" fmla="*/ 46 h 144"/>
              <a:gd name="T52" fmla="*/ 86 w 160"/>
              <a:gd name="T53" fmla="*/ 5 h 144"/>
              <a:gd name="T54" fmla="*/ 114 w 160"/>
              <a:gd name="T55" fmla="*/ 40 h 144"/>
              <a:gd name="T56" fmla="*/ 109 w 160"/>
              <a:gd name="T57" fmla="*/ 43 h 144"/>
              <a:gd name="T58" fmla="*/ 80 w 160"/>
              <a:gd name="T59" fmla="*/ 7 h 144"/>
              <a:gd name="T60" fmla="*/ 46 w 160"/>
              <a:gd name="T61" fmla="*/ 40 h 144"/>
              <a:gd name="T62" fmla="*/ 74 w 160"/>
              <a:gd name="T63" fmla="*/ 5 h 144"/>
              <a:gd name="T64" fmla="*/ 111 w 160"/>
              <a:gd name="T65" fmla="*/ 48 h 144"/>
              <a:gd name="T66" fmla="*/ 49 w 160"/>
              <a:gd name="T67" fmla="*/ 48 h 144"/>
              <a:gd name="T68" fmla="*/ 131 w 160"/>
              <a:gd name="T69" fmla="*/ 9 h 144"/>
              <a:gd name="T70" fmla="*/ 119 w 160"/>
              <a:gd name="T71" fmla="*/ 43 h 144"/>
              <a:gd name="T72" fmla="*/ 29 w 160"/>
              <a:gd name="T73" fmla="*/ 9 h 144"/>
              <a:gd name="T74" fmla="*/ 7 w 160"/>
              <a:gd name="T75" fmla="*/ 43 h 144"/>
              <a:gd name="T76" fmla="*/ 43 w 160"/>
              <a:gd name="T77" fmla="*/ 48 h 144"/>
              <a:gd name="T78" fmla="*/ 8 w 160"/>
              <a:gd name="T79" fmla="*/ 48 h 144"/>
              <a:gd name="T80" fmla="*/ 86 w 160"/>
              <a:gd name="T81" fmla="*/ 129 h 144"/>
              <a:gd name="T82" fmla="*/ 152 w 160"/>
              <a:gd name="T83" fmla="*/ 48 h 14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</a:cxnLst>
            <a:rect l="0" t="0" r="r" b="b"/>
            <a:pathLst>
              <a:path w="160" h="144">
                <a:moveTo>
                  <a:pt x="160" y="46"/>
                </a:moveTo>
                <a:cubicBezTo>
                  <a:pt x="160" y="46"/>
                  <a:pt x="160" y="46"/>
                  <a:pt x="160" y="45"/>
                </a:cubicBezTo>
                <a:cubicBezTo>
                  <a:pt x="160" y="45"/>
                  <a:pt x="160" y="45"/>
                  <a:pt x="160" y="45"/>
                </a:cubicBezTo>
                <a:cubicBezTo>
                  <a:pt x="160" y="45"/>
                  <a:pt x="160" y="45"/>
                  <a:pt x="160" y="45"/>
                </a:cubicBezTo>
                <a:cubicBezTo>
                  <a:pt x="160" y="45"/>
                  <a:pt x="160" y="45"/>
                  <a:pt x="160" y="44"/>
                </a:cubicBezTo>
                <a:cubicBezTo>
                  <a:pt x="160" y="44"/>
                  <a:pt x="160" y="44"/>
                  <a:pt x="160" y="44"/>
                </a:cubicBezTo>
                <a:cubicBezTo>
                  <a:pt x="160" y="44"/>
                  <a:pt x="160" y="44"/>
                  <a:pt x="160" y="44"/>
                </a:cubicBezTo>
                <a:cubicBezTo>
                  <a:pt x="160" y="44"/>
                  <a:pt x="160" y="44"/>
                  <a:pt x="160" y="44"/>
                </a:cubicBezTo>
                <a:cubicBezTo>
                  <a:pt x="133" y="1"/>
                  <a:pt x="133" y="1"/>
                  <a:pt x="133" y="1"/>
                </a:cubicBezTo>
                <a:cubicBezTo>
                  <a:pt x="133" y="1"/>
                  <a:pt x="133" y="1"/>
                  <a:pt x="133" y="1"/>
                </a:cubicBezTo>
                <a:cubicBezTo>
                  <a:pt x="133" y="1"/>
                  <a:pt x="133" y="1"/>
                  <a:pt x="133" y="1"/>
                </a:cubicBezTo>
                <a:cubicBezTo>
                  <a:pt x="132" y="1"/>
                  <a:pt x="132" y="0"/>
                  <a:pt x="132" y="0"/>
                </a:cubicBezTo>
                <a:cubicBezTo>
                  <a:pt x="132" y="0"/>
                  <a:pt x="132" y="0"/>
                  <a:pt x="132" y="0"/>
                </a:cubicBezTo>
                <a:cubicBezTo>
                  <a:pt x="132" y="0"/>
                  <a:pt x="132" y="0"/>
                  <a:pt x="132" y="0"/>
                </a:cubicBezTo>
                <a:cubicBezTo>
                  <a:pt x="131" y="0"/>
                  <a:pt x="131" y="0"/>
                  <a:pt x="131" y="0"/>
                </a:cubicBezTo>
                <a:cubicBezTo>
                  <a:pt x="29" y="0"/>
                  <a:pt x="29" y="0"/>
                  <a:pt x="29" y="0"/>
                </a:cubicBezTo>
                <a:cubicBezTo>
                  <a:pt x="29" y="0"/>
                  <a:pt x="29" y="0"/>
                  <a:pt x="29" y="0"/>
                </a:cubicBezTo>
                <a:cubicBezTo>
                  <a:pt x="28" y="0"/>
                  <a:pt x="28" y="0"/>
                  <a:pt x="28" y="0"/>
                </a:cubicBezTo>
                <a:cubicBezTo>
                  <a:pt x="28" y="0"/>
                  <a:pt x="28" y="0"/>
                  <a:pt x="28" y="0"/>
                </a:cubicBezTo>
                <a:cubicBezTo>
                  <a:pt x="28" y="0"/>
                  <a:pt x="28" y="0"/>
                  <a:pt x="28" y="1"/>
                </a:cubicBezTo>
                <a:cubicBezTo>
                  <a:pt x="28" y="1"/>
                  <a:pt x="28" y="1"/>
                  <a:pt x="28" y="1"/>
                </a:cubicBezTo>
                <a:cubicBezTo>
                  <a:pt x="27" y="1"/>
                  <a:pt x="27" y="1"/>
                  <a:pt x="27" y="1"/>
                </a:cubicBezTo>
                <a:cubicBezTo>
                  <a:pt x="0" y="44"/>
                  <a:pt x="0" y="44"/>
                  <a:pt x="0" y="44"/>
                </a:cubicBezTo>
                <a:cubicBezTo>
                  <a:pt x="0" y="44"/>
                  <a:pt x="0" y="44"/>
                  <a:pt x="0" y="44"/>
                </a:cubicBezTo>
                <a:cubicBezTo>
                  <a:pt x="0" y="44"/>
                  <a:pt x="0" y="44"/>
                  <a:pt x="0" y="44"/>
                </a:cubicBezTo>
                <a:cubicBezTo>
                  <a:pt x="0" y="44"/>
                  <a:pt x="0" y="44"/>
                  <a:pt x="0" y="44"/>
                </a:cubicBezTo>
                <a:cubicBezTo>
                  <a:pt x="0" y="45"/>
                  <a:pt x="0" y="45"/>
                  <a:pt x="0" y="45"/>
                </a:cubicBezTo>
                <a:cubicBezTo>
                  <a:pt x="0" y="45"/>
                  <a:pt x="0" y="45"/>
                  <a:pt x="0" y="45"/>
                </a:cubicBezTo>
                <a:cubicBezTo>
                  <a:pt x="0" y="45"/>
                  <a:pt x="0" y="45"/>
                  <a:pt x="0" y="45"/>
                </a:cubicBezTo>
                <a:cubicBezTo>
                  <a:pt x="0" y="46"/>
                  <a:pt x="0" y="46"/>
                  <a:pt x="0" y="46"/>
                </a:cubicBezTo>
                <a:cubicBezTo>
                  <a:pt x="0" y="46"/>
                  <a:pt x="0" y="46"/>
                  <a:pt x="0" y="46"/>
                </a:cubicBezTo>
                <a:cubicBezTo>
                  <a:pt x="0" y="46"/>
                  <a:pt x="0" y="46"/>
                  <a:pt x="0" y="46"/>
                </a:cubicBezTo>
                <a:cubicBezTo>
                  <a:pt x="0" y="47"/>
                  <a:pt x="0" y="47"/>
                  <a:pt x="0" y="47"/>
                </a:cubicBezTo>
                <a:cubicBezTo>
                  <a:pt x="0" y="47"/>
                  <a:pt x="0" y="47"/>
                  <a:pt x="0" y="47"/>
                </a:cubicBezTo>
                <a:cubicBezTo>
                  <a:pt x="1" y="47"/>
                  <a:pt x="1" y="47"/>
                  <a:pt x="1" y="47"/>
                </a:cubicBezTo>
                <a:cubicBezTo>
                  <a:pt x="78" y="143"/>
                  <a:pt x="78" y="143"/>
                  <a:pt x="78" y="143"/>
                </a:cubicBezTo>
                <a:cubicBezTo>
                  <a:pt x="78" y="143"/>
                  <a:pt x="78" y="143"/>
                  <a:pt x="78" y="143"/>
                </a:cubicBezTo>
                <a:cubicBezTo>
                  <a:pt x="78" y="143"/>
                  <a:pt x="78" y="143"/>
                  <a:pt x="78" y="143"/>
                </a:cubicBezTo>
                <a:cubicBezTo>
                  <a:pt x="78" y="143"/>
                  <a:pt x="78" y="143"/>
                  <a:pt x="78" y="143"/>
                </a:cubicBezTo>
                <a:cubicBezTo>
                  <a:pt x="78" y="143"/>
                  <a:pt x="78" y="144"/>
                  <a:pt x="79" y="144"/>
                </a:cubicBezTo>
                <a:cubicBezTo>
                  <a:pt x="79" y="144"/>
                  <a:pt x="79" y="144"/>
                  <a:pt x="79" y="144"/>
                </a:cubicBezTo>
                <a:cubicBezTo>
                  <a:pt x="79" y="144"/>
                  <a:pt x="80" y="144"/>
                  <a:pt x="80" y="144"/>
                </a:cubicBezTo>
                <a:cubicBezTo>
                  <a:pt x="80" y="144"/>
                  <a:pt x="81" y="144"/>
                  <a:pt x="81" y="144"/>
                </a:cubicBezTo>
                <a:cubicBezTo>
                  <a:pt x="81" y="144"/>
                  <a:pt x="81" y="144"/>
                  <a:pt x="81" y="144"/>
                </a:cubicBezTo>
                <a:cubicBezTo>
                  <a:pt x="81" y="144"/>
                  <a:pt x="81" y="144"/>
                  <a:pt x="81" y="144"/>
                </a:cubicBezTo>
                <a:cubicBezTo>
                  <a:pt x="82" y="143"/>
                  <a:pt x="82" y="143"/>
                  <a:pt x="82" y="143"/>
                </a:cubicBezTo>
                <a:cubicBezTo>
                  <a:pt x="82" y="143"/>
                  <a:pt x="82" y="143"/>
                  <a:pt x="82" y="143"/>
                </a:cubicBezTo>
                <a:cubicBezTo>
                  <a:pt x="159" y="47"/>
                  <a:pt x="159" y="47"/>
                  <a:pt x="159" y="47"/>
                </a:cubicBezTo>
                <a:cubicBezTo>
                  <a:pt x="159" y="47"/>
                  <a:pt x="159" y="47"/>
                  <a:pt x="160" y="47"/>
                </a:cubicBezTo>
                <a:cubicBezTo>
                  <a:pt x="160" y="47"/>
                  <a:pt x="160" y="47"/>
                  <a:pt x="160" y="47"/>
                </a:cubicBezTo>
                <a:cubicBezTo>
                  <a:pt x="160" y="47"/>
                  <a:pt x="160" y="47"/>
                  <a:pt x="160" y="46"/>
                </a:cubicBezTo>
                <a:cubicBezTo>
                  <a:pt x="160" y="46"/>
                  <a:pt x="160" y="46"/>
                  <a:pt x="160" y="46"/>
                </a:cubicBezTo>
                <a:cubicBezTo>
                  <a:pt x="160" y="46"/>
                  <a:pt x="160" y="46"/>
                  <a:pt x="160" y="46"/>
                </a:cubicBezTo>
                <a:close/>
                <a:moveTo>
                  <a:pt x="86" y="5"/>
                </a:moveTo>
                <a:cubicBezTo>
                  <a:pt x="127" y="5"/>
                  <a:pt x="127" y="5"/>
                  <a:pt x="127" y="5"/>
                </a:cubicBezTo>
                <a:cubicBezTo>
                  <a:pt x="114" y="40"/>
                  <a:pt x="114" y="40"/>
                  <a:pt x="114" y="40"/>
                </a:cubicBezTo>
                <a:lnTo>
                  <a:pt x="86" y="5"/>
                </a:lnTo>
                <a:close/>
                <a:moveTo>
                  <a:pt x="109" y="43"/>
                </a:moveTo>
                <a:cubicBezTo>
                  <a:pt x="51" y="43"/>
                  <a:pt x="51" y="43"/>
                  <a:pt x="51" y="43"/>
                </a:cubicBezTo>
                <a:cubicBezTo>
                  <a:pt x="80" y="7"/>
                  <a:pt x="80" y="7"/>
                  <a:pt x="80" y="7"/>
                </a:cubicBezTo>
                <a:lnTo>
                  <a:pt x="109" y="43"/>
                </a:lnTo>
                <a:close/>
                <a:moveTo>
                  <a:pt x="46" y="40"/>
                </a:moveTo>
                <a:cubicBezTo>
                  <a:pt x="33" y="5"/>
                  <a:pt x="33" y="5"/>
                  <a:pt x="33" y="5"/>
                </a:cubicBezTo>
                <a:cubicBezTo>
                  <a:pt x="74" y="5"/>
                  <a:pt x="74" y="5"/>
                  <a:pt x="74" y="5"/>
                </a:cubicBezTo>
                <a:lnTo>
                  <a:pt x="46" y="40"/>
                </a:lnTo>
                <a:close/>
                <a:moveTo>
                  <a:pt x="111" y="48"/>
                </a:moveTo>
                <a:cubicBezTo>
                  <a:pt x="80" y="132"/>
                  <a:pt x="80" y="132"/>
                  <a:pt x="80" y="132"/>
                </a:cubicBezTo>
                <a:cubicBezTo>
                  <a:pt x="49" y="48"/>
                  <a:pt x="49" y="48"/>
                  <a:pt x="49" y="48"/>
                </a:cubicBezTo>
                <a:lnTo>
                  <a:pt x="111" y="48"/>
                </a:lnTo>
                <a:close/>
                <a:moveTo>
                  <a:pt x="131" y="9"/>
                </a:moveTo>
                <a:cubicBezTo>
                  <a:pt x="153" y="43"/>
                  <a:pt x="153" y="43"/>
                  <a:pt x="153" y="43"/>
                </a:cubicBezTo>
                <a:cubicBezTo>
                  <a:pt x="119" y="43"/>
                  <a:pt x="119" y="43"/>
                  <a:pt x="119" y="43"/>
                </a:cubicBezTo>
                <a:lnTo>
                  <a:pt x="131" y="9"/>
                </a:lnTo>
                <a:close/>
                <a:moveTo>
                  <a:pt x="29" y="9"/>
                </a:moveTo>
                <a:cubicBezTo>
                  <a:pt x="41" y="43"/>
                  <a:pt x="41" y="43"/>
                  <a:pt x="41" y="43"/>
                </a:cubicBezTo>
                <a:cubicBezTo>
                  <a:pt x="7" y="43"/>
                  <a:pt x="7" y="43"/>
                  <a:pt x="7" y="43"/>
                </a:cubicBezTo>
                <a:lnTo>
                  <a:pt x="29" y="9"/>
                </a:lnTo>
                <a:close/>
                <a:moveTo>
                  <a:pt x="43" y="48"/>
                </a:moveTo>
                <a:cubicBezTo>
                  <a:pt x="72" y="127"/>
                  <a:pt x="72" y="127"/>
                  <a:pt x="72" y="127"/>
                </a:cubicBezTo>
                <a:cubicBezTo>
                  <a:pt x="8" y="48"/>
                  <a:pt x="8" y="48"/>
                  <a:pt x="8" y="48"/>
                </a:cubicBezTo>
                <a:lnTo>
                  <a:pt x="43" y="48"/>
                </a:lnTo>
                <a:close/>
                <a:moveTo>
                  <a:pt x="86" y="129"/>
                </a:moveTo>
                <a:cubicBezTo>
                  <a:pt x="117" y="48"/>
                  <a:pt x="117" y="48"/>
                  <a:pt x="117" y="48"/>
                </a:cubicBezTo>
                <a:cubicBezTo>
                  <a:pt x="152" y="48"/>
                  <a:pt x="152" y="48"/>
                  <a:pt x="152" y="48"/>
                </a:cubicBezTo>
                <a:lnTo>
                  <a:pt x="86" y="129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en-US">
              <a:latin typeface="Arial" panose="020B0604020202020204" pitchFamily="34" charset="0"/>
              <a:ea typeface="微软雅黑" panose="020B0503020204020204" pitchFamily="34" charset="-122"/>
              <a:cs typeface="思源黑体 CN Regular" panose="020B0500000000000000" charset="-122"/>
              <a:sym typeface="Arial" panose="020B0604020202020204" pitchFamily="34" charset="0"/>
            </a:endParaRPr>
          </a:p>
        </p:txBody>
      </p:sp>
      <p:sp>
        <p:nvSpPr>
          <p:cNvPr id="27" name="Freeform 1147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SpPr>
            <a:spLocks noEditPoints="1"/>
          </p:cNvSpPr>
          <p:nvPr/>
        </p:nvSpPr>
        <p:spPr bwMode="auto">
          <a:xfrm>
            <a:off x="6833196" y="2452209"/>
            <a:ext cx="380584" cy="382753"/>
          </a:xfrm>
          <a:custGeom>
            <a:avLst/>
            <a:gdLst>
              <a:gd name="T0" fmla="*/ 116 w 163"/>
              <a:gd name="T1" fmla="*/ 11 h 163"/>
              <a:gd name="T2" fmla="*/ 11 w 163"/>
              <a:gd name="T3" fmla="*/ 115 h 163"/>
              <a:gd name="T4" fmla="*/ 10 w 163"/>
              <a:gd name="T5" fmla="*/ 116 h 163"/>
              <a:gd name="T6" fmla="*/ 10 w 163"/>
              <a:gd name="T7" fmla="*/ 116 h 163"/>
              <a:gd name="T8" fmla="*/ 0 w 163"/>
              <a:gd name="T9" fmla="*/ 160 h 163"/>
              <a:gd name="T10" fmla="*/ 0 w 163"/>
              <a:gd name="T11" fmla="*/ 161 h 163"/>
              <a:gd name="T12" fmla="*/ 1 w 163"/>
              <a:gd name="T13" fmla="*/ 162 h 163"/>
              <a:gd name="T14" fmla="*/ 3 w 163"/>
              <a:gd name="T15" fmla="*/ 163 h 163"/>
              <a:gd name="T16" fmla="*/ 47 w 163"/>
              <a:gd name="T17" fmla="*/ 153 h 163"/>
              <a:gd name="T18" fmla="*/ 47 w 163"/>
              <a:gd name="T19" fmla="*/ 152 h 163"/>
              <a:gd name="T20" fmla="*/ 48 w 163"/>
              <a:gd name="T21" fmla="*/ 152 h 163"/>
              <a:gd name="T22" fmla="*/ 152 w 163"/>
              <a:gd name="T23" fmla="*/ 47 h 163"/>
              <a:gd name="T24" fmla="*/ 148 w 163"/>
              <a:gd name="T25" fmla="*/ 15 h 163"/>
              <a:gd name="T26" fmla="*/ 122 w 163"/>
              <a:gd name="T27" fmla="*/ 13 h 163"/>
              <a:gd name="T28" fmla="*/ 134 w 163"/>
              <a:gd name="T29" fmla="*/ 58 h 163"/>
              <a:gd name="T30" fmla="*/ 109 w 163"/>
              <a:gd name="T31" fmla="*/ 25 h 163"/>
              <a:gd name="T32" fmla="*/ 134 w 163"/>
              <a:gd name="T33" fmla="*/ 58 h 163"/>
              <a:gd name="T34" fmla="*/ 10 w 163"/>
              <a:gd name="T35" fmla="*/ 149 h 163"/>
              <a:gd name="T36" fmla="*/ 15 w 163"/>
              <a:gd name="T37" fmla="*/ 120 h 163"/>
              <a:gd name="T38" fmla="*/ 27 w 163"/>
              <a:gd name="T39" fmla="*/ 133 h 163"/>
              <a:gd name="T40" fmla="*/ 27 w 163"/>
              <a:gd name="T41" fmla="*/ 134 h 163"/>
              <a:gd name="T42" fmla="*/ 27 w 163"/>
              <a:gd name="T43" fmla="*/ 135 h 163"/>
              <a:gd name="T44" fmla="*/ 27 w 163"/>
              <a:gd name="T45" fmla="*/ 135 h 163"/>
              <a:gd name="T46" fmla="*/ 28 w 163"/>
              <a:gd name="T47" fmla="*/ 136 h 163"/>
              <a:gd name="T48" fmla="*/ 29 w 163"/>
              <a:gd name="T49" fmla="*/ 136 h 163"/>
              <a:gd name="T50" fmla="*/ 30 w 163"/>
              <a:gd name="T51" fmla="*/ 136 h 163"/>
              <a:gd name="T52" fmla="*/ 30 w 163"/>
              <a:gd name="T53" fmla="*/ 136 h 163"/>
              <a:gd name="T54" fmla="*/ 30 w 163"/>
              <a:gd name="T55" fmla="*/ 136 h 163"/>
              <a:gd name="T56" fmla="*/ 43 w 163"/>
              <a:gd name="T57" fmla="*/ 148 h 163"/>
              <a:gd name="T58" fmla="*/ 14 w 163"/>
              <a:gd name="T59" fmla="*/ 153 h 163"/>
              <a:gd name="T60" fmla="*/ 51 w 163"/>
              <a:gd name="T61" fmla="*/ 133 h 163"/>
              <a:gd name="T62" fmla="*/ 116 w 163"/>
              <a:gd name="T63" fmla="*/ 64 h 163"/>
              <a:gd name="T64" fmla="*/ 47 w 163"/>
              <a:gd name="T65" fmla="*/ 129 h 163"/>
              <a:gd name="T66" fmla="*/ 34 w 163"/>
              <a:gd name="T67" fmla="*/ 116 h 163"/>
              <a:gd name="T68" fmla="*/ 99 w 163"/>
              <a:gd name="T69" fmla="*/ 47 h 163"/>
              <a:gd name="T70" fmla="*/ 30 w 163"/>
              <a:gd name="T71" fmla="*/ 112 h 163"/>
              <a:gd name="T72" fmla="*/ 101 w 163"/>
              <a:gd name="T73" fmla="*/ 33 h 163"/>
              <a:gd name="T74" fmla="*/ 50 w 163"/>
              <a:gd name="T75" fmla="*/ 142 h 163"/>
              <a:gd name="T76" fmla="*/ 142 w 163"/>
              <a:gd name="T77" fmla="*/ 50 h 163"/>
              <a:gd name="T78" fmla="*/ 118 w 163"/>
              <a:gd name="T79" fmla="*/ 17 h 163"/>
              <a:gd name="T80" fmla="*/ 142 w 163"/>
              <a:gd name="T81" fmla="*/ 50 h 16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163" h="163">
                <a:moveTo>
                  <a:pt x="152" y="11"/>
                </a:moveTo>
                <a:cubicBezTo>
                  <a:pt x="142" y="0"/>
                  <a:pt x="126" y="0"/>
                  <a:pt x="116" y="11"/>
                </a:cubicBezTo>
                <a:cubicBezTo>
                  <a:pt x="11" y="115"/>
                  <a:pt x="11" y="115"/>
                  <a:pt x="11" y="115"/>
                </a:cubicBezTo>
                <a:cubicBezTo>
                  <a:pt x="11" y="115"/>
                  <a:pt x="11" y="115"/>
                  <a:pt x="11" y="115"/>
                </a:cubicBezTo>
                <a:cubicBezTo>
                  <a:pt x="11" y="115"/>
                  <a:pt x="11" y="115"/>
                  <a:pt x="11" y="115"/>
                </a:cubicBezTo>
                <a:cubicBezTo>
                  <a:pt x="11" y="116"/>
                  <a:pt x="11" y="116"/>
                  <a:pt x="10" y="116"/>
                </a:cubicBezTo>
                <a:cubicBezTo>
                  <a:pt x="10" y="116"/>
                  <a:pt x="10" y="116"/>
                  <a:pt x="10" y="116"/>
                </a:cubicBezTo>
                <a:cubicBezTo>
                  <a:pt x="10" y="116"/>
                  <a:pt x="10" y="116"/>
                  <a:pt x="10" y="116"/>
                </a:cubicBezTo>
                <a:cubicBezTo>
                  <a:pt x="0" y="159"/>
                  <a:pt x="0" y="159"/>
                  <a:pt x="0" y="159"/>
                </a:cubicBezTo>
                <a:cubicBezTo>
                  <a:pt x="0" y="160"/>
                  <a:pt x="0" y="160"/>
                  <a:pt x="0" y="160"/>
                </a:cubicBezTo>
                <a:cubicBezTo>
                  <a:pt x="0" y="160"/>
                  <a:pt x="0" y="160"/>
                  <a:pt x="0" y="160"/>
                </a:cubicBezTo>
                <a:cubicBezTo>
                  <a:pt x="0" y="160"/>
                  <a:pt x="0" y="161"/>
                  <a:pt x="0" y="161"/>
                </a:cubicBezTo>
                <a:cubicBezTo>
                  <a:pt x="0" y="161"/>
                  <a:pt x="0" y="161"/>
                  <a:pt x="0" y="161"/>
                </a:cubicBezTo>
                <a:cubicBezTo>
                  <a:pt x="0" y="162"/>
                  <a:pt x="1" y="162"/>
                  <a:pt x="1" y="162"/>
                </a:cubicBezTo>
                <a:cubicBezTo>
                  <a:pt x="1" y="162"/>
                  <a:pt x="1" y="163"/>
                  <a:pt x="2" y="163"/>
                </a:cubicBezTo>
                <a:cubicBezTo>
                  <a:pt x="2" y="163"/>
                  <a:pt x="3" y="163"/>
                  <a:pt x="3" y="163"/>
                </a:cubicBezTo>
                <a:cubicBezTo>
                  <a:pt x="3" y="163"/>
                  <a:pt x="3" y="163"/>
                  <a:pt x="4" y="163"/>
                </a:cubicBezTo>
                <a:cubicBezTo>
                  <a:pt x="47" y="153"/>
                  <a:pt x="47" y="153"/>
                  <a:pt x="47" y="153"/>
                </a:cubicBezTo>
                <a:cubicBezTo>
                  <a:pt x="47" y="153"/>
                  <a:pt x="47" y="153"/>
                  <a:pt x="47" y="153"/>
                </a:cubicBezTo>
                <a:cubicBezTo>
                  <a:pt x="47" y="153"/>
                  <a:pt x="47" y="153"/>
                  <a:pt x="47" y="152"/>
                </a:cubicBezTo>
                <a:cubicBezTo>
                  <a:pt x="47" y="152"/>
                  <a:pt x="47" y="152"/>
                  <a:pt x="48" y="152"/>
                </a:cubicBezTo>
                <a:cubicBezTo>
                  <a:pt x="48" y="152"/>
                  <a:pt x="48" y="152"/>
                  <a:pt x="48" y="152"/>
                </a:cubicBezTo>
                <a:cubicBezTo>
                  <a:pt x="48" y="152"/>
                  <a:pt x="48" y="152"/>
                  <a:pt x="48" y="152"/>
                </a:cubicBezTo>
                <a:cubicBezTo>
                  <a:pt x="152" y="47"/>
                  <a:pt x="152" y="47"/>
                  <a:pt x="152" y="47"/>
                </a:cubicBezTo>
                <a:cubicBezTo>
                  <a:pt x="163" y="37"/>
                  <a:pt x="163" y="21"/>
                  <a:pt x="152" y="11"/>
                </a:cubicBezTo>
                <a:close/>
                <a:moveTo>
                  <a:pt x="148" y="15"/>
                </a:moveTo>
                <a:cubicBezTo>
                  <a:pt x="155" y="22"/>
                  <a:pt x="156" y="33"/>
                  <a:pt x="150" y="41"/>
                </a:cubicBezTo>
                <a:cubicBezTo>
                  <a:pt x="122" y="13"/>
                  <a:pt x="122" y="13"/>
                  <a:pt x="122" y="13"/>
                </a:cubicBezTo>
                <a:cubicBezTo>
                  <a:pt x="130" y="7"/>
                  <a:pt x="141" y="8"/>
                  <a:pt x="148" y="15"/>
                </a:cubicBezTo>
                <a:close/>
                <a:moveTo>
                  <a:pt x="134" y="58"/>
                </a:moveTo>
                <a:cubicBezTo>
                  <a:pt x="105" y="29"/>
                  <a:pt x="105" y="29"/>
                  <a:pt x="105" y="29"/>
                </a:cubicBezTo>
                <a:cubicBezTo>
                  <a:pt x="109" y="25"/>
                  <a:pt x="109" y="25"/>
                  <a:pt x="109" y="25"/>
                </a:cubicBezTo>
                <a:cubicBezTo>
                  <a:pt x="138" y="54"/>
                  <a:pt x="138" y="54"/>
                  <a:pt x="138" y="54"/>
                </a:cubicBezTo>
                <a:lnTo>
                  <a:pt x="134" y="58"/>
                </a:lnTo>
                <a:close/>
                <a:moveTo>
                  <a:pt x="14" y="149"/>
                </a:moveTo>
                <a:cubicBezTo>
                  <a:pt x="13" y="148"/>
                  <a:pt x="11" y="148"/>
                  <a:pt x="10" y="149"/>
                </a:cubicBezTo>
                <a:cubicBezTo>
                  <a:pt x="8" y="151"/>
                  <a:pt x="8" y="151"/>
                  <a:pt x="8" y="151"/>
                </a:cubicBezTo>
                <a:cubicBezTo>
                  <a:pt x="15" y="120"/>
                  <a:pt x="15" y="120"/>
                  <a:pt x="15" y="120"/>
                </a:cubicBezTo>
                <a:cubicBezTo>
                  <a:pt x="28" y="118"/>
                  <a:pt x="28" y="118"/>
                  <a:pt x="28" y="118"/>
                </a:cubicBezTo>
                <a:cubicBezTo>
                  <a:pt x="27" y="133"/>
                  <a:pt x="27" y="133"/>
                  <a:pt x="27" y="133"/>
                </a:cubicBezTo>
                <a:cubicBezTo>
                  <a:pt x="27" y="133"/>
                  <a:pt x="27" y="133"/>
                  <a:pt x="27" y="133"/>
                </a:cubicBezTo>
                <a:cubicBezTo>
                  <a:pt x="27" y="134"/>
                  <a:pt x="27" y="134"/>
                  <a:pt x="27" y="134"/>
                </a:cubicBezTo>
                <a:cubicBezTo>
                  <a:pt x="27" y="134"/>
                  <a:pt x="27" y="134"/>
                  <a:pt x="27" y="134"/>
                </a:cubicBezTo>
                <a:cubicBezTo>
                  <a:pt x="27" y="134"/>
                  <a:pt x="27" y="134"/>
                  <a:pt x="27" y="135"/>
                </a:cubicBezTo>
                <a:cubicBezTo>
                  <a:pt x="27" y="135"/>
                  <a:pt x="27" y="135"/>
                  <a:pt x="27" y="135"/>
                </a:cubicBezTo>
                <a:cubicBezTo>
                  <a:pt x="27" y="135"/>
                  <a:pt x="27" y="135"/>
                  <a:pt x="27" y="135"/>
                </a:cubicBezTo>
                <a:cubicBezTo>
                  <a:pt x="28" y="136"/>
                  <a:pt x="28" y="136"/>
                  <a:pt x="28" y="136"/>
                </a:cubicBezTo>
                <a:cubicBezTo>
                  <a:pt x="28" y="136"/>
                  <a:pt x="28" y="136"/>
                  <a:pt x="28" y="136"/>
                </a:cubicBezTo>
                <a:cubicBezTo>
                  <a:pt x="28" y="136"/>
                  <a:pt x="29" y="136"/>
                  <a:pt x="29" y="136"/>
                </a:cubicBezTo>
                <a:cubicBezTo>
                  <a:pt x="29" y="136"/>
                  <a:pt x="29" y="136"/>
                  <a:pt x="29" y="136"/>
                </a:cubicBezTo>
                <a:cubicBezTo>
                  <a:pt x="29" y="136"/>
                  <a:pt x="29" y="136"/>
                  <a:pt x="30" y="136"/>
                </a:cubicBezTo>
                <a:cubicBezTo>
                  <a:pt x="30" y="136"/>
                  <a:pt x="30" y="136"/>
                  <a:pt x="30" y="136"/>
                </a:cubicBezTo>
                <a:cubicBezTo>
                  <a:pt x="30" y="136"/>
                  <a:pt x="30" y="136"/>
                  <a:pt x="30" y="136"/>
                </a:cubicBezTo>
                <a:cubicBezTo>
                  <a:pt x="30" y="136"/>
                  <a:pt x="30" y="136"/>
                  <a:pt x="30" y="136"/>
                </a:cubicBezTo>
                <a:cubicBezTo>
                  <a:pt x="30" y="136"/>
                  <a:pt x="30" y="136"/>
                  <a:pt x="30" y="136"/>
                </a:cubicBezTo>
                <a:cubicBezTo>
                  <a:pt x="30" y="136"/>
                  <a:pt x="30" y="136"/>
                  <a:pt x="30" y="136"/>
                </a:cubicBezTo>
                <a:cubicBezTo>
                  <a:pt x="45" y="135"/>
                  <a:pt x="45" y="135"/>
                  <a:pt x="45" y="135"/>
                </a:cubicBezTo>
                <a:cubicBezTo>
                  <a:pt x="43" y="148"/>
                  <a:pt x="43" y="148"/>
                  <a:pt x="43" y="148"/>
                </a:cubicBezTo>
                <a:cubicBezTo>
                  <a:pt x="12" y="155"/>
                  <a:pt x="12" y="155"/>
                  <a:pt x="12" y="155"/>
                </a:cubicBezTo>
                <a:cubicBezTo>
                  <a:pt x="14" y="153"/>
                  <a:pt x="14" y="153"/>
                  <a:pt x="14" y="153"/>
                </a:cubicBezTo>
                <a:cubicBezTo>
                  <a:pt x="15" y="152"/>
                  <a:pt x="15" y="150"/>
                  <a:pt x="14" y="149"/>
                </a:cubicBezTo>
                <a:close/>
                <a:moveTo>
                  <a:pt x="51" y="133"/>
                </a:moveTo>
                <a:cubicBezTo>
                  <a:pt x="116" y="68"/>
                  <a:pt x="116" y="68"/>
                  <a:pt x="116" y="68"/>
                </a:cubicBezTo>
                <a:cubicBezTo>
                  <a:pt x="117" y="67"/>
                  <a:pt x="117" y="65"/>
                  <a:pt x="116" y="64"/>
                </a:cubicBezTo>
                <a:cubicBezTo>
                  <a:pt x="114" y="63"/>
                  <a:pt x="113" y="63"/>
                  <a:pt x="111" y="64"/>
                </a:cubicBezTo>
                <a:cubicBezTo>
                  <a:pt x="47" y="129"/>
                  <a:pt x="47" y="129"/>
                  <a:pt x="47" y="129"/>
                </a:cubicBezTo>
                <a:cubicBezTo>
                  <a:pt x="33" y="130"/>
                  <a:pt x="33" y="130"/>
                  <a:pt x="33" y="130"/>
                </a:cubicBezTo>
                <a:cubicBezTo>
                  <a:pt x="34" y="116"/>
                  <a:pt x="34" y="116"/>
                  <a:pt x="34" y="116"/>
                </a:cubicBezTo>
                <a:cubicBezTo>
                  <a:pt x="99" y="52"/>
                  <a:pt x="99" y="52"/>
                  <a:pt x="99" y="52"/>
                </a:cubicBezTo>
                <a:cubicBezTo>
                  <a:pt x="100" y="50"/>
                  <a:pt x="100" y="49"/>
                  <a:pt x="99" y="47"/>
                </a:cubicBezTo>
                <a:cubicBezTo>
                  <a:pt x="98" y="46"/>
                  <a:pt x="96" y="46"/>
                  <a:pt x="95" y="47"/>
                </a:cubicBezTo>
                <a:cubicBezTo>
                  <a:pt x="30" y="112"/>
                  <a:pt x="30" y="112"/>
                  <a:pt x="30" y="112"/>
                </a:cubicBezTo>
                <a:cubicBezTo>
                  <a:pt x="21" y="113"/>
                  <a:pt x="21" y="113"/>
                  <a:pt x="21" y="113"/>
                </a:cubicBezTo>
                <a:cubicBezTo>
                  <a:pt x="101" y="33"/>
                  <a:pt x="101" y="33"/>
                  <a:pt x="101" y="33"/>
                </a:cubicBezTo>
                <a:cubicBezTo>
                  <a:pt x="130" y="62"/>
                  <a:pt x="130" y="62"/>
                  <a:pt x="130" y="62"/>
                </a:cubicBezTo>
                <a:cubicBezTo>
                  <a:pt x="50" y="142"/>
                  <a:pt x="50" y="142"/>
                  <a:pt x="50" y="142"/>
                </a:cubicBezTo>
                <a:lnTo>
                  <a:pt x="51" y="133"/>
                </a:lnTo>
                <a:close/>
                <a:moveTo>
                  <a:pt x="142" y="50"/>
                </a:moveTo>
                <a:cubicBezTo>
                  <a:pt x="113" y="21"/>
                  <a:pt x="113" y="21"/>
                  <a:pt x="113" y="21"/>
                </a:cubicBezTo>
                <a:cubicBezTo>
                  <a:pt x="118" y="17"/>
                  <a:pt x="118" y="17"/>
                  <a:pt x="118" y="17"/>
                </a:cubicBezTo>
                <a:cubicBezTo>
                  <a:pt x="146" y="45"/>
                  <a:pt x="146" y="45"/>
                  <a:pt x="146" y="45"/>
                </a:cubicBezTo>
                <a:lnTo>
                  <a:pt x="142" y="5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en-US">
              <a:latin typeface="Arial" panose="020B0604020202020204" pitchFamily="34" charset="0"/>
              <a:ea typeface="微软雅黑" panose="020B0503020204020204" pitchFamily="34" charset="-122"/>
              <a:cs typeface="思源黑体 CN Regular" panose="020B0500000000000000" charset="-122"/>
              <a:sym typeface="Arial" panose="020B0604020202020204" pitchFamily="34" charset="0"/>
            </a:endParaRPr>
          </a:p>
        </p:txBody>
      </p:sp>
      <p:sp>
        <p:nvSpPr>
          <p:cNvPr id="28" name="Freeform 2123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SpPr>
            <a:spLocks noEditPoints="1"/>
          </p:cNvSpPr>
          <p:nvPr/>
        </p:nvSpPr>
        <p:spPr bwMode="auto">
          <a:xfrm>
            <a:off x="4958349" y="4500812"/>
            <a:ext cx="344803" cy="375162"/>
          </a:xfrm>
          <a:custGeom>
            <a:avLst/>
            <a:gdLst>
              <a:gd name="T0" fmla="*/ 24 w 148"/>
              <a:gd name="T1" fmla="*/ 74 h 160"/>
              <a:gd name="T2" fmla="*/ 56 w 148"/>
              <a:gd name="T3" fmla="*/ 148 h 160"/>
              <a:gd name="T4" fmla="*/ 62 w 148"/>
              <a:gd name="T5" fmla="*/ 151 h 160"/>
              <a:gd name="T6" fmla="*/ 65 w 148"/>
              <a:gd name="T7" fmla="*/ 160 h 160"/>
              <a:gd name="T8" fmla="*/ 86 w 148"/>
              <a:gd name="T9" fmla="*/ 157 h 160"/>
              <a:gd name="T10" fmla="*/ 89 w 148"/>
              <a:gd name="T11" fmla="*/ 151 h 160"/>
              <a:gd name="T12" fmla="*/ 92 w 148"/>
              <a:gd name="T13" fmla="*/ 121 h 160"/>
              <a:gd name="T14" fmla="*/ 74 w 148"/>
              <a:gd name="T15" fmla="*/ 24 h 160"/>
              <a:gd name="T16" fmla="*/ 80 w 148"/>
              <a:gd name="T17" fmla="*/ 148 h 160"/>
              <a:gd name="T18" fmla="*/ 68 w 148"/>
              <a:gd name="T19" fmla="*/ 154 h 160"/>
              <a:gd name="T20" fmla="*/ 65 w 148"/>
              <a:gd name="T21" fmla="*/ 145 h 160"/>
              <a:gd name="T22" fmla="*/ 62 w 148"/>
              <a:gd name="T23" fmla="*/ 130 h 160"/>
              <a:gd name="T24" fmla="*/ 86 w 148"/>
              <a:gd name="T25" fmla="*/ 145 h 160"/>
              <a:gd name="T26" fmla="*/ 88 w 148"/>
              <a:gd name="T27" fmla="*/ 116 h 160"/>
              <a:gd name="T28" fmla="*/ 86 w 148"/>
              <a:gd name="T29" fmla="*/ 124 h 160"/>
              <a:gd name="T30" fmla="*/ 62 w 148"/>
              <a:gd name="T31" fmla="*/ 119 h 160"/>
              <a:gd name="T32" fmla="*/ 30 w 148"/>
              <a:gd name="T33" fmla="*/ 74 h 160"/>
              <a:gd name="T34" fmla="*/ 119 w 148"/>
              <a:gd name="T35" fmla="*/ 74 h 160"/>
              <a:gd name="T36" fmla="*/ 71 w 148"/>
              <a:gd name="T37" fmla="*/ 15 h 160"/>
              <a:gd name="T38" fmla="*/ 74 w 148"/>
              <a:gd name="T39" fmla="*/ 0 h 160"/>
              <a:gd name="T40" fmla="*/ 77 w 148"/>
              <a:gd name="T41" fmla="*/ 15 h 160"/>
              <a:gd name="T42" fmla="*/ 71 w 148"/>
              <a:gd name="T43" fmla="*/ 15 h 160"/>
              <a:gd name="T44" fmla="*/ 145 w 148"/>
              <a:gd name="T45" fmla="*/ 77 h 160"/>
              <a:gd name="T46" fmla="*/ 130 w 148"/>
              <a:gd name="T47" fmla="*/ 74 h 160"/>
              <a:gd name="T48" fmla="*/ 145 w 148"/>
              <a:gd name="T49" fmla="*/ 71 h 160"/>
              <a:gd name="T50" fmla="*/ 18 w 148"/>
              <a:gd name="T51" fmla="*/ 74 h 160"/>
              <a:gd name="T52" fmla="*/ 3 w 148"/>
              <a:gd name="T53" fmla="*/ 77 h 160"/>
              <a:gd name="T54" fmla="*/ 3 w 148"/>
              <a:gd name="T55" fmla="*/ 71 h 160"/>
              <a:gd name="T56" fmla="*/ 18 w 148"/>
              <a:gd name="T57" fmla="*/ 74 h 160"/>
              <a:gd name="T58" fmla="*/ 126 w 148"/>
              <a:gd name="T59" fmla="*/ 26 h 160"/>
              <a:gd name="T60" fmla="*/ 116 w 148"/>
              <a:gd name="T61" fmla="*/ 35 h 160"/>
              <a:gd name="T62" fmla="*/ 114 w 148"/>
              <a:gd name="T63" fmla="*/ 30 h 160"/>
              <a:gd name="T64" fmla="*/ 126 w 148"/>
              <a:gd name="T65" fmla="*/ 22 h 160"/>
              <a:gd name="T66" fmla="*/ 34 w 148"/>
              <a:gd name="T67" fmla="*/ 118 h 160"/>
              <a:gd name="T68" fmla="*/ 24 w 148"/>
              <a:gd name="T69" fmla="*/ 127 h 160"/>
              <a:gd name="T70" fmla="*/ 22 w 148"/>
              <a:gd name="T71" fmla="*/ 122 h 160"/>
              <a:gd name="T72" fmla="*/ 34 w 148"/>
              <a:gd name="T73" fmla="*/ 114 h 160"/>
              <a:gd name="T74" fmla="*/ 126 w 148"/>
              <a:gd name="T75" fmla="*/ 126 h 160"/>
              <a:gd name="T76" fmla="*/ 122 w 148"/>
              <a:gd name="T77" fmla="*/ 126 h 160"/>
              <a:gd name="T78" fmla="*/ 114 w 148"/>
              <a:gd name="T79" fmla="*/ 114 h 160"/>
              <a:gd name="T80" fmla="*/ 126 w 148"/>
              <a:gd name="T81" fmla="*/ 122 h 160"/>
              <a:gd name="T82" fmla="*/ 22 w 148"/>
              <a:gd name="T83" fmla="*/ 22 h 160"/>
              <a:gd name="T84" fmla="*/ 34 w 148"/>
              <a:gd name="T85" fmla="*/ 30 h 160"/>
              <a:gd name="T86" fmla="*/ 32 w 148"/>
              <a:gd name="T87" fmla="*/ 35 h 160"/>
              <a:gd name="T88" fmla="*/ 22 w 148"/>
              <a:gd name="T89" fmla="*/ 26 h 160"/>
              <a:gd name="T90" fmla="*/ 74 w 148"/>
              <a:gd name="T91" fmla="*/ 44 h 160"/>
              <a:gd name="T92" fmla="*/ 41 w 148"/>
              <a:gd name="T93" fmla="*/ 77 h 160"/>
              <a:gd name="T94" fmla="*/ 74 w 148"/>
              <a:gd name="T95" fmla="*/ 39 h 1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148" h="160">
                <a:moveTo>
                  <a:pt x="74" y="24"/>
                </a:moveTo>
                <a:cubicBezTo>
                  <a:pt x="46" y="24"/>
                  <a:pt x="24" y="46"/>
                  <a:pt x="24" y="74"/>
                </a:cubicBezTo>
                <a:cubicBezTo>
                  <a:pt x="24" y="95"/>
                  <a:pt x="37" y="114"/>
                  <a:pt x="56" y="121"/>
                </a:cubicBezTo>
                <a:cubicBezTo>
                  <a:pt x="56" y="148"/>
                  <a:pt x="56" y="148"/>
                  <a:pt x="56" y="148"/>
                </a:cubicBezTo>
                <a:cubicBezTo>
                  <a:pt x="56" y="150"/>
                  <a:pt x="58" y="151"/>
                  <a:pt x="59" y="151"/>
                </a:cubicBezTo>
                <a:cubicBezTo>
                  <a:pt x="62" y="151"/>
                  <a:pt x="62" y="151"/>
                  <a:pt x="62" y="151"/>
                </a:cubicBezTo>
                <a:cubicBezTo>
                  <a:pt x="62" y="157"/>
                  <a:pt x="62" y="157"/>
                  <a:pt x="62" y="157"/>
                </a:cubicBezTo>
                <a:cubicBezTo>
                  <a:pt x="62" y="159"/>
                  <a:pt x="64" y="160"/>
                  <a:pt x="65" y="160"/>
                </a:cubicBezTo>
                <a:cubicBezTo>
                  <a:pt x="83" y="160"/>
                  <a:pt x="83" y="160"/>
                  <a:pt x="83" y="160"/>
                </a:cubicBezTo>
                <a:cubicBezTo>
                  <a:pt x="85" y="160"/>
                  <a:pt x="86" y="159"/>
                  <a:pt x="86" y="157"/>
                </a:cubicBezTo>
                <a:cubicBezTo>
                  <a:pt x="86" y="151"/>
                  <a:pt x="86" y="151"/>
                  <a:pt x="86" y="151"/>
                </a:cubicBezTo>
                <a:cubicBezTo>
                  <a:pt x="89" y="151"/>
                  <a:pt x="89" y="151"/>
                  <a:pt x="89" y="151"/>
                </a:cubicBezTo>
                <a:cubicBezTo>
                  <a:pt x="91" y="151"/>
                  <a:pt x="92" y="150"/>
                  <a:pt x="92" y="148"/>
                </a:cubicBezTo>
                <a:cubicBezTo>
                  <a:pt x="92" y="121"/>
                  <a:pt x="92" y="121"/>
                  <a:pt x="92" y="121"/>
                </a:cubicBezTo>
                <a:cubicBezTo>
                  <a:pt x="111" y="114"/>
                  <a:pt x="124" y="95"/>
                  <a:pt x="124" y="74"/>
                </a:cubicBezTo>
                <a:cubicBezTo>
                  <a:pt x="124" y="46"/>
                  <a:pt x="102" y="24"/>
                  <a:pt x="74" y="24"/>
                </a:cubicBezTo>
                <a:close/>
                <a:moveTo>
                  <a:pt x="83" y="145"/>
                </a:moveTo>
                <a:cubicBezTo>
                  <a:pt x="81" y="145"/>
                  <a:pt x="80" y="147"/>
                  <a:pt x="80" y="148"/>
                </a:cubicBezTo>
                <a:cubicBezTo>
                  <a:pt x="80" y="154"/>
                  <a:pt x="80" y="154"/>
                  <a:pt x="80" y="154"/>
                </a:cubicBezTo>
                <a:cubicBezTo>
                  <a:pt x="68" y="154"/>
                  <a:pt x="68" y="154"/>
                  <a:pt x="68" y="154"/>
                </a:cubicBezTo>
                <a:cubicBezTo>
                  <a:pt x="68" y="148"/>
                  <a:pt x="68" y="148"/>
                  <a:pt x="68" y="148"/>
                </a:cubicBezTo>
                <a:cubicBezTo>
                  <a:pt x="68" y="147"/>
                  <a:pt x="67" y="145"/>
                  <a:pt x="65" y="145"/>
                </a:cubicBezTo>
                <a:cubicBezTo>
                  <a:pt x="62" y="145"/>
                  <a:pt x="62" y="145"/>
                  <a:pt x="62" y="145"/>
                </a:cubicBezTo>
                <a:cubicBezTo>
                  <a:pt x="62" y="130"/>
                  <a:pt x="62" y="130"/>
                  <a:pt x="62" y="130"/>
                </a:cubicBezTo>
                <a:cubicBezTo>
                  <a:pt x="86" y="130"/>
                  <a:pt x="86" y="130"/>
                  <a:pt x="86" y="130"/>
                </a:cubicBezTo>
                <a:cubicBezTo>
                  <a:pt x="86" y="145"/>
                  <a:pt x="86" y="145"/>
                  <a:pt x="86" y="145"/>
                </a:cubicBezTo>
                <a:lnTo>
                  <a:pt x="83" y="145"/>
                </a:lnTo>
                <a:close/>
                <a:moveTo>
                  <a:pt x="88" y="116"/>
                </a:moveTo>
                <a:cubicBezTo>
                  <a:pt x="87" y="117"/>
                  <a:pt x="86" y="118"/>
                  <a:pt x="86" y="119"/>
                </a:cubicBezTo>
                <a:cubicBezTo>
                  <a:pt x="86" y="124"/>
                  <a:pt x="86" y="124"/>
                  <a:pt x="86" y="124"/>
                </a:cubicBezTo>
                <a:cubicBezTo>
                  <a:pt x="62" y="124"/>
                  <a:pt x="62" y="124"/>
                  <a:pt x="62" y="124"/>
                </a:cubicBezTo>
                <a:cubicBezTo>
                  <a:pt x="62" y="119"/>
                  <a:pt x="62" y="119"/>
                  <a:pt x="62" y="119"/>
                </a:cubicBezTo>
                <a:cubicBezTo>
                  <a:pt x="62" y="118"/>
                  <a:pt x="61" y="117"/>
                  <a:pt x="60" y="116"/>
                </a:cubicBezTo>
                <a:cubicBezTo>
                  <a:pt x="42" y="110"/>
                  <a:pt x="30" y="93"/>
                  <a:pt x="30" y="74"/>
                </a:cubicBezTo>
                <a:cubicBezTo>
                  <a:pt x="30" y="50"/>
                  <a:pt x="50" y="30"/>
                  <a:pt x="74" y="30"/>
                </a:cubicBezTo>
                <a:cubicBezTo>
                  <a:pt x="99" y="30"/>
                  <a:pt x="119" y="50"/>
                  <a:pt x="119" y="74"/>
                </a:cubicBezTo>
                <a:cubicBezTo>
                  <a:pt x="119" y="93"/>
                  <a:pt x="106" y="110"/>
                  <a:pt x="88" y="116"/>
                </a:cubicBezTo>
                <a:close/>
                <a:moveTo>
                  <a:pt x="71" y="15"/>
                </a:moveTo>
                <a:cubicBezTo>
                  <a:pt x="71" y="3"/>
                  <a:pt x="71" y="3"/>
                  <a:pt x="71" y="3"/>
                </a:cubicBezTo>
                <a:cubicBezTo>
                  <a:pt x="71" y="1"/>
                  <a:pt x="72" y="0"/>
                  <a:pt x="74" y="0"/>
                </a:cubicBezTo>
                <a:cubicBezTo>
                  <a:pt x="76" y="0"/>
                  <a:pt x="77" y="1"/>
                  <a:pt x="77" y="3"/>
                </a:cubicBezTo>
                <a:cubicBezTo>
                  <a:pt x="77" y="15"/>
                  <a:pt x="77" y="15"/>
                  <a:pt x="77" y="15"/>
                </a:cubicBezTo>
                <a:cubicBezTo>
                  <a:pt x="77" y="16"/>
                  <a:pt x="76" y="18"/>
                  <a:pt x="74" y="18"/>
                </a:cubicBezTo>
                <a:cubicBezTo>
                  <a:pt x="72" y="18"/>
                  <a:pt x="71" y="16"/>
                  <a:pt x="71" y="15"/>
                </a:cubicBezTo>
                <a:close/>
                <a:moveTo>
                  <a:pt x="148" y="74"/>
                </a:moveTo>
                <a:cubicBezTo>
                  <a:pt x="148" y="76"/>
                  <a:pt x="147" y="77"/>
                  <a:pt x="145" y="77"/>
                </a:cubicBezTo>
                <a:cubicBezTo>
                  <a:pt x="133" y="77"/>
                  <a:pt x="133" y="77"/>
                  <a:pt x="133" y="77"/>
                </a:cubicBezTo>
                <a:cubicBezTo>
                  <a:pt x="132" y="77"/>
                  <a:pt x="130" y="76"/>
                  <a:pt x="130" y="74"/>
                </a:cubicBezTo>
                <a:cubicBezTo>
                  <a:pt x="130" y="72"/>
                  <a:pt x="132" y="71"/>
                  <a:pt x="133" y="71"/>
                </a:cubicBezTo>
                <a:cubicBezTo>
                  <a:pt x="145" y="71"/>
                  <a:pt x="145" y="71"/>
                  <a:pt x="145" y="71"/>
                </a:cubicBezTo>
                <a:cubicBezTo>
                  <a:pt x="147" y="71"/>
                  <a:pt x="148" y="72"/>
                  <a:pt x="148" y="74"/>
                </a:cubicBezTo>
                <a:close/>
                <a:moveTo>
                  <a:pt x="18" y="74"/>
                </a:moveTo>
                <a:cubicBezTo>
                  <a:pt x="18" y="76"/>
                  <a:pt x="16" y="77"/>
                  <a:pt x="15" y="77"/>
                </a:cubicBezTo>
                <a:cubicBezTo>
                  <a:pt x="3" y="77"/>
                  <a:pt x="3" y="77"/>
                  <a:pt x="3" y="77"/>
                </a:cubicBezTo>
                <a:cubicBezTo>
                  <a:pt x="1" y="77"/>
                  <a:pt x="0" y="76"/>
                  <a:pt x="0" y="74"/>
                </a:cubicBezTo>
                <a:cubicBezTo>
                  <a:pt x="0" y="72"/>
                  <a:pt x="1" y="71"/>
                  <a:pt x="3" y="71"/>
                </a:cubicBezTo>
                <a:cubicBezTo>
                  <a:pt x="15" y="71"/>
                  <a:pt x="15" y="71"/>
                  <a:pt x="15" y="71"/>
                </a:cubicBezTo>
                <a:cubicBezTo>
                  <a:pt x="16" y="71"/>
                  <a:pt x="18" y="72"/>
                  <a:pt x="18" y="74"/>
                </a:cubicBezTo>
                <a:close/>
                <a:moveTo>
                  <a:pt x="126" y="22"/>
                </a:moveTo>
                <a:cubicBezTo>
                  <a:pt x="128" y="23"/>
                  <a:pt x="128" y="25"/>
                  <a:pt x="126" y="26"/>
                </a:cubicBezTo>
                <a:cubicBezTo>
                  <a:pt x="118" y="34"/>
                  <a:pt x="118" y="34"/>
                  <a:pt x="118" y="34"/>
                </a:cubicBezTo>
                <a:cubicBezTo>
                  <a:pt x="117" y="35"/>
                  <a:pt x="117" y="35"/>
                  <a:pt x="116" y="35"/>
                </a:cubicBezTo>
                <a:cubicBezTo>
                  <a:pt x="115" y="35"/>
                  <a:pt x="114" y="35"/>
                  <a:pt x="114" y="34"/>
                </a:cubicBezTo>
                <a:cubicBezTo>
                  <a:pt x="113" y="33"/>
                  <a:pt x="113" y="31"/>
                  <a:pt x="114" y="30"/>
                </a:cubicBezTo>
                <a:cubicBezTo>
                  <a:pt x="122" y="22"/>
                  <a:pt x="122" y="22"/>
                  <a:pt x="122" y="22"/>
                </a:cubicBezTo>
                <a:cubicBezTo>
                  <a:pt x="123" y="21"/>
                  <a:pt x="125" y="21"/>
                  <a:pt x="126" y="22"/>
                </a:cubicBezTo>
                <a:close/>
                <a:moveTo>
                  <a:pt x="34" y="114"/>
                </a:moveTo>
                <a:cubicBezTo>
                  <a:pt x="35" y="115"/>
                  <a:pt x="35" y="117"/>
                  <a:pt x="34" y="118"/>
                </a:cubicBezTo>
                <a:cubicBezTo>
                  <a:pt x="26" y="126"/>
                  <a:pt x="26" y="126"/>
                  <a:pt x="26" y="126"/>
                </a:cubicBezTo>
                <a:cubicBezTo>
                  <a:pt x="25" y="127"/>
                  <a:pt x="25" y="127"/>
                  <a:pt x="24" y="127"/>
                </a:cubicBezTo>
                <a:cubicBezTo>
                  <a:pt x="23" y="127"/>
                  <a:pt x="22" y="127"/>
                  <a:pt x="22" y="126"/>
                </a:cubicBezTo>
                <a:cubicBezTo>
                  <a:pt x="21" y="125"/>
                  <a:pt x="21" y="123"/>
                  <a:pt x="22" y="122"/>
                </a:cubicBezTo>
                <a:cubicBezTo>
                  <a:pt x="30" y="114"/>
                  <a:pt x="30" y="114"/>
                  <a:pt x="30" y="114"/>
                </a:cubicBezTo>
                <a:cubicBezTo>
                  <a:pt x="31" y="113"/>
                  <a:pt x="33" y="113"/>
                  <a:pt x="34" y="114"/>
                </a:cubicBezTo>
                <a:close/>
                <a:moveTo>
                  <a:pt x="126" y="122"/>
                </a:moveTo>
                <a:cubicBezTo>
                  <a:pt x="128" y="123"/>
                  <a:pt x="128" y="125"/>
                  <a:pt x="126" y="126"/>
                </a:cubicBezTo>
                <a:cubicBezTo>
                  <a:pt x="126" y="127"/>
                  <a:pt x="125" y="127"/>
                  <a:pt x="124" y="127"/>
                </a:cubicBezTo>
                <a:cubicBezTo>
                  <a:pt x="124" y="127"/>
                  <a:pt x="123" y="127"/>
                  <a:pt x="122" y="126"/>
                </a:cubicBezTo>
                <a:cubicBezTo>
                  <a:pt x="114" y="118"/>
                  <a:pt x="114" y="118"/>
                  <a:pt x="114" y="118"/>
                </a:cubicBezTo>
                <a:cubicBezTo>
                  <a:pt x="113" y="117"/>
                  <a:pt x="113" y="115"/>
                  <a:pt x="114" y="114"/>
                </a:cubicBezTo>
                <a:cubicBezTo>
                  <a:pt x="115" y="113"/>
                  <a:pt x="117" y="113"/>
                  <a:pt x="118" y="114"/>
                </a:cubicBezTo>
                <a:lnTo>
                  <a:pt x="126" y="122"/>
                </a:lnTo>
                <a:close/>
                <a:moveTo>
                  <a:pt x="22" y="26"/>
                </a:moveTo>
                <a:cubicBezTo>
                  <a:pt x="21" y="25"/>
                  <a:pt x="21" y="23"/>
                  <a:pt x="22" y="22"/>
                </a:cubicBezTo>
                <a:cubicBezTo>
                  <a:pt x="23" y="21"/>
                  <a:pt x="25" y="21"/>
                  <a:pt x="26" y="22"/>
                </a:cubicBezTo>
                <a:cubicBezTo>
                  <a:pt x="34" y="30"/>
                  <a:pt x="34" y="30"/>
                  <a:pt x="34" y="30"/>
                </a:cubicBezTo>
                <a:cubicBezTo>
                  <a:pt x="35" y="31"/>
                  <a:pt x="35" y="33"/>
                  <a:pt x="34" y="34"/>
                </a:cubicBezTo>
                <a:cubicBezTo>
                  <a:pt x="34" y="35"/>
                  <a:pt x="33" y="35"/>
                  <a:pt x="32" y="35"/>
                </a:cubicBezTo>
                <a:cubicBezTo>
                  <a:pt x="31" y="35"/>
                  <a:pt x="31" y="35"/>
                  <a:pt x="30" y="34"/>
                </a:cubicBezTo>
                <a:lnTo>
                  <a:pt x="22" y="26"/>
                </a:lnTo>
                <a:close/>
                <a:moveTo>
                  <a:pt x="77" y="41"/>
                </a:moveTo>
                <a:cubicBezTo>
                  <a:pt x="77" y="43"/>
                  <a:pt x="76" y="44"/>
                  <a:pt x="74" y="44"/>
                </a:cubicBezTo>
                <a:cubicBezTo>
                  <a:pt x="58" y="44"/>
                  <a:pt x="44" y="58"/>
                  <a:pt x="44" y="74"/>
                </a:cubicBezTo>
                <a:cubicBezTo>
                  <a:pt x="44" y="76"/>
                  <a:pt x="43" y="77"/>
                  <a:pt x="41" y="77"/>
                </a:cubicBezTo>
                <a:cubicBezTo>
                  <a:pt x="40" y="77"/>
                  <a:pt x="39" y="76"/>
                  <a:pt x="39" y="74"/>
                </a:cubicBezTo>
                <a:cubicBezTo>
                  <a:pt x="39" y="54"/>
                  <a:pt x="54" y="39"/>
                  <a:pt x="74" y="39"/>
                </a:cubicBezTo>
                <a:cubicBezTo>
                  <a:pt x="76" y="39"/>
                  <a:pt x="77" y="40"/>
                  <a:pt x="77" y="41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en-US">
              <a:latin typeface="Arial" panose="020B0604020202020204" pitchFamily="34" charset="0"/>
              <a:ea typeface="微软雅黑" panose="020B0503020204020204" pitchFamily="34" charset="-122"/>
              <a:cs typeface="思源黑体 CN Regular" panose="020B0500000000000000" charset="-122"/>
              <a:sym typeface="Arial" panose="020B0604020202020204" pitchFamily="34" charset="0"/>
            </a:endParaRPr>
          </a:p>
        </p:txBody>
      </p:sp>
      <p:sp>
        <p:nvSpPr>
          <p:cNvPr id="30" name="Freeform 851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SpPr>
            <a:spLocks noEditPoints="1"/>
          </p:cNvSpPr>
          <p:nvPr/>
        </p:nvSpPr>
        <p:spPr bwMode="auto">
          <a:xfrm>
            <a:off x="4520030" y="3222205"/>
            <a:ext cx="328539" cy="376247"/>
          </a:xfrm>
          <a:custGeom>
            <a:avLst/>
            <a:gdLst>
              <a:gd name="T0" fmla="*/ 119 w 141"/>
              <a:gd name="T1" fmla="*/ 84 h 160"/>
              <a:gd name="T2" fmla="*/ 95 w 141"/>
              <a:gd name="T3" fmla="*/ 20 h 160"/>
              <a:gd name="T4" fmla="*/ 84 w 141"/>
              <a:gd name="T5" fmla="*/ 15 h 160"/>
              <a:gd name="T6" fmla="*/ 55 w 141"/>
              <a:gd name="T7" fmla="*/ 15 h 160"/>
              <a:gd name="T8" fmla="*/ 46 w 141"/>
              <a:gd name="T9" fmla="*/ 20 h 160"/>
              <a:gd name="T10" fmla="*/ 20 w 141"/>
              <a:gd name="T11" fmla="*/ 84 h 160"/>
              <a:gd name="T12" fmla="*/ 0 w 141"/>
              <a:gd name="T13" fmla="*/ 135 h 160"/>
              <a:gd name="T14" fmla="*/ 30 w 141"/>
              <a:gd name="T15" fmla="*/ 141 h 160"/>
              <a:gd name="T16" fmla="*/ 70 w 141"/>
              <a:gd name="T17" fmla="*/ 160 h 160"/>
              <a:gd name="T18" fmla="*/ 111 w 141"/>
              <a:gd name="T19" fmla="*/ 141 h 160"/>
              <a:gd name="T20" fmla="*/ 140 w 141"/>
              <a:gd name="T21" fmla="*/ 135 h 160"/>
              <a:gd name="T22" fmla="*/ 61 w 141"/>
              <a:gd name="T23" fmla="*/ 15 h 160"/>
              <a:gd name="T24" fmla="*/ 79 w 141"/>
              <a:gd name="T25" fmla="*/ 15 h 160"/>
              <a:gd name="T26" fmla="*/ 61 w 141"/>
              <a:gd name="T27" fmla="*/ 15 h 160"/>
              <a:gd name="T28" fmla="*/ 52 w 141"/>
              <a:gd name="T29" fmla="*/ 145 h 160"/>
              <a:gd name="T30" fmla="*/ 89 w 141"/>
              <a:gd name="T31" fmla="*/ 145 h 160"/>
              <a:gd name="T32" fmla="*/ 110 w 141"/>
              <a:gd name="T33" fmla="*/ 136 h 160"/>
              <a:gd name="T34" fmla="*/ 94 w 141"/>
              <a:gd name="T35" fmla="*/ 138 h 160"/>
              <a:gd name="T36" fmla="*/ 88 w 141"/>
              <a:gd name="T37" fmla="*/ 139 h 160"/>
              <a:gd name="T38" fmla="*/ 81 w 141"/>
              <a:gd name="T39" fmla="*/ 139 h 160"/>
              <a:gd name="T40" fmla="*/ 76 w 141"/>
              <a:gd name="T41" fmla="*/ 140 h 160"/>
              <a:gd name="T42" fmla="*/ 64 w 141"/>
              <a:gd name="T43" fmla="*/ 140 h 160"/>
              <a:gd name="T44" fmla="*/ 58 w 141"/>
              <a:gd name="T45" fmla="*/ 139 h 160"/>
              <a:gd name="T46" fmla="*/ 53 w 141"/>
              <a:gd name="T47" fmla="*/ 139 h 160"/>
              <a:gd name="T48" fmla="*/ 47 w 141"/>
              <a:gd name="T49" fmla="*/ 138 h 160"/>
              <a:gd name="T50" fmla="*/ 9 w 141"/>
              <a:gd name="T51" fmla="*/ 132 h 160"/>
              <a:gd name="T52" fmla="*/ 26 w 141"/>
              <a:gd name="T53" fmla="*/ 58 h 160"/>
              <a:gd name="T54" fmla="*/ 59 w 141"/>
              <a:gd name="T55" fmla="*/ 22 h 160"/>
              <a:gd name="T56" fmla="*/ 81 w 141"/>
              <a:gd name="T57" fmla="*/ 21 h 160"/>
              <a:gd name="T58" fmla="*/ 92 w 141"/>
              <a:gd name="T59" fmla="*/ 25 h 160"/>
              <a:gd name="T60" fmla="*/ 114 w 141"/>
              <a:gd name="T61" fmla="*/ 84 h 160"/>
              <a:gd name="T62" fmla="*/ 110 w 141"/>
              <a:gd name="T63" fmla="*/ 136 h 160"/>
              <a:gd name="T64" fmla="*/ 86 w 141"/>
              <a:gd name="T65" fmla="*/ 38 h 160"/>
              <a:gd name="T66" fmla="*/ 41 w 141"/>
              <a:gd name="T67" fmla="*/ 58 h 160"/>
              <a:gd name="T68" fmla="*/ 38 w 141"/>
              <a:gd name="T69" fmla="*/ 61 h 160"/>
              <a:gd name="T70" fmla="*/ 52 w 141"/>
              <a:gd name="T71" fmla="*/ 33 h 160"/>
              <a:gd name="T72" fmla="*/ 90 w 141"/>
              <a:gd name="T73" fmla="*/ 37 h 1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141" h="160">
                <a:moveTo>
                  <a:pt x="140" y="132"/>
                </a:moveTo>
                <a:cubicBezTo>
                  <a:pt x="126" y="118"/>
                  <a:pt x="119" y="102"/>
                  <a:pt x="119" y="84"/>
                </a:cubicBezTo>
                <a:cubicBezTo>
                  <a:pt x="119" y="58"/>
                  <a:pt x="119" y="58"/>
                  <a:pt x="119" y="58"/>
                </a:cubicBezTo>
                <a:cubicBezTo>
                  <a:pt x="119" y="38"/>
                  <a:pt x="106" y="25"/>
                  <a:pt x="95" y="20"/>
                </a:cubicBezTo>
                <a:cubicBezTo>
                  <a:pt x="91" y="18"/>
                  <a:pt x="88" y="17"/>
                  <a:pt x="84" y="16"/>
                </a:cubicBezTo>
                <a:cubicBezTo>
                  <a:pt x="84" y="15"/>
                  <a:pt x="84" y="15"/>
                  <a:pt x="84" y="15"/>
                </a:cubicBezTo>
                <a:cubicBezTo>
                  <a:pt x="84" y="7"/>
                  <a:pt x="78" y="0"/>
                  <a:pt x="70" y="0"/>
                </a:cubicBezTo>
                <a:cubicBezTo>
                  <a:pt x="62" y="0"/>
                  <a:pt x="55" y="7"/>
                  <a:pt x="55" y="15"/>
                </a:cubicBezTo>
                <a:cubicBezTo>
                  <a:pt x="55" y="16"/>
                  <a:pt x="55" y="16"/>
                  <a:pt x="55" y="16"/>
                </a:cubicBezTo>
                <a:cubicBezTo>
                  <a:pt x="52" y="17"/>
                  <a:pt x="49" y="18"/>
                  <a:pt x="46" y="20"/>
                </a:cubicBezTo>
                <a:cubicBezTo>
                  <a:pt x="33" y="26"/>
                  <a:pt x="20" y="40"/>
                  <a:pt x="20" y="58"/>
                </a:cubicBezTo>
                <a:cubicBezTo>
                  <a:pt x="20" y="84"/>
                  <a:pt x="20" y="84"/>
                  <a:pt x="20" y="84"/>
                </a:cubicBezTo>
                <a:cubicBezTo>
                  <a:pt x="20" y="103"/>
                  <a:pt x="14" y="119"/>
                  <a:pt x="1" y="132"/>
                </a:cubicBezTo>
                <a:cubicBezTo>
                  <a:pt x="0" y="133"/>
                  <a:pt x="0" y="134"/>
                  <a:pt x="0" y="135"/>
                </a:cubicBezTo>
                <a:cubicBezTo>
                  <a:pt x="0" y="136"/>
                  <a:pt x="1" y="137"/>
                  <a:pt x="2" y="137"/>
                </a:cubicBezTo>
                <a:cubicBezTo>
                  <a:pt x="30" y="141"/>
                  <a:pt x="30" y="141"/>
                  <a:pt x="30" y="141"/>
                </a:cubicBezTo>
                <a:cubicBezTo>
                  <a:pt x="35" y="142"/>
                  <a:pt x="40" y="143"/>
                  <a:pt x="44" y="144"/>
                </a:cubicBezTo>
                <a:cubicBezTo>
                  <a:pt x="49" y="154"/>
                  <a:pt x="59" y="160"/>
                  <a:pt x="70" y="160"/>
                </a:cubicBezTo>
                <a:cubicBezTo>
                  <a:pt x="81" y="160"/>
                  <a:pt x="91" y="154"/>
                  <a:pt x="96" y="144"/>
                </a:cubicBezTo>
                <a:cubicBezTo>
                  <a:pt x="101" y="143"/>
                  <a:pt x="105" y="142"/>
                  <a:pt x="111" y="141"/>
                </a:cubicBezTo>
                <a:cubicBezTo>
                  <a:pt x="138" y="137"/>
                  <a:pt x="138" y="137"/>
                  <a:pt x="138" y="137"/>
                </a:cubicBezTo>
                <a:cubicBezTo>
                  <a:pt x="139" y="137"/>
                  <a:pt x="140" y="136"/>
                  <a:pt x="140" y="135"/>
                </a:cubicBezTo>
                <a:cubicBezTo>
                  <a:pt x="141" y="134"/>
                  <a:pt x="141" y="133"/>
                  <a:pt x="140" y="132"/>
                </a:cubicBezTo>
                <a:close/>
                <a:moveTo>
                  <a:pt x="61" y="15"/>
                </a:moveTo>
                <a:cubicBezTo>
                  <a:pt x="61" y="10"/>
                  <a:pt x="65" y="6"/>
                  <a:pt x="70" y="6"/>
                </a:cubicBezTo>
                <a:cubicBezTo>
                  <a:pt x="75" y="6"/>
                  <a:pt x="79" y="10"/>
                  <a:pt x="79" y="15"/>
                </a:cubicBezTo>
                <a:cubicBezTo>
                  <a:pt x="79" y="15"/>
                  <a:pt x="79" y="15"/>
                  <a:pt x="79" y="15"/>
                </a:cubicBezTo>
                <a:cubicBezTo>
                  <a:pt x="73" y="14"/>
                  <a:pt x="67" y="14"/>
                  <a:pt x="61" y="15"/>
                </a:cubicBezTo>
                <a:close/>
                <a:moveTo>
                  <a:pt x="70" y="154"/>
                </a:moveTo>
                <a:cubicBezTo>
                  <a:pt x="63" y="154"/>
                  <a:pt x="56" y="151"/>
                  <a:pt x="52" y="145"/>
                </a:cubicBezTo>
                <a:cubicBezTo>
                  <a:pt x="58" y="145"/>
                  <a:pt x="64" y="146"/>
                  <a:pt x="70" y="146"/>
                </a:cubicBezTo>
                <a:cubicBezTo>
                  <a:pt x="76" y="146"/>
                  <a:pt x="82" y="145"/>
                  <a:pt x="89" y="145"/>
                </a:cubicBezTo>
                <a:cubicBezTo>
                  <a:pt x="85" y="151"/>
                  <a:pt x="78" y="154"/>
                  <a:pt x="70" y="154"/>
                </a:cubicBezTo>
                <a:close/>
                <a:moveTo>
                  <a:pt x="110" y="136"/>
                </a:moveTo>
                <a:cubicBezTo>
                  <a:pt x="104" y="137"/>
                  <a:pt x="99" y="137"/>
                  <a:pt x="94" y="138"/>
                </a:cubicBezTo>
                <a:cubicBezTo>
                  <a:pt x="94" y="138"/>
                  <a:pt x="94" y="138"/>
                  <a:pt x="94" y="138"/>
                </a:cubicBezTo>
                <a:cubicBezTo>
                  <a:pt x="92" y="138"/>
                  <a:pt x="90" y="139"/>
                  <a:pt x="88" y="139"/>
                </a:cubicBezTo>
                <a:cubicBezTo>
                  <a:pt x="88" y="139"/>
                  <a:pt x="88" y="139"/>
                  <a:pt x="88" y="139"/>
                </a:cubicBezTo>
                <a:cubicBezTo>
                  <a:pt x="86" y="139"/>
                  <a:pt x="84" y="139"/>
                  <a:pt x="82" y="139"/>
                </a:cubicBezTo>
                <a:cubicBezTo>
                  <a:pt x="82" y="139"/>
                  <a:pt x="82" y="139"/>
                  <a:pt x="81" y="139"/>
                </a:cubicBezTo>
                <a:cubicBezTo>
                  <a:pt x="80" y="139"/>
                  <a:pt x="78" y="140"/>
                  <a:pt x="77" y="140"/>
                </a:cubicBezTo>
                <a:cubicBezTo>
                  <a:pt x="76" y="140"/>
                  <a:pt x="76" y="140"/>
                  <a:pt x="76" y="140"/>
                </a:cubicBezTo>
                <a:cubicBezTo>
                  <a:pt x="72" y="140"/>
                  <a:pt x="69" y="140"/>
                  <a:pt x="65" y="140"/>
                </a:cubicBezTo>
                <a:cubicBezTo>
                  <a:pt x="65" y="140"/>
                  <a:pt x="64" y="140"/>
                  <a:pt x="64" y="140"/>
                </a:cubicBezTo>
                <a:cubicBezTo>
                  <a:pt x="62" y="140"/>
                  <a:pt x="61" y="139"/>
                  <a:pt x="59" y="139"/>
                </a:cubicBezTo>
                <a:cubicBezTo>
                  <a:pt x="59" y="139"/>
                  <a:pt x="59" y="139"/>
                  <a:pt x="58" y="139"/>
                </a:cubicBezTo>
                <a:cubicBezTo>
                  <a:pt x="57" y="139"/>
                  <a:pt x="55" y="139"/>
                  <a:pt x="53" y="139"/>
                </a:cubicBezTo>
                <a:cubicBezTo>
                  <a:pt x="53" y="139"/>
                  <a:pt x="53" y="139"/>
                  <a:pt x="53" y="139"/>
                </a:cubicBezTo>
                <a:cubicBezTo>
                  <a:pt x="51" y="139"/>
                  <a:pt x="49" y="138"/>
                  <a:pt x="47" y="138"/>
                </a:cubicBezTo>
                <a:cubicBezTo>
                  <a:pt x="47" y="138"/>
                  <a:pt x="47" y="138"/>
                  <a:pt x="47" y="138"/>
                </a:cubicBezTo>
                <a:cubicBezTo>
                  <a:pt x="42" y="137"/>
                  <a:pt x="37" y="137"/>
                  <a:pt x="31" y="136"/>
                </a:cubicBezTo>
                <a:cubicBezTo>
                  <a:pt x="9" y="132"/>
                  <a:pt x="9" y="132"/>
                  <a:pt x="9" y="132"/>
                </a:cubicBezTo>
                <a:cubicBezTo>
                  <a:pt x="20" y="119"/>
                  <a:pt x="26" y="103"/>
                  <a:pt x="26" y="84"/>
                </a:cubicBezTo>
                <a:cubicBezTo>
                  <a:pt x="26" y="58"/>
                  <a:pt x="26" y="58"/>
                  <a:pt x="26" y="58"/>
                </a:cubicBezTo>
                <a:cubicBezTo>
                  <a:pt x="26" y="42"/>
                  <a:pt x="37" y="30"/>
                  <a:pt x="49" y="25"/>
                </a:cubicBezTo>
                <a:cubicBezTo>
                  <a:pt x="52" y="24"/>
                  <a:pt x="55" y="22"/>
                  <a:pt x="59" y="22"/>
                </a:cubicBezTo>
                <a:cubicBezTo>
                  <a:pt x="59" y="22"/>
                  <a:pt x="59" y="22"/>
                  <a:pt x="59" y="22"/>
                </a:cubicBezTo>
                <a:cubicBezTo>
                  <a:pt x="66" y="20"/>
                  <a:pt x="74" y="20"/>
                  <a:pt x="81" y="21"/>
                </a:cubicBezTo>
                <a:cubicBezTo>
                  <a:pt x="81" y="21"/>
                  <a:pt x="81" y="21"/>
                  <a:pt x="81" y="21"/>
                </a:cubicBezTo>
                <a:cubicBezTo>
                  <a:pt x="85" y="22"/>
                  <a:pt x="89" y="23"/>
                  <a:pt x="92" y="25"/>
                </a:cubicBezTo>
                <a:cubicBezTo>
                  <a:pt x="103" y="30"/>
                  <a:pt x="114" y="42"/>
                  <a:pt x="114" y="58"/>
                </a:cubicBezTo>
                <a:cubicBezTo>
                  <a:pt x="114" y="84"/>
                  <a:pt x="114" y="84"/>
                  <a:pt x="114" y="84"/>
                </a:cubicBezTo>
                <a:cubicBezTo>
                  <a:pt x="114" y="102"/>
                  <a:pt x="120" y="118"/>
                  <a:pt x="132" y="132"/>
                </a:cubicBezTo>
                <a:lnTo>
                  <a:pt x="110" y="136"/>
                </a:lnTo>
                <a:close/>
                <a:moveTo>
                  <a:pt x="90" y="37"/>
                </a:moveTo>
                <a:cubicBezTo>
                  <a:pt x="89" y="38"/>
                  <a:pt x="88" y="39"/>
                  <a:pt x="86" y="38"/>
                </a:cubicBezTo>
                <a:cubicBezTo>
                  <a:pt x="76" y="34"/>
                  <a:pt x="64" y="34"/>
                  <a:pt x="55" y="38"/>
                </a:cubicBezTo>
                <a:cubicBezTo>
                  <a:pt x="50" y="41"/>
                  <a:pt x="41" y="48"/>
                  <a:pt x="41" y="58"/>
                </a:cubicBezTo>
                <a:cubicBezTo>
                  <a:pt x="41" y="60"/>
                  <a:pt x="39" y="61"/>
                  <a:pt x="38" y="61"/>
                </a:cubicBezTo>
                <a:cubicBezTo>
                  <a:pt x="38" y="61"/>
                  <a:pt x="38" y="61"/>
                  <a:pt x="38" y="61"/>
                </a:cubicBezTo>
                <a:cubicBezTo>
                  <a:pt x="36" y="61"/>
                  <a:pt x="35" y="60"/>
                  <a:pt x="35" y="58"/>
                </a:cubicBezTo>
                <a:cubicBezTo>
                  <a:pt x="35" y="45"/>
                  <a:pt x="46" y="36"/>
                  <a:pt x="52" y="33"/>
                </a:cubicBezTo>
                <a:cubicBezTo>
                  <a:pt x="63" y="28"/>
                  <a:pt x="77" y="28"/>
                  <a:pt x="88" y="33"/>
                </a:cubicBezTo>
                <a:cubicBezTo>
                  <a:pt x="90" y="34"/>
                  <a:pt x="91" y="35"/>
                  <a:pt x="90" y="37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en-US">
              <a:latin typeface="Arial" panose="020B0604020202020204" pitchFamily="34" charset="0"/>
              <a:ea typeface="微软雅黑" panose="020B0503020204020204" pitchFamily="34" charset="-122"/>
              <a:cs typeface="思源黑体 CN Regular" panose="020B0500000000000000" charset="-122"/>
              <a:sym typeface="Arial" panose="020B0604020202020204" pitchFamily="34" charset="0"/>
            </a:endParaRPr>
          </a:p>
        </p:txBody>
      </p:sp>
      <p:grpSp>
        <p:nvGrpSpPr>
          <p:cNvPr id="40" name="组合 39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GrpSpPr/>
          <p:nvPr/>
        </p:nvGrpSpPr>
        <p:grpSpPr>
          <a:xfrm>
            <a:off x="5563318" y="6024872"/>
            <a:ext cx="1065364" cy="294656"/>
            <a:chOff x="725336" y="5029560"/>
            <a:chExt cx="1065364" cy="294656"/>
          </a:xfrm>
        </p:grpSpPr>
        <p:sp>
          <p:nvSpPr>
            <p:cNvPr id="41" name="矩形 40"/>
            <p:cNvSpPr/>
            <p:nvPr/>
          </p:nvSpPr>
          <p:spPr>
            <a:xfrm>
              <a:off x="725336" y="5029560"/>
              <a:ext cx="1065364" cy="294656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600"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endParaRPr>
            </a:p>
          </p:txBody>
        </p:sp>
        <p:sp>
          <p:nvSpPr>
            <p:cNvPr id="42" name="文本框 41"/>
            <p:cNvSpPr txBox="1"/>
            <p:nvPr/>
          </p:nvSpPr>
          <p:spPr>
            <a:xfrm>
              <a:off x="881152" y="5034031"/>
              <a:ext cx="829330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sz="1200">
                  <a:solidFill>
                    <a:schemeClr val="bg1"/>
                  </a:solidFill>
                  <a:latin typeface="Arial" panose="020B0604020202020204" pitchFamily="34" charset="0"/>
                  <a:ea typeface="微软雅黑" panose="020B0503020204020204" pitchFamily="34" charset="-122"/>
                  <a:cs typeface="思源黑体 CN Regular" panose="020B0500000000000000" charset="-122"/>
                  <a:sym typeface="Arial" panose="020B0604020202020204" pitchFamily="34" charset="0"/>
                </a:rPr>
                <a:t>START</a:t>
              </a:r>
              <a:r>
                <a:rPr lang="zh-CN" altLang="en-US" sz="1200">
                  <a:solidFill>
                    <a:schemeClr val="bg1"/>
                  </a:solidFill>
                  <a:latin typeface="Arial" panose="020B0604020202020204" pitchFamily="34" charset="0"/>
                  <a:ea typeface="微软雅黑" panose="020B0503020204020204" pitchFamily="34" charset="-122"/>
                  <a:cs typeface="思源黑体 CN Regular" panose="020B0500000000000000" charset="-122"/>
                  <a:sym typeface="Arial" panose="020B0604020202020204" pitchFamily="34" charset="0"/>
                </a:rPr>
                <a:t>→</a:t>
              </a:r>
            </a:p>
          </p:txBody>
        </p:sp>
      </p:grpSp>
      <p:sp>
        <p:nvSpPr>
          <p:cNvPr id="43" name="Прямоугольник 9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SpPr/>
          <p:nvPr/>
        </p:nvSpPr>
        <p:spPr>
          <a:xfrm>
            <a:off x="0" y="0"/>
            <a:ext cx="45719" cy="3429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rial" panose="020B0604020202020204" pitchFamily="34" charset="0"/>
              <a:ea typeface="微软雅黑" panose="020B0503020204020204" pitchFamily="34" charset="-122"/>
              <a:cs typeface="思源黑体 CN Regular" panose="020B0500000000000000" charset="-122"/>
              <a:sym typeface="Arial" panose="020B0604020202020204" pitchFamily="34" charset="0"/>
            </a:endParaRPr>
          </a:p>
        </p:txBody>
      </p:sp>
      <p:sp>
        <p:nvSpPr>
          <p:cNvPr id="9" name="e7d195523061f1c0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 hidden="1"/>
          <p:cNvSpPr txBox="1"/>
          <p:nvPr/>
        </p:nvSpPr>
        <p:spPr>
          <a:xfrm>
            <a:off x="-355600" y="1803400"/>
            <a:ext cx="284693" cy="1016000"/>
          </a:xfrm>
          <a:prstGeom prst="rect">
            <a:avLst/>
          </a:prstGeom>
          <a:noFill/>
        </p:spPr>
        <p:txBody>
          <a:bodyPr vert="wordArtVert" rtlCol="0">
            <a:spAutoFit/>
          </a:bodyPr>
          <a:lstStyle/>
          <a:p>
            <a:r>
              <a:rPr lang="en-US" altLang="zh-CN" sz="100"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rPr>
              <a:t>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</a:t>
            </a:r>
            <a:endParaRPr lang="zh-CN" altLang="en-US" sz="100">
              <a:latin typeface="Arial" panose="020B0604020202020204" pitchFamily="34" charset="0"/>
              <a:ea typeface="微软雅黑" panose="020B0503020204020204" pitchFamily="34" charset="-122"/>
              <a:cs typeface="思源黑体 CN Regular" panose="020B0500000000000000" charset="-122"/>
              <a:sym typeface="Arial" panose="020B0604020202020204" pitchFamily="34" charset="0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random/>
      </p:transition>
    </mc:Choice>
    <mc:Fallback xmlns:p159="http://schemas.microsoft.com/office/powerpoint/2015/09/main" xmlns:p15="http://schemas.microsoft.com/office/powerpoint/2012/main" xmlns:a14="http://schemas.microsoft.com/office/drawing/2010/main" xmlns:wp="http://schemas.openxmlformats.org/drawingml/2006/wordprocessingDrawing" xmlns:w="http://schemas.openxmlformats.org/wordprocessingml/2006/main" xmlns:m="http://schemas.openxmlformats.org/officeDocument/2006/math" xmlns="">
      <p:transition spd="slow">
        <p:random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1" dur="50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 nodeType="clickPar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0" presetClass="entr" presetSubtype="0" dur="5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dur="5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dur="5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dur="5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dur="5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dur="5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dur="5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dur="5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10" presetClass="entr" presetSubtype="0" dur="5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10" presetClass="entr" presetSubtype="0" dur="5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10" presetClass="entr" presetSubtype="0" dur="5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10" presetClass="entr" presetSubtype="0" dur="5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7" presetID="10" presetClass="entr" presetSubtype="0" dur="5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10" presetClass="entr" presetSubtype="0" dur="5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" presetID="10" presetClass="entr" presetSubtype="0" dur="5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6" presetID="10" presetClass="entr" presetSubtype="0" dur="5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8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9" presetID="10" presetClass="entr" presetSubtype="0" dur="5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1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2" presetID="10" presetClass="entr" presetSubtype="0" dur="5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4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5" presetID="10" presetClass="entr" presetSubtype="0" dur="5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7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8" presetID="10" presetClass="entr" presetSubtype="0" dur="5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0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1" fill="hold" nodeType="clickPar">
                      <p:stCondLst>
                        <p:cond delay="indefinite"/>
                      </p:stCondLst>
                      <p:childTnLst>
                        <p:par>
                          <p:cTn id="72" fill="hold">
                            <p:stCondLst>
                              <p:cond delay="0"/>
                            </p:stCondLst>
                            <p:childTnLst>
                              <p:par>
                                <p:cTn id="73" presetID="2" presetClass="entr" presetSubtype="4" dur="50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5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6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7" presetID="2" presetClass="entr" presetSubtype="4" dur="5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9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0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81" presetID="2" presetClass="entr" presetSubtype="4" dur="5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3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4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85" presetID="2" presetClass="entr" presetSubtype="4" dur="5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7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8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89" presetID="2" presetClass="entr" presetSubtype="4" dur="5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91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92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3" presetID="2" presetClass="entr" presetSubtype="4" dur="5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95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96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3" grpId="0" animBg="1"/>
      <p:bldP spid="4" grpId="0" animBg="1"/>
      <p:bldP spid="5" grpId="0" animBg="1"/>
      <p:bldP spid="6" grpId="0" animBg="1"/>
      <p:bldP spid="7" grpId="0" animBg="1"/>
      <p:bldP spid="8" grpId="0" animBg="1"/>
      <p:bldP spid="10" grpId="0"/>
      <p:bldP spid="11" grpId="0" animBg="1"/>
      <p:bldP spid="12" grpId="0"/>
      <p:bldP spid="13" grpId="0" animBg="1"/>
      <p:bldP spid="15" grpId="0"/>
      <p:bldP spid="16" grpId="0" animBg="1"/>
      <p:bldP spid="18" grpId="0"/>
      <p:bldP spid="19" grpId="0" animBg="1"/>
      <p:bldP spid="20" grpId="0" animBg="1"/>
      <p:bldP spid="21" grpId="0"/>
      <p:bldP spid="22" grpId="0" animBg="1"/>
      <p:bldP spid="23" grpId="0"/>
      <p:bldP spid="24" grpId="0" animBg="1"/>
      <p:bldP spid="25" grpId="0" animBg="1"/>
      <p:bldP spid="26" grpId="0" animBg="1"/>
      <p:bldP spid="27" grpId="0" animBg="1"/>
      <p:bldP spid="28" grpId="0" animBg="1"/>
      <p:bldP spid="30" grpId="0" animBg="1"/>
    </p:bld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4" name="Group 23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GrpSpPr/>
          <p:nvPr/>
        </p:nvGrpSpPr>
        <p:grpSpPr>
          <a:xfrm>
            <a:off x="3881395" y="1897955"/>
            <a:ext cx="4495229" cy="3633620"/>
            <a:chOff x="3932765" y="1918503"/>
            <a:chExt cx="4495229" cy="3633620"/>
          </a:xfrm>
          <a:pattFill prst="wdUpDiag">
            <a:fgClr>
              <a:schemeClr val="bg1">
                <a:lumMod val="65000"/>
              </a:schemeClr>
            </a:fgClr>
            <a:bgClr>
              <a:schemeClr val="bg1"/>
            </a:bgClr>
          </a:pattFill>
        </p:grpSpPr>
        <p:sp>
          <p:nvSpPr>
            <p:cNvPr id="20" name="Freeform 76"/>
            <p:cNvSpPr/>
            <p:nvPr/>
          </p:nvSpPr>
          <p:spPr bwMode="auto">
            <a:xfrm>
              <a:off x="5384787" y="4992845"/>
              <a:ext cx="2570578" cy="559278"/>
            </a:xfrm>
            <a:custGeom>
              <a:avLst/>
              <a:gdLst>
                <a:gd name="T0" fmla="*/ 193 w 386"/>
                <a:gd name="T1" fmla="*/ 84 h 84"/>
                <a:gd name="T2" fmla="*/ 386 w 386"/>
                <a:gd name="T3" fmla="*/ 0 h 84"/>
                <a:gd name="T4" fmla="*/ 0 w 386"/>
                <a:gd name="T5" fmla="*/ 0 h 84"/>
                <a:gd name="T6" fmla="*/ 193 w 386"/>
                <a:gd name="T7" fmla="*/ 84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86" h="84">
                  <a:moveTo>
                    <a:pt x="193" y="84"/>
                  </a:moveTo>
                  <a:cubicBezTo>
                    <a:pt x="269" y="84"/>
                    <a:pt x="338" y="52"/>
                    <a:pt x="38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8" y="52"/>
                    <a:pt x="117" y="84"/>
                    <a:pt x="193" y="84"/>
                  </a:cubicBezTo>
                  <a:close/>
                </a:path>
              </a:pathLst>
            </a:custGeom>
            <a:grpFill/>
            <a:ln w="25400"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endParaRPr>
            </a:p>
          </p:txBody>
        </p:sp>
        <p:sp>
          <p:nvSpPr>
            <p:cNvPr id="21" name="Freeform 78"/>
            <p:cNvSpPr/>
            <p:nvPr/>
          </p:nvSpPr>
          <p:spPr bwMode="auto">
            <a:xfrm>
              <a:off x="4411959" y="1918503"/>
              <a:ext cx="3043207" cy="884867"/>
            </a:xfrm>
            <a:custGeom>
              <a:avLst/>
              <a:gdLst>
                <a:gd name="T0" fmla="*/ 229 w 457"/>
                <a:gd name="T1" fmla="*/ 0 h 133"/>
                <a:gd name="T2" fmla="*/ 0 w 457"/>
                <a:gd name="T3" fmla="*/ 133 h 133"/>
                <a:gd name="T4" fmla="*/ 457 w 457"/>
                <a:gd name="T5" fmla="*/ 133 h 133"/>
                <a:gd name="T6" fmla="*/ 229 w 457"/>
                <a:gd name="T7" fmla="*/ 0 h 1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57" h="133">
                  <a:moveTo>
                    <a:pt x="229" y="0"/>
                  </a:moveTo>
                  <a:cubicBezTo>
                    <a:pt x="131" y="0"/>
                    <a:pt x="46" y="53"/>
                    <a:pt x="0" y="133"/>
                  </a:cubicBezTo>
                  <a:cubicBezTo>
                    <a:pt x="457" y="133"/>
                    <a:pt x="457" y="133"/>
                    <a:pt x="457" y="133"/>
                  </a:cubicBezTo>
                  <a:cubicBezTo>
                    <a:pt x="412" y="53"/>
                    <a:pt x="327" y="0"/>
                    <a:pt x="229" y="0"/>
                  </a:cubicBezTo>
                  <a:close/>
                </a:path>
              </a:pathLst>
            </a:custGeom>
            <a:grpFill/>
            <a:ln w="25400"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endParaRPr>
            </a:p>
          </p:txBody>
        </p:sp>
        <p:sp>
          <p:nvSpPr>
            <p:cNvPr id="22" name="Freeform 80"/>
            <p:cNvSpPr/>
            <p:nvPr/>
          </p:nvSpPr>
          <p:spPr bwMode="auto">
            <a:xfrm>
              <a:off x="3932765" y="4317383"/>
              <a:ext cx="3335975" cy="644614"/>
            </a:xfrm>
            <a:custGeom>
              <a:avLst/>
              <a:gdLst>
                <a:gd name="T0" fmla="*/ 0 w 501"/>
                <a:gd name="T1" fmla="*/ 0 h 97"/>
                <a:gd name="T2" fmla="*/ 57 w 501"/>
                <a:gd name="T3" fmla="*/ 97 h 97"/>
                <a:gd name="T4" fmla="*/ 443 w 501"/>
                <a:gd name="T5" fmla="*/ 97 h 97"/>
                <a:gd name="T6" fmla="*/ 501 w 501"/>
                <a:gd name="T7" fmla="*/ 0 h 97"/>
                <a:gd name="T8" fmla="*/ 0 w 501"/>
                <a:gd name="T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01" h="97">
                  <a:moveTo>
                    <a:pt x="0" y="0"/>
                  </a:moveTo>
                  <a:cubicBezTo>
                    <a:pt x="12" y="36"/>
                    <a:pt x="31" y="70"/>
                    <a:pt x="57" y="97"/>
                  </a:cubicBezTo>
                  <a:cubicBezTo>
                    <a:pt x="443" y="97"/>
                    <a:pt x="443" y="97"/>
                    <a:pt x="443" y="97"/>
                  </a:cubicBezTo>
                  <a:cubicBezTo>
                    <a:pt x="469" y="70"/>
                    <a:pt x="489" y="36"/>
                    <a:pt x="501" y="0"/>
                  </a:cubicBezTo>
                  <a:lnTo>
                    <a:pt x="0" y="0"/>
                  </a:lnTo>
                  <a:close/>
                </a:path>
              </a:pathLst>
            </a:custGeom>
            <a:grpFill/>
            <a:ln w="25400"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endParaRPr>
            </a:p>
          </p:txBody>
        </p:sp>
        <p:sp>
          <p:nvSpPr>
            <p:cNvPr id="23" name="Freeform 82"/>
            <p:cNvSpPr/>
            <p:nvPr/>
          </p:nvSpPr>
          <p:spPr bwMode="auto">
            <a:xfrm>
              <a:off x="4918722" y="2854715"/>
              <a:ext cx="3509272" cy="1411323"/>
            </a:xfrm>
            <a:custGeom>
              <a:avLst/>
              <a:gdLst>
                <a:gd name="T0" fmla="*/ 527 w 527"/>
                <a:gd name="T1" fmla="*/ 130 h 212"/>
                <a:gd name="T2" fmla="*/ 492 w 527"/>
                <a:gd name="T3" fmla="*/ 0 h 212"/>
                <a:gd name="T4" fmla="*/ 35 w 527"/>
                <a:gd name="T5" fmla="*/ 0 h 212"/>
                <a:gd name="T6" fmla="*/ 0 w 527"/>
                <a:gd name="T7" fmla="*/ 130 h 212"/>
                <a:gd name="T8" fmla="*/ 13 w 527"/>
                <a:gd name="T9" fmla="*/ 212 h 212"/>
                <a:gd name="T10" fmla="*/ 514 w 527"/>
                <a:gd name="T11" fmla="*/ 212 h 212"/>
                <a:gd name="T12" fmla="*/ 527 w 527"/>
                <a:gd name="T13" fmla="*/ 130 h 2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27" h="211">
                  <a:moveTo>
                    <a:pt x="527" y="130"/>
                  </a:moveTo>
                  <a:cubicBezTo>
                    <a:pt x="527" y="83"/>
                    <a:pt x="514" y="38"/>
                    <a:pt x="492" y="0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13" y="38"/>
                    <a:pt x="0" y="83"/>
                    <a:pt x="0" y="130"/>
                  </a:cubicBezTo>
                  <a:cubicBezTo>
                    <a:pt x="0" y="159"/>
                    <a:pt x="4" y="186"/>
                    <a:pt x="13" y="212"/>
                  </a:cubicBezTo>
                  <a:cubicBezTo>
                    <a:pt x="514" y="212"/>
                    <a:pt x="514" y="212"/>
                    <a:pt x="514" y="212"/>
                  </a:cubicBezTo>
                  <a:cubicBezTo>
                    <a:pt x="522" y="186"/>
                    <a:pt x="527" y="159"/>
                    <a:pt x="527" y="130"/>
                  </a:cubicBezTo>
                  <a:close/>
                </a:path>
              </a:pathLst>
            </a:custGeom>
            <a:grpFill/>
            <a:ln w="25400"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endParaRPr>
            </a:p>
          </p:txBody>
        </p:sp>
      </p:grpSp>
      <p:sp>
        <p:nvSpPr>
          <p:cNvPr id="2" name="Title 1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SpPr>
            <a:spLocks noGrp="1"/>
          </p:cNvSpPr>
          <p:nvPr>
            <p:ph type="title" idx="4294967295"/>
          </p:nvPr>
        </p:nvSpPr>
        <p:spPr>
          <a:xfrm>
            <a:off x="1955292" y="685800"/>
            <a:ext cx="8610600" cy="495486"/>
          </a:xfrm>
        </p:spPr>
        <p:txBody>
          <a:bodyPr vert="horz" lIns="91440" tIns="45720" rIns="91440" bIns="45720" rtlCol="0" anchor="ctr">
            <a:noAutofit/>
          </a:bodyPr>
          <a:lstStyle/>
          <a:p>
            <a:pPr algn="ctr"/>
            <a:r>
              <a:rPr lang="en-US" altLang="zh-CN">
                <a:latin typeface="Arial" panose="020B0604020202020204" pitchFamily="34" charset="0"/>
                <a:ea typeface="微软雅黑" panose="020B0503020204020204" pitchFamily="34" charset="-122"/>
                <a:cs typeface="Gill Sans MT" panose="020B0502020104020203" charset="0"/>
                <a:sym typeface="Arial" panose="020B0604020202020204" pitchFamily="34" charset="0"/>
              </a:rPr>
              <a:t>SWOT</a:t>
            </a:r>
            <a:r>
              <a:rPr lang="zh-CN" altLang="en-US">
                <a:latin typeface="Arial" panose="020B0604020202020204" pitchFamily="34" charset="0"/>
                <a:ea typeface="微软雅黑" panose="020B0503020204020204" pitchFamily="34" charset="-122"/>
                <a:cs typeface="Gill Sans MT" panose="020B0502020104020203" charset="0"/>
                <a:sym typeface="Arial" panose="020B0604020202020204" pitchFamily="34" charset="0"/>
              </a:rPr>
              <a:t> </a:t>
            </a:r>
            <a:r>
              <a:rPr lang="en-US">
                <a:latin typeface="Arial" panose="020B0604020202020204" pitchFamily="34" charset="0"/>
                <a:ea typeface="微软雅黑" panose="020B0503020204020204" pitchFamily="34" charset="-122"/>
                <a:cs typeface="Gill Sans MT" panose="020B0502020104020203" charset="0"/>
                <a:sym typeface="Arial" panose="020B0604020202020204" pitchFamily="34" charset="0"/>
              </a:rPr>
              <a:t>INFOGRAPHIC</a:t>
            </a:r>
          </a:p>
        </p:txBody>
      </p:sp>
      <p:sp>
        <p:nvSpPr>
          <p:cNvPr id="4" name="Freeform 76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SpPr/>
          <p:nvPr/>
        </p:nvSpPr>
        <p:spPr bwMode="auto">
          <a:xfrm>
            <a:off x="5300407" y="4934489"/>
            <a:ext cx="2570578" cy="559278"/>
          </a:xfrm>
          <a:custGeom>
            <a:avLst/>
            <a:gdLst>
              <a:gd name="T0" fmla="*/ 193 w 386"/>
              <a:gd name="T1" fmla="*/ 84 h 84"/>
              <a:gd name="T2" fmla="*/ 386 w 386"/>
              <a:gd name="T3" fmla="*/ 0 h 84"/>
              <a:gd name="T4" fmla="*/ 0 w 386"/>
              <a:gd name="T5" fmla="*/ 0 h 84"/>
              <a:gd name="T6" fmla="*/ 193 w 386"/>
              <a:gd name="T7" fmla="*/ 84 h 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86" h="84">
                <a:moveTo>
                  <a:pt x="193" y="84"/>
                </a:moveTo>
                <a:cubicBezTo>
                  <a:pt x="269" y="84"/>
                  <a:pt x="338" y="52"/>
                  <a:pt x="386" y="0"/>
                </a:cubicBezTo>
                <a:cubicBezTo>
                  <a:pt x="0" y="0"/>
                  <a:pt x="0" y="0"/>
                  <a:pt x="0" y="0"/>
                </a:cubicBezTo>
                <a:cubicBezTo>
                  <a:pt x="48" y="52"/>
                  <a:pt x="117" y="84"/>
                  <a:pt x="193" y="84"/>
                </a:cubicBezTo>
                <a:close/>
              </a:path>
            </a:pathLst>
          </a:custGeom>
          <a:solidFill>
            <a:schemeClr val="bg1"/>
          </a:solidFill>
          <a:ln w="25400">
            <a:solidFill>
              <a:schemeClr val="accent4"/>
            </a:solidFill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en-US">
              <a:latin typeface="Arial" panose="020B0604020202020204" pitchFamily="34" charset="0"/>
              <a:ea typeface="微软雅黑" panose="020B0503020204020204" pitchFamily="34" charset="-122"/>
              <a:cs typeface="思源黑体 CN Regular" panose="020B0500000000000000" charset="-122"/>
              <a:sym typeface="Arial" panose="020B0604020202020204" pitchFamily="34" charset="0"/>
            </a:endParaRPr>
          </a:p>
        </p:txBody>
      </p:sp>
      <p:sp>
        <p:nvSpPr>
          <p:cNvPr id="5" name="Freeform 77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SpPr/>
          <p:nvPr/>
        </p:nvSpPr>
        <p:spPr bwMode="auto">
          <a:xfrm>
            <a:off x="5306971" y="4934489"/>
            <a:ext cx="1532106" cy="559278"/>
          </a:xfrm>
          <a:custGeom>
            <a:avLst/>
            <a:gdLst>
              <a:gd name="T0" fmla="*/ 73 w 230"/>
              <a:gd name="T1" fmla="*/ 0 h 84"/>
              <a:gd name="T2" fmla="*/ 0 w 230"/>
              <a:gd name="T3" fmla="*/ 0 h 84"/>
              <a:gd name="T4" fmla="*/ 193 w 230"/>
              <a:gd name="T5" fmla="*/ 84 h 84"/>
              <a:gd name="T6" fmla="*/ 230 w 230"/>
              <a:gd name="T7" fmla="*/ 82 h 84"/>
              <a:gd name="T8" fmla="*/ 73 w 230"/>
              <a:gd name="T9" fmla="*/ 0 h 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30" h="84">
                <a:moveTo>
                  <a:pt x="73" y="0"/>
                </a:moveTo>
                <a:cubicBezTo>
                  <a:pt x="0" y="0"/>
                  <a:pt x="0" y="0"/>
                  <a:pt x="0" y="0"/>
                </a:cubicBezTo>
                <a:cubicBezTo>
                  <a:pt x="48" y="52"/>
                  <a:pt x="117" y="84"/>
                  <a:pt x="193" y="84"/>
                </a:cubicBezTo>
                <a:cubicBezTo>
                  <a:pt x="205" y="84"/>
                  <a:pt x="218" y="84"/>
                  <a:pt x="230" y="82"/>
                </a:cubicBezTo>
                <a:cubicBezTo>
                  <a:pt x="168" y="73"/>
                  <a:pt x="114" y="44"/>
                  <a:pt x="73" y="0"/>
                </a:cubicBezTo>
                <a:close/>
              </a:path>
            </a:pathLst>
          </a:custGeom>
          <a:pattFill prst="wdUpDiag">
            <a:fgClr>
              <a:schemeClr val="bg1">
                <a:lumMod val="65000"/>
              </a:schemeClr>
            </a:fgClr>
            <a:bgClr>
              <a:schemeClr val="bg1"/>
            </a:bgClr>
          </a:pattFill>
          <a:ln w="25400">
            <a:solidFill>
              <a:schemeClr val="accent4"/>
            </a:solidFill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en-US">
              <a:latin typeface="Arial" panose="020B0604020202020204" pitchFamily="34" charset="0"/>
              <a:ea typeface="微软雅黑" panose="020B0503020204020204" pitchFamily="34" charset="-122"/>
              <a:cs typeface="思源黑体 CN Regular" panose="020B0500000000000000" charset="-122"/>
              <a:sym typeface="Arial" panose="020B0604020202020204" pitchFamily="34" charset="0"/>
            </a:endParaRPr>
          </a:p>
        </p:txBody>
      </p:sp>
      <p:sp>
        <p:nvSpPr>
          <p:cNvPr id="6" name="Freeform 78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SpPr/>
          <p:nvPr/>
        </p:nvSpPr>
        <p:spPr bwMode="auto">
          <a:xfrm>
            <a:off x="4327579" y="1860147"/>
            <a:ext cx="3043207" cy="884867"/>
          </a:xfrm>
          <a:custGeom>
            <a:avLst/>
            <a:gdLst>
              <a:gd name="T0" fmla="*/ 229 w 457"/>
              <a:gd name="T1" fmla="*/ 0 h 133"/>
              <a:gd name="T2" fmla="*/ 0 w 457"/>
              <a:gd name="T3" fmla="*/ 133 h 133"/>
              <a:gd name="T4" fmla="*/ 457 w 457"/>
              <a:gd name="T5" fmla="*/ 133 h 133"/>
              <a:gd name="T6" fmla="*/ 229 w 457"/>
              <a:gd name="T7" fmla="*/ 0 h 13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457" h="133">
                <a:moveTo>
                  <a:pt x="229" y="0"/>
                </a:moveTo>
                <a:cubicBezTo>
                  <a:pt x="131" y="0"/>
                  <a:pt x="46" y="53"/>
                  <a:pt x="0" y="133"/>
                </a:cubicBezTo>
                <a:cubicBezTo>
                  <a:pt x="457" y="133"/>
                  <a:pt x="457" y="133"/>
                  <a:pt x="457" y="133"/>
                </a:cubicBezTo>
                <a:cubicBezTo>
                  <a:pt x="412" y="53"/>
                  <a:pt x="327" y="0"/>
                  <a:pt x="229" y="0"/>
                </a:cubicBezTo>
                <a:close/>
              </a:path>
            </a:pathLst>
          </a:custGeom>
          <a:solidFill>
            <a:schemeClr val="bg1"/>
          </a:solidFill>
          <a:ln w="25400">
            <a:solidFill>
              <a:schemeClr val="accent1"/>
            </a:solidFill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en-US">
              <a:latin typeface="Arial" panose="020B0604020202020204" pitchFamily="34" charset="0"/>
              <a:ea typeface="微软雅黑" panose="020B0503020204020204" pitchFamily="34" charset="-122"/>
              <a:cs typeface="思源黑体 CN Regular" panose="020B0500000000000000" charset="-122"/>
              <a:sym typeface="Arial" panose="020B0604020202020204" pitchFamily="34" charset="0"/>
            </a:endParaRPr>
          </a:p>
        </p:txBody>
      </p:sp>
      <p:sp>
        <p:nvSpPr>
          <p:cNvPr id="7" name="Freeform 79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SpPr/>
          <p:nvPr/>
        </p:nvSpPr>
        <p:spPr bwMode="auto">
          <a:xfrm>
            <a:off x="4327579" y="1860147"/>
            <a:ext cx="1744790" cy="884867"/>
          </a:xfrm>
          <a:custGeom>
            <a:avLst/>
            <a:gdLst>
              <a:gd name="T0" fmla="*/ 262 w 262"/>
              <a:gd name="T1" fmla="*/ 2 h 133"/>
              <a:gd name="T2" fmla="*/ 229 w 262"/>
              <a:gd name="T3" fmla="*/ 0 h 133"/>
              <a:gd name="T4" fmla="*/ 0 w 262"/>
              <a:gd name="T5" fmla="*/ 133 h 133"/>
              <a:gd name="T6" fmla="*/ 66 w 262"/>
              <a:gd name="T7" fmla="*/ 133 h 133"/>
              <a:gd name="T8" fmla="*/ 262 w 262"/>
              <a:gd name="T9" fmla="*/ 2 h 13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62" h="133">
                <a:moveTo>
                  <a:pt x="262" y="2"/>
                </a:moveTo>
                <a:cubicBezTo>
                  <a:pt x="251" y="1"/>
                  <a:pt x="240" y="0"/>
                  <a:pt x="229" y="0"/>
                </a:cubicBezTo>
                <a:cubicBezTo>
                  <a:pt x="131" y="0"/>
                  <a:pt x="46" y="53"/>
                  <a:pt x="0" y="133"/>
                </a:cubicBezTo>
                <a:cubicBezTo>
                  <a:pt x="66" y="133"/>
                  <a:pt x="66" y="133"/>
                  <a:pt x="66" y="133"/>
                </a:cubicBezTo>
                <a:cubicBezTo>
                  <a:pt x="106" y="62"/>
                  <a:pt x="178" y="12"/>
                  <a:pt x="262" y="2"/>
                </a:cubicBezTo>
                <a:close/>
              </a:path>
            </a:pathLst>
          </a:custGeom>
          <a:pattFill prst="wdUpDiag">
            <a:fgClr>
              <a:schemeClr val="bg1">
                <a:lumMod val="65000"/>
              </a:schemeClr>
            </a:fgClr>
            <a:bgClr>
              <a:schemeClr val="bg1"/>
            </a:bgClr>
          </a:pattFill>
          <a:ln w="25400">
            <a:solidFill>
              <a:schemeClr val="accent1"/>
            </a:solidFill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en-US">
              <a:latin typeface="Arial" panose="020B0604020202020204" pitchFamily="34" charset="0"/>
              <a:ea typeface="微软雅黑" panose="020B0503020204020204" pitchFamily="34" charset="-122"/>
              <a:cs typeface="思源黑体 CN Regular" panose="020B0500000000000000" charset="-122"/>
              <a:sym typeface="Arial" panose="020B0604020202020204" pitchFamily="34" charset="0"/>
            </a:endParaRPr>
          </a:p>
        </p:txBody>
      </p:sp>
      <p:sp>
        <p:nvSpPr>
          <p:cNvPr id="8" name="Freeform 80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SpPr/>
          <p:nvPr/>
        </p:nvSpPr>
        <p:spPr bwMode="auto">
          <a:xfrm>
            <a:off x="3848385" y="4288143"/>
            <a:ext cx="3335975" cy="644614"/>
          </a:xfrm>
          <a:custGeom>
            <a:avLst/>
            <a:gdLst>
              <a:gd name="T0" fmla="*/ 0 w 501"/>
              <a:gd name="T1" fmla="*/ 0 h 97"/>
              <a:gd name="T2" fmla="*/ 57 w 501"/>
              <a:gd name="T3" fmla="*/ 97 h 97"/>
              <a:gd name="T4" fmla="*/ 443 w 501"/>
              <a:gd name="T5" fmla="*/ 97 h 97"/>
              <a:gd name="T6" fmla="*/ 501 w 501"/>
              <a:gd name="T7" fmla="*/ 0 h 97"/>
              <a:gd name="T8" fmla="*/ 0 w 501"/>
              <a:gd name="T9" fmla="*/ 0 h 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501" h="97">
                <a:moveTo>
                  <a:pt x="0" y="0"/>
                </a:moveTo>
                <a:cubicBezTo>
                  <a:pt x="12" y="36"/>
                  <a:pt x="31" y="70"/>
                  <a:pt x="57" y="97"/>
                </a:cubicBezTo>
                <a:cubicBezTo>
                  <a:pt x="443" y="97"/>
                  <a:pt x="443" y="97"/>
                  <a:pt x="443" y="97"/>
                </a:cubicBezTo>
                <a:cubicBezTo>
                  <a:pt x="469" y="70"/>
                  <a:pt x="489" y="36"/>
                  <a:pt x="501" y="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 w="25400">
            <a:solidFill>
              <a:schemeClr val="accent3"/>
            </a:solidFill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en-US">
              <a:latin typeface="Arial" panose="020B0604020202020204" pitchFamily="34" charset="0"/>
              <a:ea typeface="微软雅黑" panose="020B0503020204020204" pitchFamily="34" charset="-122"/>
              <a:cs typeface="思源黑体 CN Regular" panose="020B0500000000000000" charset="-122"/>
              <a:sym typeface="Arial" panose="020B0604020202020204" pitchFamily="34" charset="0"/>
            </a:endParaRPr>
          </a:p>
        </p:txBody>
      </p:sp>
      <p:sp>
        <p:nvSpPr>
          <p:cNvPr id="9" name="Freeform 81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SpPr/>
          <p:nvPr/>
        </p:nvSpPr>
        <p:spPr bwMode="auto">
          <a:xfrm>
            <a:off x="3848385" y="4259027"/>
            <a:ext cx="799531" cy="644614"/>
          </a:xfrm>
          <a:custGeom>
            <a:avLst/>
            <a:gdLst>
              <a:gd name="T0" fmla="*/ 0 w 120"/>
              <a:gd name="T1" fmla="*/ 0 h 97"/>
              <a:gd name="T2" fmla="*/ 58 w 120"/>
              <a:gd name="T3" fmla="*/ 97 h 97"/>
              <a:gd name="T4" fmla="*/ 120 w 120"/>
              <a:gd name="T5" fmla="*/ 97 h 97"/>
              <a:gd name="T6" fmla="*/ 62 w 120"/>
              <a:gd name="T7" fmla="*/ 0 h 97"/>
              <a:gd name="T8" fmla="*/ 0 w 120"/>
              <a:gd name="T9" fmla="*/ 0 h 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0" h="97">
                <a:moveTo>
                  <a:pt x="0" y="0"/>
                </a:moveTo>
                <a:cubicBezTo>
                  <a:pt x="12" y="36"/>
                  <a:pt x="32" y="70"/>
                  <a:pt x="58" y="97"/>
                </a:cubicBezTo>
                <a:cubicBezTo>
                  <a:pt x="120" y="97"/>
                  <a:pt x="120" y="97"/>
                  <a:pt x="120" y="97"/>
                </a:cubicBezTo>
                <a:cubicBezTo>
                  <a:pt x="94" y="70"/>
                  <a:pt x="74" y="36"/>
                  <a:pt x="62" y="0"/>
                </a:cubicBezTo>
                <a:lnTo>
                  <a:pt x="0" y="0"/>
                </a:lnTo>
                <a:close/>
              </a:path>
            </a:pathLst>
          </a:custGeom>
          <a:pattFill prst="wdUpDiag">
            <a:fgClr>
              <a:schemeClr val="bg1">
                <a:lumMod val="65000"/>
              </a:schemeClr>
            </a:fgClr>
            <a:bgClr>
              <a:schemeClr val="bg1"/>
            </a:bgClr>
          </a:pattFill>
          <a:ln w="25400">
            <a:solidFill>
              <a:schemeClr val="accent3"/>
            </a:solidFill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en-US">
              <a:latin typeface="Arial" panose="020B0604020202020204" pitchFamily="34" charset="0"/>
              <a:ea typeface="微软雅黑" panose="020B0503020204020204" pitchFamily="34" charset="-122"/>
              <a:cs typeface="思源黑体 CN Regular" panose="020B0500000000000000" charset="-122"/>
              <a:sym typeface="Arial" panose="020B0604020202020204" pitchFamily="34" charset="0"/>
            </a:endParaRPr>
          </a:p>
        </p:txBody>
      </p:sp>
      <p:sp>
        <p:nvSpPr>
          <p:cNvPr id="10" name="Freeform 82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SpPr/>
          <p:nvPr/>
        </p:nvSpPr>
        <p:spPr bwMode="auto">
          <a:xfrm>
            <a:off x="4834342" y="2796359"/>
            <a:ext cx="3509272" cy="1411323"/>
          </a:xfrm>
          <a:custGeom>
            <a:avLst/>
            <a:gdLst>
              <a:gd name="T0" fmla="*/ 527 w 527"/>
              <a:gd name="T1" fmla="*/ 130 h 212"/>
              <a:gd name="T2" fmla="*/ 492 w 527"/>
              <a:gd name="T3" fmla="*/ 0 h 212"/>
              <a:gd name="T4" fmla="*/ 35 w 527"/>
              <a:gd name="T5" fmla="*/ 0 h 212"/>
              <a:gd name="T6" fmla="*/ 0 w 527"/>
              <a:gd name="T7" fmla="*/ 130 h 212"/>
              <a:gd name="T8" fmla="*/ 13 w 527"/>
              <a:gd name="T9" fmla="*/ 212 h 212"/>
              <a:gd name="T10" fmla="*/ 514 w 527"/>
              <a:gd name="T11" fmla="*/ 212 h 212"/>
              <a:gd name="T12" fmla="*/ 527 w 527"/>
              <a:gd name="T13" fmla="*/ 130 h 2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527" h="211">
                <a:moveTo>
                  <a:pt x="527" y="130"/>
                </a:moveTo>
                <a:cubicBezTo>
                  <a:pt x="527" y="83"/>
                  <a:pt x="514" y="38"/>
                  <a:pt x="492" y="0"/>
                </a:cubicBezTo>
                <a:cubicBezTo>
                  <a:pt x="35" y="0"/>
                  <a:pt x="35" y="0"/>
                  <a:pt x="35" y="0"/>
                </a:cubicBezTo>
                <a:cubicBezTo>
                  <a:pt x="13" y="38"/>
                  <a:pt x="0" y="83"/>
                  <a:pt x="0" y="130"/>
                </a:cubicBezTo>
                <a:cubicBezTo>
                  <a:pt x="0" y="159"/>
                  <a:pt x="4" y="186"/>
                  <a:pt x="13" y="212"/>
                </a:cubicBezTo>
                <a:cubicBezTo>
                  <a:pt x="514" y="212"/>
                  <a:pt x="514" y="212"/>
                  <a:pt x="514" y="212"/>
                </a:cubicBezTo>
                <a:cubicBezTo>
                  <a:pt x="522" y="186"/>
                  <a:pt x="527" y="159"/>
                  <a:pt x="527" y="130"/>
                </a:cubicBezTo>
                <a:close/>
              </a:path>
            </a:pathLst>
          </a:custGeom>
          <a:solidFill>
            <a:schemeClr val="bg1"/>
          </a:solidFill>
          <a:ln w="25400">
            <a:solidFill>
              <a:schemeClr val="accent2"/>
            </a:solidFill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en-US">
              <a:latin typeface="Arial" panose="020B0604020202020204" pitchFamily="34" charset="0"/>
              <a:ea typeface="微软雅黑" panose="020B0503020204020204" pitchFamily="34" charset="-122"/>
              <a:cs typeface="思源黑体 CN Regular" panose="020B0500000000000000" charset="-122"/>
              <a:sym typeface="Arial" panose="020B0604020202020204" pitchFamily="34" charset="0"/>
            </a:endParaRPr>
          </a:p>
        </p:txBody>
      </p:sp>
      <p:sp>
        <p:nvSpPr>
          <p:cNvPr id="11" name="Freeform 83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SpPr/>
          <p:nvPr/>
        </p:nvSpPr>
        <p:spPr bwMode="auto">
          <a:xfrm>
            <a:off x="4840906" y="2796359"/>
            <a:ext cx="598664" cy="1411323"/>
          </a:xfrm>
          <a:custGeom>
            <a:avLst/>
            <a:gdLst>
              <a:gd name="T0" fmla="*/ 90 w 90"/>
              <a:gd name="T1" fmla="*/ 0 h 212"/>
              <a:gd name="T2" fmla="*/ 35 w 90"/>
              <a:gd name="T3" fmla="*/ 0 h 212"/>
              <a:gd name="T4" fmla="*/ 0 w 90"/>
              <a:gd name="T5" fmla="*/ 130 h 212"/>
              <a:gd name="T6" fmla="*/ 13 w 90"/>
              <a:gd name="T7" fmla="*/ 212 h 212"/>
              <a:gd name="T8" fmla="*/ 68 w 90"/>
              <a:gd name="T9" fmla="*/ 212 h 212"/>
              <a:gd name="T10" fmla="*/ 55 w 90"/>
              <a:gd name="T11" fmla="*/ 130 h 212"/>
              <a:gd name="T12" fmla="*/ 90 w 90"/>
              <a:gd name="T13" fmla="*/ 0 h 2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90" h="211">
                <a:moveTo>
                  <a:pt x="90" y="0"/>
                </a:moveTo>
                <a:cubicBezTo>
                  <a:pt x="35" y="0"/>
                  <a:pt x="35" y="0"/>
                  <a:pt x="35" y="0"/>
                </a:cubicBezTo>
                <a:cubicBezTo>
                  <a:pt x="13" y="38"/>
                  <a:pt x="0" y="83"/>
                  <a:pt x="0" y="130"/>
                </a:cubicBezTo>
                <a:cubicBezTo>
                  <a:pt x="0" y="159"/>
                  <a:pt x="5" y="186"/>
                  <a:pt x="13" y="212"/>
                </a:cubicBezTo>
                <a:cubicBezTo>
                  <a:pt x="68" y="212"/>
                  <a:pt x="68" y="212"/>
                  <a:pt x="68" y="212"/>
                </a:cubicBezTo>
                <a:cubicBezTo>
                  <a:pt x="60" y="186"/>
                  <a:pt x="55" y="159"/>
                  <a:pt x="55" y="130"/>
                </a:cubicBezTo>
                <a:cubicBezTo>
                  <a:pt x="55" y="83"/>
                  <a:pt x="68" y="38"/>
                  <a:pt x="90" y="0"/>
                </a:cubicBezTo>
                <a:close/>
              </a:path>
            </a:pathLst>
          </a:custGeom>
          <a:pattFill prst="wdUpDiag">
            <a:fgClr>
              <a:schemeClr val="bg1">
                <a:lumMod val="65000"/>
              </a:schemeClr>
            </a:fgClr>
            <a:bgClr>
              <a:schemeClr val="bg1"/>
            </a:bgClr>
          </a:pattFill>
          <a:ln w="25400">
            <a:solidFill>
              <a:schemeClr val="accent2"/>
            </a:solidFill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en-US">
              <a:latin typeface="Arial" panose="020B0604020202020204" pitchFamily="34" charset="0"/>
              <a:ea typeface="微软雅黑" panose="020B0503020204020204" pitchFamily="34" charset="-122"/>
              <a:cs typeface="思源黑体 CN Regular" panose="020B0500000000000000" charset="-122"/>
              <a:sym typeface="Arial" panose="020B0604020202020204" pitchFamily="34" charset="0"/>
            </a:endParaRPr>
          </a:p>
        </p:txBody>
      </p:sp>
      <p:sp>
        <p:nvSpPr>
          <p:cNvPr id="13" name="Oval 12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SpPr/>
          <p:nvPr/>
        </p:nvSpPr>
        <p:spPr>
          <a:xfrm>
            <a:off x="8176697" y="3326182"/>
            <a:ext cx="343116" cy="343114"/>
          </a:xfrm>
          <a:prstGeom prst="ellipse">
            <a:avLst/>
          </a:prstGeom>
          <a:solidFill>
            <a:schemeClr val="accent2"/>
          </a:solidFill>
          <a:ln w="254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80000"/>
              </a:lnSpc>
            </a:pPr>
            <a:r>
              <a:rPr lang="en-US" altLang="zh-CN" sz="1000">
                <a:solidFill>
                  <a:srgbClr val="FFFFFF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rPr>
              <a:t>W</a:t>
            </a:r>
            <a:endParaRPr lang="en-US" sz="1000">
              <a:solidFill>
                <a:srgbClr val="FFFFFF"/>
              </a:solidFill>
              <a:latin typeface="Arial" panose="020B0604020202020204" pitchFamily="34" charset="0"/>
              <a:ea typeface="微软雅黑" panose="020B0503020204020204" pitchFamily="34" charset="-122"/>
              <a:cs typeface="思源黑体 CN Regular" panose="020B0500000000000000" charset="-122"/>
              <a:sym typeface="Arial" panose="020B0604020202020204" pitchFamily="34" charset="0"/>
            </a:endParaRPr>
          </a:p>
        </p:txBody>
      </p:sp>
      <p:sp>
        <p:nvSpPr>
          <p:cNvPr id="15" name="Oval 14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SpPr/>
          <p:nvPr/>
        </p:nvSpPr>
        <p:spPr>
          <a:xfrm>
            <a:off x="7652715" y="4774838"/>
            <a:ext cx="343116" cy="343114"/>
          </a:xfrm>
          <a:prstGeom prst="ellipse">
            <a:avLst/>
          </a:prstGeom>
          <a:solidFill>
            <a:schemeClr val="accent4"/>
          </a:solidFill>
          <a:ln w="254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80000"/>
              </a:lnSpc>
            </a:pPr>
            <a:r>
              <a:rPr lang="en-US" altLang="zh-CN" sz="1000">
                <a:solidFill>
                  <a:srgbClr val="FFFFFF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rPr>
              <a:t>T</a:t>
            </a:r>
            <a:endParaRPr lang="en-US" sz="1000">
              <a:solidFill>
                <a:srgbClr val="FFFFFF"/>
              </a:solidFill>
              <a:latin typeface="Arial" panose="020B0604020202020204" pitchFamily="34" charset="0"/>
              <a:ea typeface="微软雅黑" panose="020B0503020204020204" pitchFamily="34" charset="-122"/>
              <a:cs typeface="思源黑体 CN Regular" panose="020B0500000000000000" charset="-122"/>
              <a:sym typeface="Arial" panose="020B0604020202020204" pitchFamily="34" charset="0"/>
            </a:endParaRPr>
          </a:p>
        </p:txBody>
      </p:sp>
      <p:sp>
        <p:nvSpPr>
          <p:cNvPr id="17" name="Oval 16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SpPr/>
          <p:nvPr/>
        </p:nvSpPr>
        <p:spPr>
          <a:xfrm>
            <a:off x="3711476" y="4117238"/>
            <a:ext cx="343116" cy="343114"/>
          </a:xfrm>
          <a:prstGeom prst="ellipse">
            <a:avLst/>
          </a:prstGeom>
          <a:solidFill>
            <a:schemeClr val="accent3"/>
          </a:solidFill>
          <a:ln w="254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80000"/>
              </a:lnSpc>
            </a:pPr>
            <a:r>
              <a:rPr lang="en-US" altLang="zh-CN" sz="1000">
                <a:solidFill>
                  <a:srgbClr val="FFFFFF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rPr>
              <a:t>O</a:t>
            </a:r>
            <a:endParaRPr lang="en-US" sz="1000">
              <a:solidFill>
                <a:srgbClr val="FFFFFF"/>
              </a:solidFill>
              <a:latin typeface="Arial" panose="020B0604020202020204" pitchFamily="34" charset="0"/>
              <a:ea typeface="微软雅黑" panose="020B0503020204020204" pitchFamily="34" charset="-122"/>
              <a:cs typeface="思源黑体 CN Regular" panose="020B0500000000000000" charset="-122"/>
              <a:sym typeface="Arial" panose="020B0604020202020204" pitchFamily="34" charset="0"/>
            </a:endParaRPr>
          </a:p>
        </p:txBody>
      </p:sp>
      <p:sp>
        <p:nvSpPr>
          <p:cNvPr id="19" name="Oval 18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SpPr/>
          <p:nvPr/>
        </p:nvSpPr>
        <p:spPr>
          <a:xfrm>
            <a:off x="4173512" y="2515603"/>
            <a:ext cx="343116" cy="343114"/>
          </a:xfrm>
          <a:prstGeom prst="ellipse">
            <a:avLst/>
          </a:prstGeom>
          <a:solidFill>
            <a:schemeClr val="accent1"/>
          </a:solidFill>
          <a:ln w="254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80000"/>
              </a:lnSpc>
            </a:pPr>
            <a:r>
              <a:rPr lang="en-US" altLang="zh-CN" sz="1000">
                <a:solidFill>
                  <a:srgbClr val="FFFFFF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rPr>
              <a:t>S</a:t>
            </a:r>
            <a:endParaRPr lang="en-US" sz="1000">
              <a:solidFill>
                <a:srgbClr val="FFFFFF"/>
              </a:solidFill>
              <a:latin typeface="Arial" panose="020B0604020202020204" pitchFamily="34" charset="0"/>
              <a:ea typeface="微软雅黑" panose="020B0503020204020204" pitchFamily="34" charset="-122"/>
              <a:cs typeface="思源黑体 CN Regular" panose="020B0500000000000000" charset="-122"/>
              <a:sym typeface="Arial" panose="020B0604020202020204" pitchFamily="34" charset="0"/>
            </a:endParaRPr>
          </a:p>
        </p:txBody>
      </p:sp>
      <p:sp>
        <p:nvSpPr>
          <p:cNvPr id="25" name="Pie 24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SpPr/>
          <p:nvPr/>
        </p:nvSpPr>
        <p:spPr>
          <a:xfrm>
            <a:off x="4689231" y="1857602"/>
            <a:ext cx="2348568" cy="1378289"/>
          </a:xfrm>
          <a:prstGeom prst="pie">
            <a:avLst>
              <a:gd name="adj1" fmla="val 11418994"/>
              <a:gd name="adj2" fmla="val 20995703"/>
            </a:avLst>
          </a:prstGeom>
          <a:gradFill>
            <a:gsLst>
              <a:gs pos="0">
                <a:schemeClr val="accent1">
                  <a:alpha val="20000"/>
                </a:schemeClr>
              </a:gs>
              <a:gs pos="99000">
                <a:schemeClr val="bg1">
                  <a:alpha val="0"/>
                </a:schemeClr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  <a:latin typeface="Arial" panose="020B0604020202020204" pitchFamily="34" charset="0"/>
              <a:ea typeface="微软雅黑" panose="020B0503020204020204" pitchFamily="34" charset="-122"/>
              <a:cs typeface="思源黑体 CN Regular" panose="020B0500000000000000" charset="-122"/>
              <a:sym typeface="Arial" panose="020B0604020202020204" pitchFamily="34" charset="0"/>
            </a:endParaRPr>
          </a:p>
        </p:txBody>
      </p:sp>
      <p:sp>
        <p:nvSpPr>
          <p:cNvPr id="27" name="Freeform 851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SpPr>
            <a:spLocks noEditPoints="1"/>
          </p:cNvSpPr>
          <p:nvPr/>
        </p:nvSpPr>
        <p:spPr bwMode="auto">
          <a:xfrm>
            <a:off x="5385112" y="4376343"/>
            <a:ext cx="328539" cy="376247"/>
          </a:xfrm>
          <a:custGeom>
            <a:avLst/>
            <a:gdLst>
              <a:gd name="T0" fmla="*/ 119 w 141"/>
              <a:gd name="T1" fmla="*/ 84 h 160"/>
              <a:gd name="T2" fmla="*/ 95 w 141"/>
              <a:gd name="T3" fmla="*/ 20 h 160"/>
              <a:gd name="T4" fmla="*/ 84 w 141"/>
              <a:gd name="T5" fmla="*/ 15 h 160"/>
              <a:gd name="T6" fmla="*/ 55 w 141"/>
              <a:gd name="T7" fmla="*/ 15 h 160"/>
              <a:gd name="T8" fmla="*/ 46 w 141"/>
              <a:gd name="T9" fmla="*/ 20 h 160"/>
              <a:gd name="T10" fmla="*/ 20 w 141"/>
              <a:gd name="T11" fmla="*/ 84 h 160"/>
              <a:gd name="T12" fmla="*/ 0 w 141"/>
              <a:gd name="T13" fmla="*/ 135 h 160"/>
              <a:gd name="T14" fmla="*/ 30 w 141"/>
              <a:gd name="T15" fmla="*/ 141 h 160"/>
              <a:gd name="T16" fmla="*/ 70 w 141"/>
              <a:gd name="T17" fmla="*/ 160 h 160"/>
              <a:gd name="T18" fmla="*/ 111 w 141"/>
              <a:gd name="T19" fmla="*/ 141 h 160"/>
              <a:gd name="T20" fmla="*/ 140 w 141"/>
              <a:gd name="T21" fmla="*/ 135 h 160"/>
              <a:gd name="T22" fmla="*/ 61 w 141"/>
              <a:gd name="T23" fmla="*/ 15 h 160"/>
              <a:gd name="T24" fmla="*/ 79 w 141"/>
              <a:gd name="T25" fmla="*/ 15 h 160"/>
              <a:gd name="T26" fmla="*/ 61 w 141"/>
              <a:gd name="T27" fmla="*/ 15 h 160"/>
              <a:gd name="T28" fmla="*/ 52 w 141"/>
              <a:gd name="T29" fmla="*/ 145 h 160"/>
              <a:gd name="T30" fmla="*/ 89 w 141"/>
              <a:gd name="T31" fmla="*/ 145 h 160"/>
              <a:gd name="T32" fmla="*/ 110 w 141"/>
              <a:gd name="T33" fmla="*/ 136 h 160"/>
              <a:gd name="T34" fmla="*/ 94 w 141"/>
              <a:gd name="T35" fmla="*/ 138 h 160"/>
              <a:gd name="T36" fmla="*/ 88 w 141"/>
              <a:gd name="T37" fmla="*/ 139 h 160"/>
              <a:gd name="T38" fmla="*/ 81 w 141"/>
              <a:gd name="T39" fmla="*/ 139 h 160"/>
              <a:gd name="T40" fmla="*/ 76 w 141"/>
              <a:gd name="T41" fmla="*/ 140 h 160"/>
              <a:gd name="T42" fmla="*/ 64 w 141"/>
              <a:gd name="T43" fmla="*/ 140 h 160"/>
              <a:gd name="T44" fmla="*/ 58 w 141"/>
              <a:gd name="T45" fmla="*/ 139 h 160"/>
              <a:gd name="T46" fmla="*/ 53 w 141"/>
              <a:gd name="T47" fmla="*/ 139 h 160"/>
              <a:gd name="T48" fmla="*/ 47 w 141"/>
              <a:gd name="T49" fmla="*/ 138 h 160"/>
              <a:gd name="T50" fmla="*/ 9 w 141"/>
              <a:gd name="T51" fmla="*/ 132 h 160"/>
              <a:gd name="T52" fmla="*/ 26 w 141"/>
              <a:gd name="T53" fmla="*/ 58 h 160"/>
              <a:gd name="T54" fmla="*/ 59 w 141"/>
              <a:gd name="T55" fmla="*/ 22 h 160"/>
              <a:gd name="T56" fmla="*/ 81 w 141"/>
              <a:gd name="T57" fmla="*/ 21 h 160"/>
              <a:gd name="T58" fmla="*/ 92 w 141"/>
              <a:gd name="T59" fmla="*/ 25 h 160"/>
              <a:gd name="T60" fmla="*/ 114 w 141"/>
              <a:gd name="T61" fmla="*/ 84 h 160"/>
              <a:gd name="T62" fmla="*/ 110 w 141"/>
              <a:gd name="T63" fmla="*/ 136 h 160"/>
              <a:gd name="T64" fmla="*/ 86 w 141"/>
              <a:gd name="T65" fmla="*/ 38 h 160"/>
              <a:gd name="T66" fmla="*/ 41 w 141"/>
              <a:gd name="T67" fmla="*/ 58 h 160"/>
              <a:gd name="T68" fmla="*/ 38 w 141"/>
              <a:gd name="T69" fmla="*/ 61 h 160"/>
              <a:gd name="T70" fmla="*/ 52 w 141"/>
              <a:gd name="T71" fmla="*/ 33 h 160"/>
              <a:gd name="T72" fmla="*/ 90 w 141"/>
              <a:gd name="T73" fmla="*/ 37 h 1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141" h="160">
                <a:moveTo>
                  <a:pt x="140" y="132"/>
                </a:moveTo>
                <a:cubicBezTo>
                  <a:pt x="126" y="118"/>
                  <a:pt x="119" y="102"/>
                  <a:pt x="119" y="84"/>
                </a:cubicBezTo>
                <a:cubicBezTo>
                  <a:pt x="119" y="58"/>
                  <a:pt x="119" y="58"/>
                  <a:pt x="119" y="58"/>
                </a:cubicBezTo>
                <a:cubicBezTo>
                  <a:pt x="119" y="38"/>
                  <a:pt x="106" y="25"/>
                  <a:pt x="95" y="20"/>
                </a:cubicBezTo>
                <a:cubicBezTo>
                  <a:pt x="91" y="18"/>
                  <a:pt x="88" y="17"/>
                  <a:pt x="84" y="16"/>
                </a:cubicBezTo>
                <a:cubicBezTo>
                  <a:pt x="84" y="15"/>
                  <a:pt x="84" y="15"/>
                  <a:pt x="84" y="15"/>
                </a:cubicBezTo>
                <a:cubicBezTo>
                  <a:pt x="84" y="7"/>
                  <a:pt x="78" y="0"/>
                  <a:pt x="70" y="0"/>
                </a:cubicBezTo>
                <a:cubicBezTo>
                  <a:pt x="62" y="0"/>
                  <a:pt x="55" y="7"/>
                  <a:pt x="55" y="15"/>
                </a:cubicBezTo>
                <a:cubicBezTo>
                  <a:pt x="55" y="16"/>
                  <a:pt x="55" y="16"/>
                  <a:pt x="55" y="16"/>
                </a:cubicBezTo>
                <a:cubicBezTo>
                  <a:pt x="52" y="17"/>
                  <a:pt x="49" y="18"/>
                  <a:pt x="46" y="20"/>
                </a:cubicBezTo>
                <a:cubicBezTo>
                  <a:pt x="33" y="26"/>
                  <a:pt x="20" y="40"/>
                  <a:pt x="20" y="58"/>
                </a:cubicBezTo>
                <a:cubicBezTo>
                  <a:pt x="20" y="84"/>
                  <a:pt x="20" y="84"/>
                  <a:pt x="20" y="84"/>
                </a:cubicBezTo>
                <a:cubicBezTo>
                  <a:pt x="20" y="103"/>
                  <a:pt x="14" y="119"/>
                  <a:pt x="1" y="132"/>
                </a:cubicBezTo>
                <a:cubicBezTo>
                  <a:pt x="0" y="133"/>
                  <a:pt x="0" y="134"/>
                  <a:pt x="0" y="135"/>
                </a:cubicBezTo>
                <a:cubicBezTo>
                  <a:pt x="0" y="136"/>
                  <a:pt x="1" y="137"/>
                  <a:pt x="2" y="137"/>
                </a:cubicBezTo>
                <a:cubicBezTo>
                  <a:pt x="30" y="141"/>
                  <a:pt x="30" y="141"/>
                  <a:pt x="30" y="141"/>
                </a:cubicBezTo>
                <a:cubicBezTo>
                  <a:pt x="35" y="142"/>
                  <a:pt x="40" y="143"/>
                  <a:pt x="44" y="144"/>
                </a:cubicBezTo>
                <a:cubicBezTo>
                  <a:pt x="49" y="154"/>
                  <a:pt x="59" y="160"/>
                  <a:pt x="70" y="160"/>
                </a:cubicBezTo>
                <a:cubicBezTo>
                  <a:pt x="81" y="160"/>
                  <a:pt x="91" y="154"/>
                  <a:pt x="96" y="144"/>
                </a:cubicBezTo>
                <a:cubicBezTo>
                  <a:pt x="101" y="143"/>
                  <a:pt x="105" y="142"/>
                  <a:pt x="111" y="141"/>
                </a:cubicBezTo>
                <a:cubicBezTo>
                  <a:pt x="138" y="137"/>
                  <a:pt x="138" y="137"/>
                  <a:pt x="138" y="137"/>
                </a:cubicBezTo>
                <a:cubicBezTo>
                  <a:pt x="139" y="137"/>
                  <a:pt x="140" y="136"/>
                  <a:pt x="140" y="135"/>
                </a:cubicBezTo>
                <a:cubicBezTo>
                  <a:pt x="141" y="134"/>
                  <a:pt x="141" y="133"/>
                  <a:pt x="140" y="132"/>
                </a:cubicBezTo>
                <a:close/>
                <a:moveTo>
                  <a:pt x="61" y="15"/>
                </a:moveTo>
                <a:cubicBezTo>
                  <a:pt x="61" y="10"/>
                  <a:pt x="65" y="6"/>
                  <a:pt x="70" y="6"/>
                </a:cubicBezTo>
                <a:cubicBezTo>
                  <a:pt x="75" y="6"/>
                  <a:pt x="79" y="10"/>
                  <a:pt x="79" y="15"/>
                </a:cubicBezTo>
                <a:cubicBezTo>
                  <a:pt x="79" y="15"/>
                  <a:pt x="79" y="15"/>
                  <a:pt x="79" y="15"/>
                </a:cubicBezTo>
                <a:cubicBezTo>
                  <a:pt x="73" y="14"/>
                  <a:pt x="67" y="14"/>
                  <a:pt x="61" y="15"/>
                </a:cubicBezTo>
                <a:close/>
                <a:moveTo>
                  <a:pt x="70" y="154"/>
                </a:moveTo>
                <a:cubicBezTo>
                  <a:pt x="63" y="154"/>
                  <a:pt x="56" y="151"/>
                  <a:pt x="52" y="145"/>
                </a:cubicBezTo>
                <a:cubicBezTo>
                  <a:pt x="58" y="145"/>
                  <a:pt x="64" y="146"/>
                  <a:pt x="70" y="146"/>
                </a:cubicBezTo>
                <a:cubicBezTo>
                  <a:pt x="76" y="146"/>
                  <a:pt x="82" y="145"/>
                  <a:pt x="89" y="145"/>
                </a:cubicBezTo>
                <a:cubicBezTo>
                  <a:pt x="85" y="151"/>
                  <a:pt x="78" y="154"/>
                  <a:pt x="70" y="154"/>
                </a:cubicBezTo>
                <a:close/>
                <a:moveTo>
                  <a:pt x="110" y="136"/>
                </a:moveTo>
                <a:cubicBezTo>
                  <a:pt x="104" y="137"/>
                  <a:pt x="99" y="137"/>
                  <a:pt x="94" y="138"/>
                </a:cubicBezTo>
                <a:cubicBezTo>
                  <a:pt x="94" y="138"/>
                  <a:pt x="94" y="138"/>
                  <a:pt x="94" y="138"/>
                </a:cubicBezTo>
                <a:cubicBezTo>
                  <a:pt x="92" y="138"/>
                  <a:pt x="90" y="139"/>
                  <a:pt x="88" y="139"/>
                </a:cubicBezTo>
                <a:cubicBezTo>
                  <a:pt x="88" y="139"/>
                  <a:pt x="88" y="139"/>
                  <a:pt x="88" y="139"/>
                </a:cubicBezTo>
                <a:cubicBezTo>
                  <a:pt x="86" y="139"/>
                  <a:pt x="84" y="139"/>
                  <a:pt x="82" y="139"/>
                </a:cubicBezTo>
                <a:cubicBezTo>
                  <a:pt x="82" y="139"/>
                  <a:pt x="82" y="139"/>
                  <a:pt x="81" y="139"/>
                </a:cubicBezTo>
                <a:cubicBezTo>
                  <a:pt x="80" y="139"/>
                  <a:pt x="78" y="140"/>
                  <a:pt x="77" y="140"/>
                </a:cubicBezTo>
                <a:cubicBezTo>
                  <a:pt x="76" y="140"/>
                  <a:pt x="76" y="140"/>
                  <a:pt x="76" y="140"/>
                </a:cubicBezTo>
                <a:cubicBezTo>
                  <a:pt x="72" y="140"/>
                  <a:pt x="69" y="140"/>
                  <a:pt x="65" y="140"/>
                </a:cubicBezTo>
                <a:cubicBezTo>
                  <a:pt x="65" y="140"/>
                  <a:pt x="64" y="140"/>
                  <a:pt x="64" y="140"/>
                </a:cubicBezTo>
                <a:cubicBezTo>
                  <a:pt x="62" y="140"/>
                  <a:pt x="61" y="139"/>
                  <a:pt x="59" y="139"/>
                </a:cubicBezTo>
                <a:cubicBezTo>
                  <a:pt x="59" y="139"/>
                  <a:pt x="59" y="139"/>
                  <a:pt x="58" y="139"/>
                </a:cubicBezTo>
                <a:cubicBezTo>
                  <a:pt x="57" y="139"/>
                  <a:pt x="55" y="139"/>
                  <a:pt x="53" y="139"/>
                </a:cubicBezTo>
                <a:cubicBezTo>
                  <a:pt x="53" y="139"/>
                  <a:pt x="53" y="139"/>
                  <a:pt x="53" y="139"/>
                </a:cubicBezTo>
                <a:cubicBezTo>
                  <a:pt x="51" y="139"/>
                  <a:pt x="49" y="138"/>
                  <a:pt x="47" y="138"/>
                </a:cubicBezTo>
                <a:cubicBezTo>
                  <a:pt x="47" y="138"/>
                  <a:pt x="47" y="138"/>
                  <a:pt x="47" y="138"/>
                </a:cubicBezTo>
                <a:cubicBezTo>
                  <a:pt x="42" y="137"/>
                  <a:pt x="37" y="137"/>
                  <a:pt x="31" y="136"/>
                </a:cubicBezTo>
                <a:cubicBezTo>
                  <a:pt x="9" y="132"/>
                  <a:pt x="9" y="132"/>
                  <a:pt x="9" y="132"/>
                </a:cubicBezTo>
                <a:cubicBezTo>
                  <a:pt x="20" y="119"/>
                  <a:pt x="26" y="103"/>
                  <a:pt x="26" y="84"/>
                </a:cubicBezTo>
                <a:cubicBezTo>
                  <a:pt x="26" y="58"/>
                  <a:pt x="26" y="58"/>
                  <a:pt x="26" y="58"/>
                </a:cubicBezTo>
                <a:cubicBezTo>
                  <a:pt x="26" y="42"/>
                  <a:pt x="37" y="30"/>
                  <a:pt x="49" y="25"/>
                </a:cubicBezTo>
                <a:cubicBezTo>
                  <a:pt x="52" y="24"/>
                  <a:pt x="55" y="22"/>
                  <a:pt x="59" y="22"/>
                </a:cubicBezTo>
                <a:cubicBezTo>
                  <a:pt x="59" y="22"/>
                  <a:pt x="59" y="22"/>
                  <a:pt x="59" y="22"/>
                </a:cubicBezTo>
                <a:cubicBezTo>
                  <a:pt x="66" y="20"/>
                  <a:pt x="74" y="20"/>
                  <a:pt x="81" y="21"/>
                </a:cubicBezTo>
                <a:cubicBezTo>
                  <a:pt x="81" y="21"/>
                  <a:pt x="81" y="21"/>
                  <a:pt x="81" y="21"/>
                </a:cubicBezTo>
                <a:cubicBezTo>
                  <a:pt x="85" y="22"/>
                  <a:pt x="89" y="23"/>
                  <a:pt x="92" y="25"/>
                </a:cubicBezTo>
                <a:cubicBezTo>
                  <a:pt x="103" y="30"/>
                  <a:pt x="114" y="42"/>
                  <a:pt x="114" y="58"/>
                </a:cubicBezTo>
                <a:cubicBezTo>
                  <a:pt x="114" y="84"/>
                  <a:pt x="114" y="84"/>
                  <a:pt x="114" y="84"/>
                </a:cubicBezTo>
                <a:cubicBezTo>
                  <a:pt x="114" y="102"/>
                  <a:pt x="120" y="118"/>
                  <a:pt x="132" y="132"/>
                </a:cubicBezTo>
                <a:lnTo>
                  <a:pt x="110" y="136"/>
                </a:lnTo>
                <a:close/>
                <a:moveTo>
                  <a:pt x="90" y="37"/>
                </a:moveTo>
                <a:cubicBezTo>
                  <a:pt x="89" y="38"/>
                  <a:pt x="88" y="39"/>
                  <a:pt x="86" y="38"/>
                </a:cubicBezTo>
                <a:cubicBezTo>
                  <a:pt x="76" y="34"/>
                  <a:pt x="64" y="34"/>
                  <a:pt x="55" y="38"/>
                </a:cubicBezTo>
                <a:cubicBezTo>
                  <a:pt x="50" y="41"/>
                  <a:pt x="41" y="48"/>
                  <a:pt x="41" y="58"/>
                </a:cubicBezTo>
                <a:cubicBezTo>
                  <a:pt x="41" y="60"/>
                  <a:pt x="39" y="61"/>
                  <a:pt x="38" y="61"/>
                </a:cubicBezTo>
                <a:cubicBezTo>
                  <a:pt x="38" y="61"/>
                  <a:pt x="38" y="61"/>
                  <a:pt x="38" y="61"/>
                </a:cubicBezTo>
                <a:cubicBezTo>
                  <a:pt x="36" y="61"/>
                  <a:pt x="35" y="60"/>
                  <a:pt x="35" y="58"/>
                </a:cubicBezTo>
                <a:cubicBezTo>
                  <a:pt x="35" y="45"/>
                  <a:pt x="46" y="36"/>
                  <a:pt x="52" y="33"/>
                </a:cubicBezTo>
                <a:cubicBezTo>
                  <a:pt x="63" y="28"/>
                  <a:pt x="77" y="28"/>
                  <a:pt x="88" y="33"/>
                </a:cubicBezTo>
                <a:cubicBezTo>
                  <a:pt x="90" y="34"/>
                  <a:pt x="91" y="35"/>
                  <a:pt x="90" y="37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en-US">
              <a:latin typeface="Arial" panose="020B0604020202020204" pitchFamily="34" charset="0"/>
              <a:ea typeface="微软雅黑" panose="020B0503020204020204" pitchFamily="34" charset="-122"/>
              <a:cs typeface="思源黑体 CN Regular" panose="020B0500000000000000" charset="-122"/>
              <a:sym typeface="Arial" panose="020B0604020202020204" pitchFamily="34" charset="0"/>
            </a:endParaRPr>
          </a:p>
        </p:txBody>
      </p:sp>
      <p:sp>
        <p:nvSpPr>
          <p:cNvPr id="28" name="Freeform 1137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SpPr>
            <a:spLocks noEditPoints="1"/>
          </p:cNvSpPr>
          <p:nvPr/>
        </p:nvSpPr>
        <p:spPr bwMode="auto">
          <a:xfrm>
            <a:off x="6518596" y="3399796"/>
            <a:ext cx="372995" cy="338296"/>
          </a:xfrm>
          <a:custGeom>
            <a:avLst/>
            <a:gdLst>
              <a:gd name="T0" fmla="*/ 160 w 160"/>
              <a:gd name="T1" fmla="*/ 45 h 144"/>
              <a:gd name="T2" fmla="*/ 160 w 160"/>
              <a:gd name="T3" fmla="*/ 45 h 144"/>
              <a:gd name="T4" fmla="*/ 160 w 160"/>
              <a:gd name="T5" fmla="*/ 44 h 144"/>
              <a:gd name="T6" fmla="*/ 160 w 160"/>
              <a:gd name="T7" fmla="*/ 44 h 144"/>
              <a:gd name="T8" fmla="*/ 133 w 160"/>
              <a:gd name="T9" fmla="*/ 1 h 144"/>
              <a:gd name="T10" fmla="*/ 132 w 160"/>
              <a:gd name="T11" fmla="*/ 0 h 144"/>
              <a:gd name="T12" fmla="*/ 132 w 160"/>
              <a:gd name="T13" fmla="*/ 0 h 144"/>
              <a:gd name="T14" fmla="*/ 29 w 160"/>
              <a:gd name="T15" fmla="*/ 0 h 144"/>
              <a:gd name="T16" fmla="*/ 28 w 160"/>
              <a:gd name="T17" fmla="*/ 0 h 144"/>
              <a:gd name="T18" fmla="*/ 28 w 160"/>
              <a:gd name="T19" fmla="*/ 1 h 144"/>
              <a:gd name="T20" fmla="*/ 27 w 160"/>
              <a:gd name="T21" fmla="*/ 1 h 144"/>
              <a:gd name="T22" fmla="*/ 0 w 160"/>
              <a:gd name="T23" fmla="*/ 44 h 144"/>
              <a:gd name="T24" fmla="*/ 0 w 160"/>
              <a:gd name="T25" fmla="*/ 44 h 144"/>
              <a:gd name="T26" fmla="*/ 0 w 160"/>
              <a:gd name="T27" fmla="*/ 45 h 144"/>
              <a:gd name="T28" fmla="*/ 0 w 160"/>
              <a:gd name="T29" fmla="*/ 46 h 144"/>
              <a:gd name="T30" fmla="*/ 0 w 160"/>
              <a:gd name="T31" fmla="*/ 46 h 144"/>
              <a:gd name="T32" fmla="*/ 0 w 160"/>
              <a:gd name="T33" fmla="*/ 47 h 144"/>
              <a:gd name="T34" fmla="*/ 78 w 160"/>
              <a:gd name="T35" fmla="*/ 143 h 144"/>
              <a:gd name="T36" fmla="*/ 78 w 160"/>
              <a:gd name="T37" fmla="*/ 143 h 144"/>
              <a:gd name="T38" fmla="*/ 79 w 160"/>
              <a:gd name="T39" fmla="*/ 144 h 144"/>
              <a:gd name="T40" fmla="*/ 80 w 160"/>
              <a:gd name="T41" fmla="*/ 144 h 144"/>
              <a:gd name="T42" fmla="*/ 81 w 160"/>
              <a:gd name="T43" fmla="*/ 144 h 144"/>
              <a:gd name="T44" fmla="*/ 82 w 160"/>
              <a:gd name="T45" fmla="*/ 143 h 144"/>
              <a:gd name="T46" fmla="*/ 159 w 160"/>
              <a:gd name="T47" fmla="*/ 47 h 144"/>
              <a:gd name="T48" fmla="*/ 160 w 160"/>
              <a:gd name="T49" fmla="*/ 47 h 144"/>
              <a:gd name="T50" fmla="*/ 160 w 160"/>
              <a:gd name="T51" fmla="*/ 46 h 144"/>
              <a:gd name="T52" fmla="*/ 86 w 160"/>
              <a:gd name="T53" fmla="*/ 5 h 144"/>
              <a:gd name="T54" fmla="*/ 114 w 160"/>
              <a:gd name="T55" fmla="*/ 40 h 144"/>
              <a:gd name="T56" fmla="*/ 109 w 160"/>
              <a:gd name="T57" fmla="*/ 43 h 144"/>
              <a:gd name="T58" fmla="*/ 80 w 160"/>
              <a:gd name="T59" fmla="*/ 7 h 144"/>
              <a:gd name="T60" fmla="*/ 46 w 160"/>
              <a:gd name="T61" fmla="*/ 40 h 144"/>
              <a:gd name="T62" fmla="*/ 74 w 160"/>
              <a:gd name="T63" fmla="*/ 5 h 144"/>
              <a:gd name="T64" fmla="*/ 111 w 160"/>
              <a:gd name="T65" fmla="*/ 48 h 144"/>
              <a:gd name="T66" fmla="*/ 49 w 160"/>
              <a:gd name="T67" fmla="*/ 48 h 144"/>
              <a:gd name="T68" fmla="*/ 131 w 160"/>
              <a:gd name="T69" fmla="*/ 9 h 144"/>
              <a:gd name="T70" fmla="*/ 119 w 160"/>
              <a:gd name="T71" fmla="*/ 43 h 144"/>
              <a:gd name="T72" fmla="*/ 29 w 160"/>
              <a:gd name="T73" fmla="*/ 9 h 144"/>
              <a:gd name="T74" fmla="*/ 7 w 160"/>
              <a:gd name="T75" fmla="*/ 43 h 144"/>
              <a:gd name="T76" fmla="*/ 43 w 160"/>
              <a:gd name="T77" fmla="*/ 48 h 144"/>
              <a:gd name="T78" fmla="*/ 8 w 160"/>
              <a:gd name="T79" fmla="*/ 48 h 144"/>
              <a:gd name="T80" fmla="*/ 86 w 160"/>
              <a:gd name="T81" fmla="*/ 129 h 144"/>
              <a:gd name="T82" fmla="*/ 152 w 160"/>
              <a:gd name="T83" fmla="*/ 48 h 14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</a:cxnLst>
            <a:rect l="0" t="0" r="r" b="b"/>
            <a:pathLst>
              <a:path w="160" h="144">
                <a:moveTo>
                  <a:pt x="160" y="46"/>
                </a:moveTo>
                <a:cubicBezTo>
                  <a:pt x="160" y="46"/>
                  <a:pt x="160" y="46"/>
                  <a:pt x="160" y="45"/>
                </a:cubicBezTo>
                <a:cubicBezTo>
                  <a:pt x="160" y="45"/>
                  <a:pt x="160" y="45"/>
                  <a:pt x="160" y="45"/>
                </a:cubicBezTo>
                <a:cubicBezTo>
                  <a:pt x="160" y="45"/>
                  <a:pt x="160" y="45"/>
                  <a:pt x="160" y="45"/>
                </a:cubicBezTo>
                <a:cubicBezTo>
                  <a:pt x="160" y="45"/>
                  <a:pt x="160" y="45"/>
                  <a:pt x="160" y="44"/>
                </a:cubicBezTo>
                <a:cubicBezTo>
                  <a:pt x="160" y="44"/>
                  <a:pt x="160" y="44"/>
                  <a:pt x="160" y="44"/>
                </a:cubicBezTo>
                <a:cubicBezTo>
                  <a:pt x="160" y="44"/>
                  <a:pt x="160" y="44"/>
                  <a:pt x="160" y="44"/>
                </a:cubicBezTo>
                <a:cubicBezTo>
                  <a:pt x="160" y="44"/>
                  <a:pt x="160" y="44"/>
                  <a:pt x="160" y="44"/>
                </a:cubicBezTo>
                <a:cubicBezTo>
                  <a:pt x="133" y="1"/>
                  <a:pt x="133" y="1"/>
                  <a:pt x="133" y="1"/>
                </a:cubicBezTo>
                <a:cubicBezTo>
                  <a:pt x="133" y="1"/>
                  <a:pt x="133" y="1"/>
                  <a:pt x="133" y="1"/>
                </a:cubicBezTo>
                <a:cubicBezTo>
                  <a:pt x="133" y="1"/>
                  <a:pt x="133" y="1"/>
                  <a:pt x="133" y="1"/>
                </a:cubicBezTo>
                <a:cubicBezTo>
                  <a:pt x="132" y="1"/>
                  <a:pt x="132" y="0"/>
                  <a:pt x="132" y="0"/>
                </a:cubicBezTo>
                <a:cubicBezTo>
                  <a:pt x="132" y="0"/>
                  <a:pt x="132" y="0"/>
                  <a:pt x="132" y="0"/>
                </a:cubicBezTo>
                <a:cubicBezTo>
                  <a:pt x="132" y="0"/>
                  <a:pt x="132" y="0"/>
                  <a:pt x="132" y="0"/>
                </a:cubicBezTo>
                <a:cubicBezTo>
                  <a:pt x="131" y="0"/>
                  <a:pt x="131" y="0"/>
                  <a:pt x="131" y="0"/>
                </a:cubicBezTo>
                <a:cubicBezTo>
                  <a:pt x="29" y="0"/>
                  <a:pt x="29" y="0"/>
                  <a:pt x="29" y="0"/>
                </a:cubicBezTo>
                <a:cubicBezTo>
                  <a:pt x="29" y="0"/>
                  <a:pt x="29" y="0"/>
                  <a:pt x="29" y="0"/>
                </a:cubicBezTo>
                <a:cubicBezTo>
                  <a:pt x="28" y="0"/>
                  <a:pt x="28" y="0"/>
                  <a:pt x="28" y="0"/>
                </a:cubicBezTo>
                <a:cubicBezTo>
                  <a:pt x="28" y="0"/>
                  <a:pt x="28" y="0"/>
                  <a:pt x="28" y="0"/>
                </a:cubicBezTo>
                <a:cubicBezTo>
                  <a:pt x="28" y="0"/>
                  <a:pt x="28" y="0"/>
                  <a:pt x="28" y="1"/>
                </a:cubicBezTo>
                <a:cubicBezTo>
                  <a:pt x="28" y="1"/>
                  <a:pt x="28" y="1"/>
                  <a:pt x="28" y="1"/>
                </a:cubicBezTo>
                <a:cubicBezTo>
                  <a:pt x="27" y="1"/>
                  <a:pt x="27" y="1"/>
                  <a:pt x="27" y="1"/>
                </a:cubicBezTo>
                <a:cubicBezTo>
                  <a:pt x="0" y="44"/>
                  <a:pt x="0" y="44"/>
                  <a:pt x="0" y="44"/>
                </a:cubicBezTo>
                <a:cubicBezTo>
                  <a:pt x="0" y="44"/>
                  <a:pt x="0" y="44"/>
                  <a:pt x="0" y="44"/>
                </a:cubicBezTo>
                <a:cubicBezTo>
                  <a:pt x="0" y="44"/>
                  <a:pt x="0" y="44"/>
                  <a:pt x="0" y="44"/>
                </a:cubicBezTo>
                <a:cubicBezTo>
                  <a:pt x="0" y="44"/>
                  <a:pt x="0" y="44"/>
                  <a:pt x="0" y="44"/>
                </a:cubicBezTo>
                <a:cubicBezTo>
                  <a:pt x="0" y="45"/>
                  <a:pt x="0" y="45"/>
                  <a:pt x="0" y="45"/>
                </a:cubicBezTo>
                <a:cubicBezTo>
                  <a:pt x="0" y="45"/>
                  <a:pt x="0" y="45"/>
                  <a:pt x="0" y="45"/>
                </a:cubicBezTo>
                <a:cubicBezTo>
                  <a:pt x="0" y="45"/>
                  <a:pt x="0" y="45"/>
                  <a:pt x="0" y="45"/>
                </a:cubicBezTo>
                <a:cubicBezTo>
                  <a:pt x="0" y="46"/>
                  <a:pt x="0" y="46"/>
                  <a:pt x="0" y="46"/>
                </a:cubicBezTo>
                <a:cubicBezTo>
                  <a:pt x="0" y="46"/>
                  <a:pt x="0" y="46"/>
                  <a:pt x="0" y="46"/>
                </a:cubicBezTo>
                <a:cubicBezTo>
                  <a:pt x="0" y="46"/>
                  <a:pt x="0" y="46"/>
                  <a:pt x="0" y="46"/>
                </a:cubicBezTo>
                <a:cubicBezTo>
                  <a:pt x="0" y="47"/>
                  <a:pt x="0" y="47"/>
                  <a:pt x="0" y="47"/>
                </a:cubicBezTo>
                <a:cubicBezTo>
                  <a:pt x="0" y="47"/>
                  <a:pt x="0" y="47"/>
                  <a:pt x="0" y="47"/>
                </a:cubicBezTo>
                <a:cubicBezTo>
                  <a:pt x="1" y="47"/>
                  <a:pt x="1" y="47"/>
                  <a:pt x="1" y="47"/>
                </a:cubicBezTo>
                <a:cubicBezTo>
                  <a:pt x="78" y="143"/>
                  <a:pt x="78" y="143"/>
                  <a:pt x="78" y="143"/>
                </a:cubicBezTo>
                <a:cubicBezTo>
                  <a:pt x="78" y="143"/>
                  <a:pt x="78" y="143"/>
                  <a:pt x="78" y="143"/>
                </a:cubicBezTo>
                <a:cubicBezTo>
                  <a:pt x="78" y="143"/>
                  <a:pt x="78" y="143"/>
                  <a:pt x="78" y="143"/>
                </a:cubicBezTo>
                <a:cubicBezTo>
                  <a:pt x="78" y="143"/>
                  <a:pt x="78" y="143"/>
                  <a:pt x="78" y="143"/>
                </a:cubicBezTo>
                <a:cubicBezTo>
                  <a:pt x="78" y="143"/>
                  <a:pt x="78" y="144"/>
                  <a:pt x="79" y="144"/>
                </a:cubicBezTo>
                <a:cubicBezTo>
                  <a:pt x="79" y="144"/>
                  <a:pt x="79" y="144"/>
                  <a:pt x="79" y="144"/>
                </a:cubicBezTo>
                <a:cubicBezTo>
                  <a:pt x="79" y="144"/>
                  <a:pt x="80" y="144"/>
                  <a:pt x="80" y="144"/>
                </a:cubicBezTo>
                <a:cubicBezTo>
                  <a:pt x="80" y="144"/>
                  <a:pt x="81" y="144"/>
                  <a:pt x="81" y="144"/>
                </a:cubicBezTo>
                <a:cubicBezTo>
                  <a:pt x="81" y="144"/>
                  <a:pt x="81" y="144"/>
                  <a:pt x="81" y="144"/>
                </a:cubicBezTo>
                <a:cubicBezTo>
                  <a:pt x="81" y="144"/>
                  <a:pt x="81" y="144"/>
                  <a:pt x="81" y="144"/>
                </a:cubicBezTo>
                <a:cubicBezTo>
                  <a:pt x="82" y="143"/>
                  <a:pt x="82" y="143"/>
                  <a:pt x="82" y="143"/>
                </a:cubicBezTo>
                <a:cubicBezTo>
                  <a:pt x="82" y="143"/>
                  <a:pt x="82" y="143"/>
                  <a:pt x="82" y="143"/>
                </a:cubicBezTo>
                <a:cubicBezTo>
                  <a:pt x="159" y="47"/>
                  <a:pt x="159" y="47"/>
                  <a:pt x="159" y="47"/>
                </a:cubicBezTo>
                <a:cubicBezTo>
                  <a:pt x="159" y="47"/>
                  <a:pt x="159" y="47"/>
                  <a:pt x="160" y="47"/>
                </a:cubicBezTo>
                <a:cubicBezTo>
                  <a:pt x="160" y="47"/>
                  <a:pt x="160" y="47"/>
                  <a:pt x="160" y="47"/>
                </a:cubicBezTo>
                <a:cubicBezTo>
                  <a:pt x="160" y="47"/>
                  <a:pt x="160" y="47"/>
                  <a:pt x="160" y="46"/>
                </a:cubicBezTo>
                <a:cubicBezTo>
                  <a:pt x="160" y="46"/>
                  <a:pt x="160" y="46"/>
                  <a:pt x="160" y="46"/>
                </a:cubicBezTo>
                <a:cubicBezTo>
                  <a:pt x="160" y="46"/>
                  <a:pt x="160" y="46"/>
                  <a:pt x="160" y="46"/>
                </a:cubicBezTo>
                <a:close/>
                <a:moveTo>
                  <a:pt x="86" y="5"/>
                </a:moveTo>
                <a:cubicBezTo>
                  <a:pt x="127" y="5"/>
                  <a:pt x="127" y="5"/>
                  <a:pt x="127" y="5"/>
                </a:cubicBezTo>
                <a:cubicBezTo>
                  <a:pt x="114" y="40"/>
                  <a:pt x="114" y="40"/>
                  <a:pt x="114" y="40"/>
                </a:cubicBezTo>
                <a:lnTo>
                  <a:pt x="86" y="5"/>
                </a:lnTo>
                <a:close/>
                <a:moveTo>
                  <a:pt x="109" y="43"/>
                </a:moveTo>
                <a:cubicBezTo>
                  <a:pt x="51" y="43"/>
                  <a:pt x="51" y="43"/>
                  <a:pt x="51" y="43"/>
                </a:cubicBezTo>
                <a:cubicBezTo>
                  <a:pt x="80" y="7"/>
                  <a:pt x="80" y="7"/>
                  <a:pt x="80" y="7"/>
                </a:cubicBezTo>
                <a:lnTo>
                  <a:pt x="109" y="43"/>
                </a:lnTo>
                <a:close/>
                <a:moveTo>
                  <a:pt x="46" y="40"/>
                </a:moveTo>
                <a:cubicBezTo>
                  <a:pt x="33" y="5"/>
                  <a:pt x="33" y="5"/>
                  <a:pt x="33" y="5"/>
                </a:cubicBezTo>
                <a:cubicBezTo>
                  <a:pt x="74" y="5"/>
                  <a:pt x="74" y="5"/>
                  <a:pt x="74" y="5"/>
                </a:cubicBezTo>
                <a:lnTo>
                  <a:pt x="46" y="40"/>
                </a:lnTo>
                <a:close/>
                <a:moveTo>
                  <a:pt x="111" y="48"/>
                </a:moveTo>
                <a:cubicBezTo>
                  <a:pt x="80" y="132"/>
                  <a:pt x="80" y="132"/>
                  <a:pt x="80" y="132"/>
                </a:cubicBezTo>
                <a:cubicBezTo>
                  <a:pt x="49" y="48"/>
                  <a:pt x="49" y="48"/>
                  <a:pt x="49" y="48"/>
                </a:cubicBezTo>
                <a:lnTo>
                  <a:pt x="111" y="48"/>
                </a:lnTo>
                <a:close/>
                <a:moveTo>
                  <a:pt x="131" y="9"/>
                </a:moveTo>
                <a:cubicBezTo>
                  <a:pt x="153" y="43"/>
                  <a:pt x="153" y="43"/>
                  <a:pt x="153" y="43"/>
                </a:cubicBezTo>
                <a:cubicBezTo>
                  <a:pt x="119" y="43"/>
                  <a:pt x="119" y="43"/>
                  <a:pt x="119" y="43"/>
                </a:cubicBezTo>
                <a:lnTo>
                  <a:pt x="131" y="9"/>
                </a:lnTo>
                <a:close/>
                <a:moveTo>
                  <a:pt x="29" y="9"/>
                </a:moveTo>
                <a:cubicBezTo>
                  <a:pt x="41" y="43"/>
                  <a:pt x="41" y="43"/>
                  <a:pt x="41" y="43"/>
                </a:cubicBezTo>
                <a:cubicBezTo>
                  <a:pt x="7" y="43"/>
                  <a:pt x="7" y="43"/>
                  <a:pt x="7" y="43"/>
                </a:cubicBezTo>
                <a:lnTo>
                  <a:pt x="29" y="9"/>
                </a:lnTo>
                <a:close/>
                <a:moveTo>
                  <a:pt x="43" y="48"/>
                </a:moveTo>
                <a:cubicBezTo>
                  <a:pt x="72" y="127"/>
                  <a:pt x="72" y="127"/>
                  <a:pt x="72" y="127"/>
                </a:cubicBezTo>
                <a:cubicBezTo>
                  <a:pt x="8" y="48"/>
                  <a:pt x="8" y="48"/>
                  <a:pt x="8" y="48"/>
                </a:cubicBezTo>
                <a:lnTo>
                  <a:pt x="43" y="48"/>
                </a:lnTo>
                <a:close/>
                <a:moveTo>
                  <a:pt x="86" y="129"/>
                </a:moveTo>
                <a:cubicBezTo>
                  <a:pt x="117" y="48"/>
                  <a:pt x="117" y="48"/>
                  <a:pt x="117" y="48"/>
                </a:cubicBezTo>
                <a:cubicBezTo>
                  <a:pt x="152" y="48"/>
                  <a:pt x="152" y="48"/>
                  <a:pt x="152" y="48"/>
                </a:cubicBezTo>
                <a:lnTo>
                  <a:pt x="86" y="129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en-US">
              <a:latin typeface="Arial" panose="020B0604020202020204" pitchFamily="34" charset="0"/>
              <a:ea typeface="微软雅黑" panose="020B0503020204020204" pitchFamily="34" charset="-122"/>
              <a:cs typeface="思源黑体 CN Regular" panose="020B0500000000000000" charset="-122"/>
              <a:sym typeface="Arial" panose="020B0604020202020204" pitchFamily="34" charset="0"/>
            </a:endParaRPr>
          </a:p>
        </p:txBody>
      </p:sp>
      <p:sp>
        <p:nvSpPr>
          <p:cNvPr id="29" name="Freeform 1147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SpPr>
            <a:spLocks noEditPoints="1"/>
          </p:cNvSpPr>
          <p:nvPr/>
        </p:nvSpPr>
        <p:spPr bwMode="auto">
          <a:xfrm>
            <a:off x="5826622" y="2209325"/>
            <a:ext cx="380584" cy="382753"/>
          </a:xfrm>
          <a:custGeom>
            <a:avLst/>
            <a:gdLst>
              <a:gd name="T0" fmla="*/ 116 w 163"/>
              <a:gd name="T1" fmla="*/ 11 h 163"/>
              <a:gd name="T2" fmla="*/ 11 w 163"/>
              <a:gd name="T3" fmla="*/ 115 h 163"/>
              <a:gd name="T4" fmla="*/ 10 w 163"/>
              <a:gd name="T5" fmla="*/ 116 h 163"/>
              <a:gd name="T6" fmla="*/ 10 w 163"/>
              <a:gd name="T7" fmla="*/ 116 h 163"/>
              <a:gd name="T8" fmla="*/ 0 w 163"/>
              <a:gd name="T9" fmla="*/ 160 h 163"/>
              <a:gd name="T10" fmla="*/ 0 w 163"/>
              <a:gd name="T11" fmla="*/ 161 h 163"/>
              <a:gd name="T12" fmla="*/ 1 w 163"/>
              <a:gd name="T13" fmla="*/ 162 h 163"/>
              <a:gd name="T14" fmla="*/ 3 w 163"/>
              <a:gd name="T15" fmla="*/ 163 h 163"/>
              <a:gd name="T16" fmla="*/ 47 w 163"/>
              <a:gd name="T17" fmla="*/ 153 h 163"/>
              <a:gd name="T18" fmla="*/ 47 w 163"/>
              <a:gd name="T19" fmla="*/ 152 h 163"/>
              <a:gd name="T20" fmla="*/ 48 w 163"/>
              <a:gd name="T21" fmla="*/ 152 h 163"/>
              <a:gd name="T22" fmla="*/ 152 w 163"/>
              <a:gd name="T23" fmla="*/ 47 h 163"/>
              <a:gd name="T24" fmla="*/ 148 w 163"/>
              <a:gd name="T25" fmla="*/ 15 h 163"/>
              <a:gd name="T26" fmla="*/ 122 w 163"/>
              <a:gd name="T27" fmla="*/ 13 h 163"/>
              <a:gd name="T28" fmla="*/ 134 w 163"/>
              <a:gd name="T29" fmla="*/ 58 h 163"/>
              <a:gd name="T30" fmla="*/ 109 w 163"/>
              <a:gd name="T31" fmla="*/ 25 h 163"/>
              <a:gd name="T32" fmla="*/ 134 w 163"/>
              <a:gd name="T33" fmla="*/ 58 h 163"/>
              <a:gd name="T34" fmla="*/ 10 w 163"/>
              <a:gd name="T35" fmla="*/ 149 h 163"/>
              <a:gd name="T36" fmla="*/ 15 w 163"/>
              <a:gd name="T37" fmla="*/ 120 h 163"/>
              <a:gd name="T38" fmla="*/ 27 w 163"/>
              <a:gd name="T39" fmla="*/ 133 h 163"/>
              <a:gd name="T40" fmla="*/ 27 w 163"/>
              <a:gd name="T41" fmla="*/ 134 h 163"/>
              <a:gd name="T42" fmla="*/ 27 w 163"/>
              <a:gd name="T43" fmla="*/ 135 h 163"/>
              <a:gd name="T44" fmla="*/ 27 w 163"/>
              <a:gd name="T45" fmla="*/ 135 h 163"/>
              <a:gd name="T46" fmla="*/ 28 w 163"/>
              <a:gd name="T47" fmla="*/ 136 h 163"/>
              <a:gd name="T48" fmla="*/ 29 w 163"/>
              <a:gd name="T49" fmla="*/ 136 h 163"/>
              <a:gd name="T50" fmla="*/ 30 w 163"/>
              <a:gd name="T51" fmla="*/ 136 h 163"/>
              <a:gd name="T52" fmla="*/ 30 w 163"/>
              <a:gd name="T53" fmla="*/ 136 h 163"/>
              <a:gd name="T54" fmla="*/ 30 w 163"/>
              <a:gd name="T55" fmla="*/ 136 h 163"/>
              <a:gd name="T56" fmla="*/ 43 w 163"/>
              <a:gd name="T57" fmla="*/ 148 h 163"/>
              <a:gd name="T58" fmla="*/ 14 w 163"/>
              <a:gd name="T59" fmla="*/ 153 h 163"/>
              <a:gd name="T60" fmla="*/ 51 w 163"/>
              <a:gd name="T61" fmla="*/ 133 h 163"/>
              <a:gd name="T62" fmla="*/ 116 w 163"/>
              <a:gd name="T63" fmla="*/ 64 h 163"/>
              <a:gd name="T64" fmla="*/ 47 w 163"/>
              <a:gd name="T65" fmla="*/ 129 h 163"/>
              <a:gd name="T66" fmla="*/ 34 w 163"/>
              <a:gd name="T67" fmla="*/ 116 h 163"/>
              <a:gd name="T68" fmla="*/ 99 w 163"/>
              <a:gd name="T69" fmla="*/ 47 h 163"/>
              <a:gd name="T70" fmla="*/ 30 w 163"/>
              <a:gd name="T71" fmla="*/ 112 h 163"/>
              <a:gd name="T72" fmla="*/ 101 w 163"/>
              <a:gd name="T73" fmla="*/ 33 h 163"/>
              <a:gd name="T74" fmla="*/ 50 w 163"/>
              <a:gd name="T75" fmla="*/ 142 h 163"/>
              <a:gd name="T76" fmla="*/ 142 w 163"/>
              <a:gd name="T77" fmla="*/ 50 h 163"/>
              <a:gd name="T78" fmla="*/ 118 w 163"/>
              <a:gd name="T79" fmla="*/ 17 h 163"/>
              <a:gd name="T80" fmla="*/ 142 w 163"/>
              <a:gd name="T81" fmla="*/ 50 h 16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163" h="163">
                <a:moveTo>
                  <a:pt x="152" y="11"/>
                </a:moveTo>
                <a:cubicBezTo>
                  <a:pt x="142" y="0"/>
                  <a:pt x="126" y="0"/>
                  <a:pt x="116" y="11"/>
                </a:cubicBezTo>
                <a:cubicBezTo>
                  <a:pt x="11" y="115"/>
                  <a:pt x="11" y="115"/>
                  <a:pt x="11" y="115"/>
                </a:cubicBezTo>
                <a:cubicBezTo>
                  <a:pt x="11" y="115"/>
                  <a:pt x="11" y="115"/>
                  <a:pt x="11" y="115"/>
                </a:cubicBezTo>
                <a:cubicBezTo>
                  <a:pt x="11" y="115"/>
                  <a:pt x="11" y="115"/>
                  <a:pt x="11" y="115"/>
                </a:cubicBezTo>
                <a:cubicBezTo>
                  <a:pt x="11" y="116"/>
                  <a:pt x="11" y="116"/>
                  <a:pt x="10" y="116"/>
                </a:cubicBezTo>
                <a:cubicBezTo>
                  <a:pt x="10" y="116"/>
                  <a:pt x="10" y="116"/>
                  <a:pt x="10" y="116"/>
                </a:cubicBezTo>
                <a:cubicBezTo>
                  <a:pt x="10" y="116"/>
                  <a:pt x="10" y="116"/>
                  <a:pt x="10" y="116"/>
                </a:cubicBezTo>
                <a:cubicBezTo>
                  <a:pt x="0" y="159"/>
                  <a:pt x="0" y="159"/>
                  <a:pt x="0" y="159"/>
                </a:cubicBezTo>
                <a:cubicBezTo>
                  <a:pt x="0" y="160"/>
                  <a:pt x="0" y="160"/>
                  <a:pt x="0" y="160"/>
                </a:cubicBezTo>
                <a:cubicBezTo>
                  <a:pt x="0" y="160"/>
                  <a:pt x="0" y="160"/>
                  <a:pt x="0" y="160"/>
                </a:cubicBezTo>
                <a:cubicBezTo>
                  <a:pt x="0" y="160"/>
                  <a:pt x="0" y="161"/>
                  <a:pt x="0" y="161"/>
                </a:cubicBezTo>
                <a:cubicBezTo>
                  <a:pt x="0" y="161"/>
                  <a:pt x="0" y="161"/>
                  <a:pt x="0" y="161"/>
                </a:cubicBezTo>
                <a:cubicBezTo>
                  <a:pt x="0" y="162"/>
                  <a:pt x="1" y="162"/>
                  <a:pt x="1" y="162"/>
                </a:cubicBezTo>
                <a:cubicBezTo>
                  <a:pt x="1" y="162"/>
                  <a:pt x="1" y="163"/>
                  <a:pt x="2" y="163"/>
                </a:cubicBezTo>
                <a:cubicBezTo>
                  <a:pt x="2" y="163"/>
                  <a:pt x="3" y="163"/>
                  <a:pt x="3" y="163"/>
                </a:cubicBezTo>
                <a:cubicBezTo>
                  <a:pt x="3" y="163"/>
                  <a:pt x="3" y="163"/>
                  <a:pt x="4" y="163"/>
                </a:cubicBezTo>
                <a:cubicBezTo>
                  <a:pt x="47" y="153"/>
                  <a:pt x="47" y="153"/>
                  <a:pt x="47" y="153"/>
                </a:cubicBezTo>
                <a:cubicBezTo>
                  <a:pt x="47" y="153"/>
                  <a:pt x="47" y="153"/>
                  <a:pt x="47" y="153"/>
                </a:cubicBezTo>
                <a:cubicBezTo>
                  <a:pt x="47" y="153"/>
                  <a:pt x="47" y="153"/>
                  <a:pt x="47" y="152"/>
                </a:cubicBezTo>
                <a:cubicBezTo>
                  <a:pt x="47" y="152"/>
                  <a:pt x="47" y="152"/>
                  <a:pt x="48" y="152"/>
                </a:cubicBezTo>
                <a:cubicBezTo>
                  <a:pt x="48" y="152"/>
                  <a:pt x="48" y="152"/>
                  <a:pt x="48" y="152"/>
                </a:cubicBezTo>
                <a:cubicBezTo>
                  <a:pt x="48" y="152"/>
                  <a:pt x="48" y="152"/>
                  <a:pt x="48" y="152"/>
                </a:cubicBezTo>
                <a:cubicBezTo>
                  <a:pt x="152" y="47"/>
                  <a:pt x="152" y="47"/>
                  <a:pt x="152" y="47"/>
                </a:cubicBezTo>
                <a:cubicBezTo>
                  <a:pt x="163" y="37"/>
                  <a:pt x="163" y="21"/>
                  <a:pt x="152" y="11"/>
                </a:cubicBezTo>
                <a:close/>
                <a:moveTo>
                  <a:pt x="148" y="15"/>
                </a:moveTo>
                <a:cubicBezTo>
                  <a:pt x="155" y="22"/>
                  <a:pt x="156" y="33"/>
                  <a:pt x="150" y="41"/>
                </a:cubicBezTo>
                <a:cubicBezTo>
                  <a:pt x="122" y="13"/>
                  <a:pt x="122" y="13"/>
                  <a:pt x="122" y="13"/>
                </a:cubicBezTo>
                <a:cubicBezTo>
                  <a:pt x="130" y="7"/>
                  <a:pt x="141" y="8"/>
                  <a:pt x="148" y="15"/>
                </a:cubicBezTo>
                <a:close/>
                <a:moveTo>
                  <a:pt x="134" y="58"/>
                </a:moveTo>
                <a:cubicBezTo>
                  <a:pt x="105" y="29"/>
                  <a:pt x="105" y="29"/>
                  <a:pt x="105" y="29"/>
                </a:cubicBezTo>
                <a:cubicBezTo>
                  <a:pt x="109" y="25"/>
                  <a:pt x="109" y="25"/>
                  <a:pt x="109" y="25"/>
                </a:cubicBezTo>
                <a:cubicBezTo>
                  <a:pt x="138" y="54"/>
                  <a:pt x="138" y="54"/>
                  <a:pt x="138" y="54"/>
                </a:cubicBezTo>
                <a:lnTo>
                  <a:pt x="134" y="58"/>
                </a:lnTo>
                <a:close/>
                <a:moveTo>
                  <a:pt x="14" y="149"/>
                </a:moveTo>
                <a:cubicBezTo>
                  <a:pt x="13" y="148"/>
                  <a:pt x="11" y="148"/>
                  <a:pt x="10" y="149"/>
                </a:cubicBezTo>
                <a:cubicBezTo>
                  <a:pt x="8" y="151"/>
                  <a:pt x="8" y="151"/>
                  <a:pt x="8" y="151"/>
                </a:cubicBezTo>
                <a:cubicBezTo>
                  <a:pt x="15" y="120"/>
                  <a:pt x="15" y="120"/>
                  <a:pt x="15" y="120"/>
                </a:cubicBezTo>
                <a:cubicBezTo>
                  <a:pt x="28" y="118"/>
                  <a:pt x="28" y="118"/>
                  <a:pt x="28" y="118"/>
                </a:cubicBezTo>
                <a:cubicBezTo>
                  <a:pt x="27" y="133"/>
                  <a:pt x="27" y="133"/>
                  <a:pt x="27" y="133"/>
                </a:cubicBezTo>
                <a:cubicBezTo>
                  <a:pt x="27" y="133"/>
                  <a:pt x="27" y="133"/>
                  <a:pt x="27" y="133"/>
                </a:cubicBezTo>
                <a:cubicBezTo>
                  <a:pt x="27" y="134"/>
                  <a:pt x="27" y="134"/>
                  <a:pt x="27" y="134"/>
                </a:cubicBezTo>
                <a:cubicBezTo>
                  <a:pt x="27" y="134"/>
                  <a:pt x="27" y="134"/>
                  <a:pt x="27" y="134"/>
                </a:cubicBezTo>
                <a:cubicBezTo>
                  <a:pt x="27" y="134"/>
                  <a:pt x="27" y="134"/>
                  <a:pt x="27" y="135"/>
                </a:cubicBezTo>
                <a:cubicBezTo>
                  <a:pt x="27" y="135"/>
                  <a:pt x="27" y="135"/>
                  <a:pt x="27" y="135"/>
                </a:cubicBezTo>
                <a:cubicBezTo>
                  <a:pt x="27" y="135"/>
                  <a:pt x="27" y="135"/>
                  <a:pt x="27" y="135"/>
                </a:cubicBezTo>
                <a:cubicBezTo>
                  <a:pt x="28" y="136"/>
                  <a:pt x="28" y="136"/>
                  <a:pt x="28" y="136"/>
                </a:cubicBezTo>
                <a:cubicBezTo>
                  <a:pt x="28" y="136"/>
                  <a:pt x="28" y="136"/>
                  <a:pt x="28" y="136"/>
                </a:cubicBezTo>
                <a:cubicBezTo>
                  <a:pt x="28" y="136"/>
                  <a:pt x="29" y="136"/>
                  <a:pt x="29" y="136"/>
                </a:cubicBezTo>
                <a:cubicBezTo>
                  <a:pt x="29" y="136"/>
                  <a:pt x="29" y="136"/>
                  <a:pt x="29" y="136"/>
                </a:cubicBezTo>
                <a:cubicBezTo>
                  <a:pt x="29" y="136"/>
                  <a:pt x="29" y="136"/>
                  <a:pt x="30" y="136"/>
                </a:cubicBezTo>
                <a:cubicBezTo>
                  <a:pt x="30" y="136"/>
                  <a:pt x="30" y="136"/>
                  <a:pt x="30" y="136"/>
                </a:cubicBezTo>
                <a:cubicBezTo>
                  <a:pt x="30" y="136"/>
                  <a:pt x="30" y="136"/>
                  <a:pt x="30" y="136"/>
                </a:cubicBezTo>
                <a:cubicBezTo>
                  <a:pt x="30" y="136"/>
                  <a:pt x="30" y="136"/>
                  <a:pt x="30" y="136"/>
                </a:cubicBezTo>
                <a:cubicBezTo>
                  <a:pt x="30" y="136"/>
                  <a:pt x="30" y="136"/>
                  <a:pt x="30" y="136"/>
                </a:cubicBezTo>
                <a:cubicBezTo>
                  <a:pt x="30" y="136"/>
                  <a:pt x="30" y="136"/>
                  <a:pt x="30" y="136"/>
                </a:cubicBezTo>
                <a:cubicBezTo>
                  <a:pt x="45" y="135"/>
                  <a:pt x="45" y="135"/>
                  <a:pt x="45" y="135"/>
                </a:cubicBezTo>
                <a:cubicBezTo>
                  <a:pt x="43" y="148"/>
                  <a:pt x="43" y="148"/>
                  <a:pt x="43" y="148"/>
                </a:cubicBezTo>
                <a:cubicBezTo>
                  <a:pt x="12" y="155"/>
                  <a:pt x="12" y="155"/>
                  <a:pt x="12" y="155"/>
                </a:cubicBezTo>
                <a:cubicBezTo>
                  <a:pt x="14" y="153"/>
                  <a:pt x="14" y="153"/>
                  <a:pt x="14" y="153"/>
                </a:cubicBezTo>
                <a:cubicBezTo>
                  <a:pt x="15" y="152"/>
                  <a:pt x="15" y="150"/>
                  <a:pt x="14" y="149"/>
                </a:cubicBezTo>
                <a:close/>
                <a:moveTo>
                  <a:pt x="51" y="133"/>
                </a:moveTo>
                <a:cubicBezTo>
                  <a:pt x="116" y="68"/>
                  <a:pt x="116" y="68"/>
                  <a:pt x="116" y="68"/>
                </a:cubicBezTo>
                <a:cubicBezTo>
                  <a:pt x="117" y="67"/>
                  <a:pt x="117" y="65"/>
                  <a:pt x="116" y="64"/>
                </a:cubicBezTo>
                <a:cubicBezTo>
                  <a:pt x="114" y="63"/>
                  <a:pt x="113" y="63"/>
                  <a:pt x="111" y="64"/>
                </a:cubicBezTo>
                <a:cubicBezTo>
                  <a:pt x="47" y="129"/>
                  <a:pt x="47" y="129"/>
                  <a:pt x="47" y="129"/>
                </a:cubicBezTo>
                <a:cubicBezTo>
                  <a:pt x="33" y="130"/>
                  <a:pt x="33" y="130"/>
                  <a:pt x="33" y="130"/>
                </a:cubicBezTo>
                <a:cubicBezTo>
                  <a:pt x="34" y="116"/>
                  <a:pt x="34" y="116"/>
                  <a:pt x="34" y="116"/>
                </a:cubicBezTo>
                <a:cubicBezTo>
                  <a:pt x="99" y="52"/>
                  <a:pt x="99" y="52"/>
                  <a:pt x="99" y="52"/>
                </a:cubicBezTo>
                <a:cubicBezTo>
                  <a:pt x="100" y="50"/>
                  <a:pt x="100" y="49"/>
                  <a:pt x="99" y="47"/>
                </a:cubicBezTo>
                <a:cubicBezTo>
                  <a:pt x="98" y="46"/>
                  <a:pt x="96" y="46"/>
                  <a:pt x="95" y="47"/>
                </a:cubicBezTo>
                <a:cubicBezTo>
                  <a:pt x="30" y="112"/>
                  <a:pt x="30" y="112"/>
                  <a:pt x="30" y="112"/>
                </a:cubicBezTo>
                <a:cubicBezTo>
                  <a:pt x="21" y="113"/>
                  <a:pt x="21" y="113"/>
                  <a:pt x="21" y="113"/>
                </a:cubicBezTo>
                <a:cubicBezTo>
                  <a:pt x="101" y="33"/>
                  <a:pt x="101" y="33"/>
                  <a:pt x="101" y="33"/>
                </a:cubicBezTo>
                <a:cubicBezTo>
                  <a:pt x="130" y="62"/>
                  <a:pt x="130" y="62"/>
                  <a:pt x="130" y="62"/>
                </a:cubicBezTo>
                <a:cubicBezTo>
                  <a:pt x="50" y="142"/>
                  <a:pt x="50" y="142"/>
                  <a:pt x="50" y="142"/>
                </a:cubicBezTo>
                <a:lnTo>
                  <a:pt x="51" y="133"/>
                </a:lnTo>
                <a:close/>
                <a:moveTo>
                  <a:pt x="142" y="50"/>
                </a:moveTo>
                <a:cubicBezTo>
                  <a:pt x="113" y="21"/>
                  <a:pt x="113" y="21"/>
                  <a:pt x="113" y="21"/>
                </a:cubicBezTo>
                <a:cubicBezTo>
                  <a:pt x="118" y="17"/>
                  <a:pt x="118" y="17"/>
                  <a:pt x="118" y="17"/>
                </a:cubicBezTo>
                <a:cubicBezTo>
                  <a:pt x="146" y="45"/>
                  <a:pt x="146" y="45"/>
                  <a:pt x="146" y="45"/>
                </a:cubicBezTo>
                <a:lnTo>
                  <a:pt x="142" y="5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en-US">
              <a:latin typeface="Arial" panose="020B0604020202020204" pitchFamily="34" charset="0"/>
              <a:ea typeface="微软雅黑" panose="020B0503020204020204" pitchFamily="34" charset="-122"/>
              <a:cs typeface="思源黑体 CN Regular" panose="020B0500000000000000" charset="-122"/>
              <a:sym typeface="Arial" panose="020B0604020202020204" pitchFamily="34" charset="0"/>
            </a:endParaRPr>
          </a:p>
        </p:txBody>
      </p:sp>
      <p:sp>
        <p:nvSpPr>
          <p:cNvPr id="30" name="Freeform 2123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SpPr>
            <a:spLocks noEditPoints="1"/>
          </p:cNvSpPr>
          <p:nvPr/>
        </p:nvSpPr>
        <p:spPr bwMode="auto">
          <a:xfrm>
            <a:off x="6446304" y="4987457"/>
            <a:ext cx="344803" cy="375162"/>
          </a:xfrm>
          <a:custGeom>
            <a:avLst/>
            <a:gdLst>
              <a:gd name="T0" fmla="*/ 24 w 148"/>
              <a:gd name="T1" fmla="*/ 74 h 160"/>
              <a:gd name="T2" fmla="*/ 56 w 148"/>
              <a:gd name="T3" fmla="*/ 148 h 160"/>
              <a:gd name="T4" fmla="*/ 62 w 148"/>
              <a:gd name="T5" fmla="*/ 151 h 160"/>
              <a:gd name="T6" fmla="*/ 65 w 148"/>
              <a:gd name="T7" fmla="*/ 160 h 160"/>
              <a:gd name="T8" fmla="*/ 86 w 148"/>
              <a:gd name="T9" fmla="*/ 157 h 160"/>
              <a:gd name="T10" fmla="*/ 89 w 148"/>
              <a:gd name="T11" fmla="*/ 151 h 160"/>
              <a:gd name="T12" fmla="*/ 92 w 148"/>
              <a:gd name="T13" fmla="*/ 121 h 160"/>
              <a:gd name="T14" fmla="*/ 74 w 148"/>
              <a:gd name="T15" fmla="*/ 24 h 160"/>
              <a:gd name="T16" fmla="*/ 80 w 148"/>
              <a:gd name="T17" fmla="*/ 148 h 160"/>
              <a:gd name="T18" fmla="*/ 68 w 148"/>
              <a:gd name="T19" fmla="*/ 154 h 160"/>
              <a:gd name="T20" fmla="*/ 65 w 148"/>
              <a:gd name="T21" fmla="*/ 145 h 160"/>
              <a:gd name="T22" fmla="*/ 62 w 148"/>
              <a:gd name="T23" fmla="*/ 130 h 160"/>
              <a:gd name="T24" fmla="*/ 86 w 148"/>
              <a:gd name="T25" fmla="*/ 145 h 160"/>
              <a:gd name="T26" fmla="*/ 88 w 148"/>
              <a:gd name="T27" fmla="*/ 116 h 160"/>
              <a:gd name="T28" fmla="*/ 86 w 148"/>
              <a:gd name="T29" fmla="*/ 124 h 160"/>
              <a:gd name="T30" fmla="*/ 62 w 148"/>
              <a:gd name="T31" fmla="*/ 119 h 160"/>
              <a:gd name="T32" fmla="*/ 30 w 148"/>
              <a:gd name="T33" fmla="*/ 74 h 160"/>
              <a:gd name="T34" fmla="*/ 119 w 148"/>
              <a:gd name="T35" fmla="*/ 74 h 160"/>
              <a:gd name="T36" fmla="*/ 71 w 148"/>
              <a:gd name="T37" fmla="*/ 15 h 160"/>
              <a:gd name="T38" fmla="*/ 74 w 148"/>
              <a:gd name="T39" fmla="*/ 0 h 160"/>
              <a:gd name="T40" fmla="*/ 77 w 148"/>
              <a:gd name="T41" fmla="*/ 15 h 160"/>
              <a:gd name="T42" fmla="*/ 71 w 148"/>
              <a:gd name="T43" fmla="*/ 15 h 160"/>
              <a:gd name="T44" fmla="*/ 145 w 148"/>
              <a:gd name="T45" fmla="*/ 77 h 160"/>
              <a:gd name="T46" fmla="*/ 130 w 148"/>
              <a:gd name="T47" fmla="*/ 74 h 160"/>
              <a:gd name="T48" fmla="*/ 145 w 148"/>
              <a:gd name="T49" fmla="*/ 71 h 160"/>
              <a:gd name="T50" fmla="*/ 18 w 148"/>
              <a:gd name="T51" fmla="*/ 74 h 160"/>
              <a:gd name="T52" fmla="*/ 3 w 148"/>
              <a:gd name="T53" fmla="*/ 77 h 160"/>
              <a:gd name="T54" fmla="*/ 3 w 148"/>
              <a:gd name="T55" fmla="*/ 71 h 160"/>
              <a:gd name="T56" fmla="*/ 18 w 148"/>
              <a:gd name="T57" fmla="*/ 74 h 160"/>
              <a:gd name="T58" fmla="*/ 126 w 148"/>
              <a:gd name="T59" fmla="*/ 26 h 160"/>
              <a:gd name="T60" fmla="*/ 116 w 148"/>
              <a:gd name="T61" fmla="*/ 35 h 160"/>
              <a:gd name="T62" fmla="*/ 114 w 148"/>
              <a:gd name="T63" fmla="*/ 30 h 160"/>
              <a:gd name="T64" fmla="*/ 126 w 148"/>
              <a:gd name="T65" fmla="*/ 22 h 160"/>
              <a:gd name="T66" fmla="*/ 34 w 148"/>
              <a:gd name="T67" fmla="*/ 118 h 160"/>
              <a:gd name="T68" fmla="*/ 24 w 148"/>
              <a:gd name="T69" fmla="*/ 127 h 160"/>
              <a:gd name="T70" fmla="*/ 22 w 148"/>
              <a:gd name="T71" fmla="*/ 122 h 160"/>
              <a:gd name="T72" fmla="*/ 34 w 148"/>
              <a:gd name="T73" fmla="*/ 114 h 160"/>
              <a:gd name="T74" fmla="*/ 126 w 148"/>
              <a:gd name="T75" fmla="*/ 126 h 160"/>
              <a:gd name="T76" fmla="*/ 122 w 148"/>
              <a:gd name="T77" fmla="*/ 126 h 160"/>
              <a:gd name="T78" fmla="*/ 114 w 148"/>
              <a:gd name="T79" fmla="*/ 114 h 160"/>
              <a:gd name="T80" fmla="*/ 126 w 148"/>
              <a:gd name="T81" fmla="*/ 122 h 160"/>
              <a:gd name="T82" fmla="*/ 22 w 148"/>
              <a:gd name="T83" fmla="*/ 22 h 160"/>
              <a:gd name="T84" fmla="*/ 34 w 148"/>
              <a:gd name="T85" fmla="*/ 30 h 160"/>
              <a:gd name="T86" fmla="*/ 32 w 148"/>
              <a:gd name="T87" fmla="*/ 35 h 160"/>
              <a:gd name="T88" fmla="*/ 22 w 148"/>
              <a:gd name="T89" fmla="*/ 26 h 160"/>
              <a:gd name="T90" fmla="*/ 74 w 148"/>
              <a:gd name="T91" fmla="*/ 44 h 160"/>
              <a:gd name="T92" fmla="*/ 41 w 148"/>
              <a:gd name="T93" fmla="*/ 77 h 160"/>
              <a:gd name="T94" fmla="*/ 74 w 148"/>
              <a:gd name="T95" fmla="*/ 39 h 1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148" h="160">
                <a:moveTo>
                  <a:pt x="74" y="24"/>
                </a:moveTo>
                <a:cubicBezTo>
                  <a:pt x="46" y="24"/>
                  <a:pt x="24" y="46"/>
                  <a:pt x="24" y="74"/>
                </a:cubicBezTo>
                <a:cubicBezTo>
                  <a:pt x="24" y="95"/>
                  <a:pt x="37" y="114"/>
                  <a:pt x="56" y="121"/>
                </a:cubicBezTo>
                <a:cubicBezTo>
                  <a:pt x="56" y="148"/>
                  <a:pt x="56" y="148"/>
                  <a:pt x="56" y="148"/>
                </a:cubicBezTo>
                <a:cubicBezTo>
                  <a:pt x="56" y="150"/>
                  <a:pt x="58" y="151"/>
                  <a:pt x="59" y="151"/>
                </a:cubicBezTo>
                <a:cubicBezTo>
                  <a:pt x="62" y="151"/>
                  <a:pt x="62" y="151"/>
                  <a:pt x="62" y="151"/>
                </a:cubicBezTo>
                <a:cubicBezTo>
                  <a:pt x="62" y="157"/>
                  <a:pt x="62" y="157"/>
                  <a:pt x="62" y="157"/>
                </a:cubicBezTo>
                <a:cubicBezTo>
                  <a:pt x="62" y="159"/>
                  <a:pt x="64" y="160"/>
                  <a:pt x="65" y="160"/>
                </a:cubicBezTo>
                <a:cubicBezTo>
                  <a:pt x="83" y="160"/>
                  <a:pt x="83" y="160"/>
                  <a:pt x="83" y="160"/>
                </a:cubicBezTo>
                <a:cubicBezTo>
                  <a:pt x="85" y="160"/>
                  <a:pt x="86" y="159"/>
                  <a:pt x="86" y="157"/>
                </a:cubicBezTo>
                <a:cubicBezTo>
                  <a:pt x="86" y="151"/>
                  <a:pt x="86" y="151"/>
                  <a:pt x="86" y="151"/>
                </a:cubicBezTo>
                <a:cubicBezTo>
                  <a:pt x="89" y="151"/>
                  <a:pt x="89" y="151"/>
                  <a:pt x="89" y="151"/>
                </a:cubicBezTo>
                <a:cubicBezTo>
                  <a:pt x="91" y="151"/>
                  <a:pt x="92" y="150"/>
                  <a:pt x="92" y="148"/>
                </a:cubicBezTo>
                <a:cubicBezTo>
                  <a:pt x="92" y="121"/>
                  <a:pt x="92" y="121"/>
                  <a:pt x="92" y="121"/>
                </a:cubicBezTo>
                <a:cubicBezTo>
                  <a:pt x="111" y="114"/>
                  <a:pt x="124" y="95"/>
                  <a:pt x="124" y="74"/>
                </a:cubicBezTo>
                <a:cubicBezTo>
                  <a:pt x="124" y="46"/>
                  <a:pt x="102" y="24"/>
                  <a:pt x="74" y="24"/>
                </a:cubicBezTo>
                <a:close/>
                <a:moveTo>
                  <a:pt x="83" y="145"/>
                </a:moveTo>
                <a:cubicBezTo>
                  <a:pt x="81" y="145"/>
                  <a:pt x="80" y="147"/>
                  <a:pt x="80" y="148"/>
                </a:cubicBezTo>
                <a:cubicBezTo>
                  <a:pt x="80" y="154"/>
                  <a:pt x="80" y="154"/>
                  <a:pt x="80" y="154"/>
                </a:cubicBezTo>
                <a:cubicBezTo>
                  <a:pt x="68" y="154"/>
                  <a:pt x="68" y="154"/>
                  <a:pt x="68" y="154"/>
                </a:cubicBezTo>
                <a:cubicBezTo>
                  <a:pt x="68" y="148"/>
                  <a:pt x="68" y="148"/>
                  <a:pt x="68" y="148"/>
                </a:cubicBezTo>
                <a:cubicBezTo>
                  <a:pt x="68" y="147"/>
                  <a:pt x="67" y="145"/>
                  <a:pt x="65" y="145"/>
                </a:cubicBezTo>
                <a:cubicBezTo>
                  <a:pt x="62" y="145"/>
                  <a:pt x="62" y="145"/>
                  <a:pt x="62" y="145"/>
                </a:cubicBezTo>
                <a:cubicBezTo>
                  <a:pt x="62" y="130"/>
                  <a:pt x="62" y="130"/>
                  <a:pt x="62" y="130"/>
                </a:cubicBezTo>
                <a:cubicBezTo>
                  <a:pt x="86" y="130"/>
                  <a:pt x="86" y="130"/>
                  <a:pt x="86" y="130"/>
                </a:cubicBezTo>
                <a:cubicBezTo>
                  <a:pt x="86" y="145"/>
                  <a:pt x="86" y="145"/>
                  <a:pt x="86" y="145"/>
                </a:cubicBezTo>
                <a:lnTo>
                  <a:pt x="83" y="145"/>
                </a:lnTo>
                <a:close/>
                <a:moveTo>
                  <a:pt x="88" y="116"/>
                </a:moveTo>
                <a:cubicBezTo>
                  <a:pt x="87" y="117"/>
                  <a:pt x="86" y="118"/>
                  <a:pt x="86" y="119"/>
                </a:cubicBezTo>
                <a:cubicBezTo>
                  <a:pt x="86" y="124"/>
                  <a:pt x="86" y="124"/>
                  <a:pt x="86" y="124"/>
                </a:cubicBezTo>
                <a:cubicBezTo>
                  <a:pt x="62" y="124"/>
                  <a:pt x="62" y="124"/>
                  <a:pt x="62" y="124"/>
                </a:cubicBezTo>
                <a:cubicBezTo>
                  <a:pt x="62" y="119"/>
                  <a:pt x="62" y="119"/>
                  <a:pt x="62" y="119"/>
                </a:cubicBezTo>
                <a:cubicBezTo>
                  <a:pt x="62" y="118"/>
                  <a:pt x="61" y="117"/>
                  <a:pt x="60" y="116"/>
                </a:cubicBezTo>
                <a:cubicBezTo>
                  <a:pt x="42" y="110"/>
                  <a:pt x="30" y="93"/>
                  <a:pt x="30" y="74"/>
                </a:cubicBezTo>
                <a:cubicBezTo>
                  <a:pt x="30" y="50"/>
                  <a:pt x="50" y="30"/>
                  <a:pt x="74" y="30"/>
                </a:cubicBezTo>
                <a:cubicBezTo>
                  <a:pt x="99" y="30"/>
                  <a:pt x="119" y="50"/>
                  <a:pt x="119" y="74"/>
                </a:cubicBezTo>
                <a:cubicBezTo>
                  <a:pt x="119" y="93"/>
                  <a:pt x="106" y="110"/>
                  <a:pt x="88" y="116"/>
                </a:cubicBezTo>
                <a:close/>
                <a:moveTo>
                  <a:pt x="71" y="15"/>
                </a:moveTo>
                <a:cubicBezTo>
                  <a:pt x="71" y="3"/>
                  <a:pt x="71" y="3"/>
                  <a:pt x="71" y="3"/>
                </a:cubicBezTo>
                <a:cubicBezTo>
                  <a:pt x="71" y="1"/>
                  <a:pt x="72" y="0"/>
                  <a:pt x="74" y="0"/>
                </a:cubicBezTo>
                <a:cubicBezTo>
                  <a:pt x="76" y="0"/>
                  <a:pt x="77" y="1"/>
                  <a:pt x="77" y="3"/>
                </a:cubicBezTo>
                <a:cubicBezTo>
                  <a:pt x="77" y="15"/>
                  <a:pt x="77" y="15"/>
                  <a:pt x="77" y="15"/>
                </a:cubicBezTo>
                <a:cubicBezTo>
                  <a:pt x="77" y="16"/>
                  <a:pt x="76" y="18"/>
                  <a:pt x="74" y="18"/>
                </a:cubicBezTo>
                <a:cubicBezTo>
                  <a:pt x="72" y="18"/>
                  <a:pt x="71" y="16"/>
                  <a:pt x="71" y="15"/>
                </a:cubicBezTo>
                <a:close/>
                <a:moveTo>
                  <a:pt x="148" y="74"/>
                </a:moveTo>
                <a:cubicBezTo>
                  <a:pt x="148" y="76"/>
                  <a:pt x="147" y="77"/>
                  <a:pt x="145" y="77"/>
                </a:cubicBezTo>
                <a:cubicBezTo>
                  <a:pt x="133" y="77"/>
                  <a:pt x="133" y="77"/>
                  <a:pt x="133" y="77"/>
                </a:cubicBezTo>
                <a:cubicBezTo>
                  <a:pt x="132" y="77"/>
                  <a:pt x="130" y="76"/>
                  <a:pt x="130" y="74"/>
                </a:cubicBezTo>
                <a:cubicBezTo>
                  <a:pt x="130" y="72"/>
                  <a:pt x="132" y="71"/>
                  <a:pt x="133" y="71"/>
                </a:cubicBezTo>
                <a:cubicBezTo>
                  <a:pt x="145" y="71"/>
                  <a:pt x="145" y="71"/>
                  <a:pt x="145" y="71"/>
                </a:cubicBezTo>
                <a:cubicBezTo>
                  <a:pt x="147" y="71"/>
                  <a:pt x="148" y="72"/>
                  <a:pt x="148" y="74"/>
                </a:cubicBezTo>
                <a:close/>
                <a:moveTo>
                  <a:pt x="18" y="74"/>
                </a:moveTo>
                <a:cubicBezTo>
                  <a:pt x="18" y="76"/>
                  <a:pt x="16" y="77"/>
                  <a:pt x="15" y="77"/>
                </a:cubicBezTo>
                <a:cubicBezTo>
                  <a:pt x="3" y="77"/>
                  <a:pt x="3" y="77"/>
                  <a:pt x="3" y="77"/>
                </a:cubicBezTo>
                <a:cubicBezTo>
                  <a:pt x="1" y="77"/>
                  <a:pt x="0" y="76"/>
                  <a:pt x="0" y="74"/>
                </a:cubicBezTo>
                <a:cubicBezTo>
                  <a:pt x="0" y="72"/>
                  <a:pt x="1" y="71"/>
                  <a:pt x="3" y="71"/>
                </a:cubicBezTo>
                <a:cubicBezTo>
                  <a:pt x="15" y="71"/>
                  <a:pt x="15" y="71"/>
                  <a:pt x="15" y="71"/>
                </a:cubicBezTo>
                <a:cubicBezTo>
                  <a:pt x="16" y="71"/>
                  <a:pt x="18" y="72"/>
                  <a:pt x="18" y="74"/>
                </a:cubicBezTo>
                <a:close/>
                <a:moveTo>
                  <a:pt x="126" y="22"/>
                </a:moveTo>
                <a:cubicBezTo>
                  <a:pt x="128" y="23"/>
                  <a:pt x="128" y="25"/>
                  <a:pt x="126" y="26"/>
                </a:cubicBezTo>
                <a:cubicBezTo>
                  <a:pt x="118" y="34"/>
                  <a:pt x="118" y="34"/>
                  <a:pt x="118" y="34"/>
                </a:cubicBezTo>
                <a:cubicBezTo>
                  <a:pt x="117" y="35"/>
                  <a:pt x="117" y="35"/>
                  <a:pt x="116" y="35"/>
                </a:cubicBezTo>
                <a:cubicBezTo>
                  <a:pt x="115" y="35"/>
                  <a:pt x="114" y="35"/>
                  <a:pt x="114" y="34"/>
                </a:cubicBezTo>
                <a:cubicBezTo>
                  <a:pt x="113" y="33"/>
                  <a:pt x="113" y="31"/>
                  <a:pt x="114" y="30"/>
                </a:cubicBezTo>
                <a:cubicBezTo>
                  <a:pt x="122" y="22"/>
                  <a:pt x="122" y="22"/>
                  <a:pt x="122" y="22"/>
                </a:cubicBezTo>
                <a:cubicBezTo>
                  <a:pt x="123" y="21"/>
                  <a:pt x="125" y="21"/>
                  <a:pt x="126" y="22"/>
                </a:cubicBezTo>
                <a:close/>
                <a:moveTo>
                  <a:pt x="34" y="114"/>
                </a:moveTo>
                <a:cubicBezTo>
                  <a:pt x="35" y="115"/>
                  <a:pt x="35" y="117"/>
                  <a:pt x="34" y="118"/>
                </a:cubicBezTo>
                <a:cubicBezTo>
                  <a:pt x="26" y="126"/>
                  <a:pt x="26" y="126"/>
                  <a:pt x="26" y="126"/>
                </a:cubicBezTo>
                <a:cubicBezTo>
                  <a:pt x="25" y="127"/>
                  <a:pt x="25" y="127"/>
                  <a:pt x="24" y="127"/>
                </a:cubicBezTo>
                <a:cubicBezTo>
                  <a:pt x="23" y="127"/>
                  <a:pt x="22" y="127"/>
                  <a:pt x="22" y="126"/>
                </a:cubicBezTo>
                <a:cubicBezTo>
                  <a:pt x="21" y="125"/>
                  <a:pt x="21" y="123"/>
                  <a:pt x="22" y="122"/>
                </a:cubicBezTo>
                <a:cubicBezTo>
                  <a:pt x="30" y="114"/>
                  <a:pt x="30" y="114"/>
                  <a:pt x="30" y="114"/>
                </a:cubicBezTo>
                <a:cubicBezTo>
                  <a:pt x="31" y="113"/>
                  <a:pt x="33" y="113"/>
                  <a:pt x="34" y="114"/>
                </a:cubicBezTo>
                <a:close/>
                <a:moveTo>
                  <a:pt x="126" y="122"/>
                </a:moveTo>
                <a:cubicBezTo>
                  <a:pt x="128" y="123"/>
                  <a:pt x="128" y="125"/>
                  <a:pt x="126" y="126"/>
                </a:cubicBezTo>
                <a:cubicBezTo>
                  <a:pt x="126" y="127"/>
                  <a:pt x="125" y="127"/>
                  <a:pt x="124" y="127"/>
                </a:cubicBezTo>
                <a:cubicBezTo>
                  <a:pt x="124" y="127"/>
                  <a:pt x="123" y="127"/>
                  <a:pt x="122" y="126"/>
                </a:cubicBezTo>
                <a:cubicBezTo>
                  <a:pt x="114" y="118"/>
                  <a:pt x="114" y="118"/>
                  <a:pt x="114" y="118"/>
                </a:cubicBezTo>
                <a:cubicBezTo>
                  <a:pt x="113" y="117"/>
                  <a:pt x="113" y="115"/>
                  <a:pt x="114" y="114"/>
                </a:cubicBezTo>
                <a:cubicBezTo>
                  <a:pt x="115" y="113"/>
                  <a:pt x="117" y="113"/>
                  <a:pt x="118" y="114"/>
                </a:cubicBezTo>
                <a:lnTo>
                  <a:pt x="126" y="122"/>
                </a:lnTo>
                <a:close/>
                <a:moveTo>
                  <a:pt x="22" y="26"/>
                </a:moveTo>
                <a:cubicBezTo>
                  <a:pt x="21" y="25"/>
                  <a:pt x="21" y="23"/>
                  <a:pt x="22" y="22"/>
                </a:cubicBezTo>
                <a:cubicBezTo>
                  <a:pt x="23" y="21"/>
                  <a:pt x="25" y="21"/>
                  <a:pt x="26" y="22"/>
                </a:cubicBezTo>
                <a:cubicBezTo>
                  <a:pt x="34" y="30"/>
                  <a:pt x="34" y="30"/>
                  <a:pt x="34" y="30"/>
                </a:cubicBezTo>
                <a:cubicBezTo>
                  <a:pt x="35" y="31"/>
                  <a:pt x="35" y="33"/>
                  <a:pt x="34" y="34"/>
                </a:cubicBezTo>
                <a:cubicBezTo>
                  <a:pt x="34" y="35"/>
                  <a:pt x="33" y="35"/>
                  <a:pt x="32" y="35"/>
                </a:cubicBezTo>
                <a:cubicBezTo>
                  <a:pt x="31" y="35"/>
                  <a:pt x="31" y="35"/>
                  <a:pt x="30" y="34"/>
                </a:cubicBezTo>
                <a:lnTo>
                  <a:pt x="22" y="26"/>
                </a:lnTo>
                <a:close/>
                <a:moveTo>
                  <a:pt x="77" y="41"/>
                </a:moveTo>
                <a:cubicBezTo>
                  <a:pt x="77" y="43"/>
                  <a:pt x="76" y="44"/>
                  <a:pt x="74" y="44"/>
                </a:cubicBezTo>
                <a:cubicBezTo>
                  <a:pt x="58" y="44"/>
                  <a:pt x="44" y="58"/>
                  <a:pt x="44" y="74"/>
                </a:cubicBezTo>
                <a:cubicBezTo>
                  <a:pt x="44" y="76"/>
                  <a:pt x="43" y="77"/>
                  <a:pt x="41" y="77"/>
                </a:cubicBezTo>
                <a:cubicBezTo>
                  <a:pt x="40" y="77"/>
                  <a:pt x="39" y="76"/>
                  <a:pt x="39" y="74"/>
                </a:cubicBezTo>
                <a:cubicBezTo>
                  <a:pt x="39" y="54"/>
                  <a:pt x="54" y="39"/>
                  <a:pt x="74" y="39"/>
                </a:cubicBezTo>
                <a:cubicBezTo>
                  <a:pt x="76" y="39"/>
                  <a:pt x="77" y="40"/>
                  <a:pt x="77" y="41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en-US">
              <a:latin typeface="Arial" panose="020B0604020202020204" pitchFamily="34" charset="0"/>
              <a:ea typeface="微软雅黑" panose="020B0503020204020204" pitchFamily="34" charset="-122"/>
              <a:cs typeface="思源黑体 CN Regular" panose="020B0500000000000000" charset="-122"/>
              <a:sym typeface="Arial" panose="020B0604020202020204" pitchFamily="34" charset="0"/>
            </a:endParaRPr>
          </a:p>
        </p:txBody>
      </p:sp>
      <p:sp>
        <p:nvSpPr>
          <p:cNvPr id="32" name="TextBox 17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SpPr txBox="1"/>
          <p:nvPr/>
        </p:nvSpPr>
        <p:spPr>
          <a:xfrm>
            <a:off x="685800" y="2354842"/>
            <a:ext cx="3010746" cy="820161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r">
              <a:lnSpc>
                <a:spcPct val="120000"/>
              </a:lnSpc>
              <a:spcBef>
                <a:spcPts val="600"/>
              </a:spcBef>
            </a:pPr>
            <a:r>
              <a:rPr lang="en-US" sz="1200" b="1" dirty="0"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rPr>
              <a:t>Write title here</a:t>
            </a:r>
          </a:p>
          <a:p>
            <a:pPr algn="r">
              <a:lnSpc>
                <a:spcPct val="120000"/>
              </a:lnSpc>
              <a:spcBef>
                <a:spcPts val="600"/>
              </a:spcBef>
            </a:pPr>
            <a:r>
              <a:rPr lang="en-US" altLang="zh-CN" sz="1000" dirty="0">
                <a:solidFill>
                  <a:schemeClr val="accent6">
                    <a:lumMod val="50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rPr>
              <a:t>Click here to add content, content to match the title. </a:t>
            </a:r>
          </a:p>
          <a:p>
            <a:pPr algn="r">
              <a:lnSpc>
                <a:spcPct val="120000"/>
              </a:lnSpc>
              <a:spcBef>
                <a:spcPts val="600"/>
              </a:spcBef>
            </a:pPr>
            <a:r>
              <a:rPr lang="en-US" sz="1000" dirty="0"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rPr>
              <a:t>.</a:t>
            </a:r>
          </a:p>
        </p:txBody>
      </p:sp>
      <p:grpSp>
        <p:nvGrpSpPr>
          <p:cNvPr id="33" name="组合 32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GrpSpPr/>
          <p:nvPr/>
        </p:nvGrpSpPr>
        <p:grpSpPr>
          <a:xfrm>
            <a:off x="5563318" y="6024872"/>
            <a:ext cx="1065364" cy="294656"/>
            <a:chOff x="725336" y="5029560"/>
            <a:chExt cx="1065364" cy="294656"/>
          </a:xfrm>
        </p:grpSpPr>
        <p:sp>
          <p:nvSpPr>
            <p:cNvPr id="34" name="矩形 33"/>
            <p:cNvSpPr/>
            <p:nvPr/>
          </p:nvSpPr>
          <p:spPr>
            <a:xfrm>
              <a:off x="725336" y="5029560"/>
              <a:ext cx="1065364" cy="294656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600"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endParaRPr>
            </a:p>
          </p:txBody>
        </p:sp>
        <p:sp>
          <p:nvSpPr>
            <p:cNvPr id="35" name="文本框 34"/>
            <p:cNvSpPr txBox="1"/>
            <p:nvPr/>
          </p:nvSpPr>
          <p:spPr>
            <a:xfrm>
              <a:off x="881152" y="5034031"/>
              <a:ext cx="829330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sz="1200">
                  <a:solidFill>
                    <a:schemeClr val="bg1"/>
                  </a:solidFill>
                  <a:latin typeface="Arial" panose="020B0604020202020204" pitchFamily="34" charset="0"/>
                  <a:ea typeface="微软雅黑" panose="020B0503020204020204" pitchFamily="34" charset="-122"/>
                  <a:cs typeface="思源黑体 CN Regular" panose="020B0500000000000000" charset="-122"/>
                  <a:sym typeface="Arial" panose="020B0604020202020204" pitchFamily="34" charset="0"/>
                </a:rPr>
                <a:t>START</a:t>
              </a:r>
              <a:r>
                <a:rPr lang="zh-CN" altLang="en-US" sz="1200">
                  <a:solidFill>
                    <a:schemeClr val="bg1"/>
                  </a:solidFill>
                  <a:latin typeface="Arial" panose="020B0604020202020204" pitchFamily="34" charset="0"/>
                  <a:ea typeface="微软雅黑" panose="020B0503020204020204" pitchFamily="34" charset="-122"/>
                  <a:cs typeface="思源黑体 CN Regular" panose="020B0500000000000000" charset="-122"/>
                  <a:sym typeface="Arial" panose="020B0604020202020204" pitchFamily="34" charset="0"/>
                </a:rPr>
                <a:t>→</a:t>
              </a:r>
            </a:p>
          </p:txBody>
        </p:sp>
      </p:grpSp>
      <p:sp>
        <p:nvSpPr>
          <p:cNvPr id="36" name="Прямоугольник 9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SpPr/>
          <p:nvPr/>
        </p:nvSpPr>
        <p:spPr>
          <a:xfrm>
            <a:off x="0" y="0"/>
            <a:ext cx="45719" cy="3429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rial" panose="020B0604020202020204" pitchFamily="34" charset="0"/>
              <a:ea typeface="微软雅黑" panose="020B0503020204020204" pitchFamily="34" charset="-122"/>
              <a:cs typeface="思源黑体 CN Regular" panose="020B0500000000000000" charset="-122"/>
              <a:sym typeface="Arial" panose="020B0604020202020204" pitchFamily="34" charset="0"/>
            </a:endParaRPr>
          </a:p>
        </p:txBody>
      </p:sp>
      <p:sp>
        <p:nvSpPr>
          <p:cNvPr id="37" name="TextBox 17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SpPr txBox="1"/>
          <p:nvPr/>
        </p:nvSpPr>
        <p:spPr>
          <a:xfrm>
            <a:off x="536448" y="4061722"/>
            <a:ext cx="3010746" cy="820161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r">
              <a:lnSpc>
                <a:spcPct val="120000"/>
              </a:lnSpc>
              <a:spcBef>
                <a:spcPts val="600"/>
              </a:spcBef>
            </a:pPr>
            <a:r>
              <a:rPr lang="en-US" sz="1200" b="1" dirty="0"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rPr>
              <a:t>Write title here</a:t>
            </a:r>
          </a:p>
          <a:p>
            <a:pPr algn="r">
              <a:lnSpc>
                <a:spcPct val="120000"/>
              </a:lnSpc>
              <a:spcBef>
                <a:spcPts val="600"/>
              </a:spcBef>
            </a:pPr>
            <a:r>
              <a:rPr lang="en-US" altLang="zh-CN" sz="1000" dirty="0">
                <a:solidFill>
                  <a:schemeClr val="accent6">
                    <a:lumMod val="50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rPr>
              <a:t>Click here to add content, content to match the title. </a:t>
            </a:r>
          </a:p>
          <a:p>
            <a:pPr algn="r">
              <a:lnSpc>
                <a:spcPct val="120000"/>
              </a:lnSpc>
              <a:spcBef>
                <a:spcPts val="600"/>
              </a:spcBef>
            </a:pPr>
            <a:r>
              <a:rPr lang="en-US" sz="1000" dirty="0"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rPr>
              <a:t>.</a:t>
            </a:r>
          </a:p>
        </p:txBody>
      </p:sp>
      <p:sp>
        <p:nvSpPr>
          <p:cNvPr id="38" name="TextBox 17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SpPr txBox="1"/>
          <p:nvPr/>
        </p:nvSpPr>
        <p:spPr>
          <a:xfrm>
            <a:off x="8895927" y="3086100"/>
            <a:ext cx="3010746" cy="820161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>
              <a:lnSpc>
                <a:spcPct val="120000"/>
              </a:lnSpc>
              <a:spcBef>
                <a:spcPts val="600"/>
              </a:spcBef>
            </a:pPr>
            <a:r>
              <a:rPr lang="en-US" sz="1200" b="1" dirty="0"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rPr>
              <a:t>Write title here</a:t>
            </a:r>
          </a:p>
          <a:p>
            <a:pPr>
              <a:lnSpc>
                <a:spcPct val="120000"/>
              </a:lnSpc>
              <a:spcBef>
                <a:spcPts val="600"/>
              </a:spcBef>
            </a:pPr>
            <a:r>
              <a:rPr lang="en-US" altLang="zh-CN" sz="1000" dirty="0">
                <a:solidFill>
                  <a:schemeClr val="accent6">
                    <a:lumMod val="50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rPr>
              <a:t>Click here to add content, content to match the title. </a:t>
            </a:r>
          </a:p>
          <a:p>
            <a:pPr>
              <a:lnSpc>
                <a:spcPct val="120000"/>
              </a:lnSpc>
              <a:spcBef>
                <a:spcPts val="600"/>
              </a:spcBef>
            </a:pPr>
            <a:r>
              <a:rPr lang="en-US" sz="1000" dirty="0"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rPr>
              <a:t>.</a:t>
            </a:r>
          </a:p>
        </p:txBody>
      </p:sp>
      <p:sp>
        <p:nvSpPr>
          <p:cNvPr id="39" name="TextBox 17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SpPr txBox="1"/>
          <p:nvPr/>
        </p:nvSpPr>
        <p:spPr>
          <a:xfrm>
            <a:off x="8746575" y="4792980"/>
            <a:ext cx="3010746" cy="820161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>
              <a:lnSpc>
                <a:spcPct val="120000"/>
              </a:lnSpc>
              <a:spcBef>
                <a:spcPts val="600"/>
              </a:spcBef>
            </a:pPr>
            <a:r>
              <a:rPr lang="en-US" sz="1200" b="1" dirty="0"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rPr>
              <a:t>Write title here</a:t>
            </a:r>
          </a:p>
          <a:p>
            <a:pPr>
              <a:lnSpc>
                <a:spcPct val="120000"/>
              </a:lnSpc>
              <a:spcBef>
                <a:spcPts val="600"/>
              </a:spcBef>
            </a:pPr>
            <a:r>
              <a:rPr lang="en-US" altLang="zh-CN" sz="1000" dirty="0">
                <a:solidFill>
                  <a:schemeClr val="accent6">
                    <a:lumMod val="50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rPr>
              <a:t>Click here to add content, content to match the title. </a:t>
            </a:r>
          </a:p>
          <a:p>
            <a:pPr>
              <a:lnSpc>
                <a:spcPct val="120000"/>
              </a:lnSpc>
              <a:spcBef>
                <a:spcPts val="600"/>
              </a:spcBef>
            </a:pPr>
            <a:r>
              <a:rPr lang="en-US" sz="1000" dirty="0"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rPr>
              <a:t>.</a:t>
            </a:r>
          </a:p>
        </p:txBody>
      </p:sp>
      <p:sp>
        <p:nvSpPr>
          <p:cNvPr id="3" name="e7d195523061f1c0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 hidden="1"/>
          <p:cNvSpPr txBox="1"/>
          <p:nvPr/>
        </p:nvSpPr>
        <p:spPr>
          <a:xfrm>
            <a:off x="-355600" y="1803400"/>
            <a:ext cx="284693" cy="1016000"/>
          </a:xfrm>
          <a:prstGeom prst="rect">
            <a:avLst/>
          </a:prstGeom>
          <a:noFill/>
        </p:spPr>
        <p:txBody>
          <a:bodyPr vert="wordArtVert" rtlCol="0">
            <a:spAutoFit/>
          </a:bodyPr>
          <a:lstStyle/>
          <a:p>
            <a:r>
              <a:rPr lang="en-US" altLang="zh-CN" sz="100"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rPr>
              <a:t>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</a:t>
            </a:r>
            <a:endParaRPr lang="zh-CN" altLang="en-US" sz="100">
              <a:latin typeface="Arial" panose="020B0604020202020204" pitchFamily="34" charset="0"/>
              <a:ea typeface="微软雅黑" panose="020B0503020204020204" pitchFamily="34" charset="-122"/>
              <a:cs typeface="思源黑体 CN Regular" panose="020B0500000000000000" charset="-122"/>
              <a:sym typeface="Arial" panose="020B0604020202020204" pitchFamily="34" charset="0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random/>
      </p:transition>
    </mc:Choice>
    <mc:Fallback xmlns:p159="http://schemas.microsoft.com/office/powerpoint/2015/09/main" xmlns:p15="http://schemas.microsoft.com/office/powerpoint/2012/main" xmlns:a14="http://schemas.microsoft.com/office/drawing/2010/main" xmlns:wp="http://schemas.openxmlformats.org/drawingml/2006/wordprocessingDrawing" xmlns:w="http://schemas.openxmlformats.org/wordprocessingml/2006/main" xmlns:m="http://schemas.openxmlformats.org/officeDocument/2006/math" xmlns="">
      <p:transition spd="slow">
        <p:random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dur="50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 nodeType="clickPar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4" presetClass="entr" presetSubtype="10" dur="5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2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4" presetClass="entr" presetSubtype="10" dur="5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5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4" presetClass="entr" presetSubtype="10" dur="5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8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4" presetClass="entr" presetSubtype="10" dur="5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21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4" presetClass="entr" presetSubtype="10" dur="5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24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4" presetClass="entr" presetSubtype="10" dur="5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2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4" presetClass="entr" presetSubtype="10" dur="5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30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14" presetClass="entr" presetSubtype="10" dur="5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33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4" presetClass="entr" presetSubtype="10" dur="5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36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14" presetClass="entr" presetSubtype="10" dur="5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39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14" presetClass="entr" presetSubtype="10" dur="5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42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" presetID="14" presetClass="entr" presetSubtype="10" dur="5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45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6" presetID="14" presetClass="entr" presetSubtype="10" dur="5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48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9" presetID="14" presetClass="entr" presetSubtype="10" dur="5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51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2" presetID="14" presetClass="entr" presetSubtype="10" dur="5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54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5" presetID="14" presetClass="entr" presetSubtype="10" dur="5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57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8" presetID="14" presetClass="entr" presetSubtype="10" dur="5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60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1" presetID="14" presetClass="entr" presetSubtype="10" dur="5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63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4" presetID="14" presetClass="entr" presetSubtype="10" dur="5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66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7" fill="hold" nodeType="clickPar">
                      <p:stCondLst>
                        <p:cond delay="indefinite"/>
                      </p:stCondLst>
                      <p:childTnLst>
                        <p:par>
                          <p:cTn id="68" fill="hold">
                            <p:stCondLst>
                              <p:cond delay="0"/>
                            </p:stCondLst>
                            <p:childTnLst>
                              <p:par>
                                <p:cTn id="69" presetID="14" presetClass="entr" presetSubtype="10" dur="50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1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2" presetID="14" presetClass="entr" presetSubtype="10" dur="5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4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5" presetID="14" presetClass="entr" presetSubtype="10" dur="5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7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8" presetID="14" presetClass="entr" presetSubtype="10" dur="5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80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4" grpId="0" animBg="1"/>
      <p:bldP spid="5" grpId="0" animBg="1"/>
      <p:bldP spid="6" grpId="0" animBg="1"/>
      <p:bldP spid="7" grpId="0" animBg="1"/>
      <p:bldP spid="8" grpId="0" animBg="1"/>
      <p:bldP spid="9" grpId="0" animBg="1"/>
      <p:bldP spid="10" grpId="0" animBg="1"/>
      <p:bldP spid="11" grpId="0" animBg="1"/>
      <p:bldP spid="13" grpId="0" animBg="1"/>
      <p:bldP spid="15" grpId="0" animBg="1"/>
      <p:bldP spid="17" grpId="0" animBg="1"/>
      <p:bldP spid="19" grpId="0" animBg="1"/>
      <p:bldP spid="25" grpId="0" animBg="1"/>
      <p:bldP spid="27" grpId="0" animBg="1"/>
      <p:bldP spid="28" grpId="0" animBg="1"/>
      <p:bldP spid="29" grpId="0" animBg="1"/>
      <p:bldP spid="30" grpId="0" animBg="1"/>
      <p:bldP spid="32" grpId="0"/>
      <p:bldP spid="37" grpId="0"/>
      <p:bldP spid="38" grpId="0"/>
      <p:bldP spid="39" grpId="0"/>
    </p:bld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Notched Right Arrow 15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SpPr/>
          <p:nvPr/>
        </p:nvSpPr>
        <p:spPr>
          <a:xfrm>
            <a:off x="981756" y="2552548"/>
            <a:ext cx="10485782" cy="1752904"/>
          </a:xfrm>
          <a:prstGeom prst="notchedRightArrow">
            <a:avLst/>
          </a:prstGeom>
          <a:pattFill prst="wdUpDiag">
            <a:fgClr>
              <a:schemeClr val="bg1">
                <a:lumMod val="65000"/>
              </a:schemeClr>
            </a:fgClr>
            <a:bgClr>
              <a:schemeClr val="bg1"/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rial" panose="020B0604020202020204" pitchFamily="34" charset="0"/>
              <a:ea typeface="微软雅黑" panose="020B0503020204020204" pitchFamily="34" charset="-122"/>
              <a:cs typeface="思源黑体 CN Regular" panose="020B0500000000000000" charset="-122"/>
              <a:sym typeface="Arial" panose="020B0604020202020204" pitchFamily="34" charset="0"/>
            </a:endParaRPr>
          </a:p>
        </p:txBody>
      </p:sp>
      <p:sp>
        <p:nvSpPr>
          <p:cNvPr id="2" name="Title 1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SpPr>
            <a:spLocks noGrp="1"/>
          </p:cNvSpPr>
          <p:nvPr>
            <p:ph type="title" idx="4294967295"/>
          </p:nvPr>
        </p:nvSpPr>
        <p:spPr>
          <a:xfrm>
            <a:off x="1790700" y="685800"/>
            <a:ext cx="8610600" cy="495486"/>
          </a:xfrm>
        </p:spPr>
        <p:txBody>
          <a:bodyPr vert="horz" lIns="91440" tIns="45720" rIns="91440" bIns="45720" rtlCol="0" anchor="ctr">
            <a:noAutofit/>
          </a:bodyPr>
          <a:lstStyle/>
          <a:p>
            <a:pPr algn="ctr"/>
            <a:r>
              <a:rPr lang="en-US">
                <a:latin typeface="Arial" panose="020B0604020202020204" pitchFamily="34" charset="0"/>
                <a:ea typeface="微软雅黑" panose="020B0503020204020204" pitchFamily="34" charset="-122"/>
                <a:cs typeface="Gill Sans MT" panose="020B0502020104020203" charset="0"/>
                <a:sym typeface="Arial" panose="020B0604020202020204" pitchFamily="34" charset="0"/>
              </a:rPr>
              <a:t>PROCESS INFOGRAPHIC</a:t>
            </a:r>
          </a:p>
        </p:txBody>
      </p:sp>
      <p:sp>
        <p:nvSpPr>
          <p:cNvPr id="4" name="Oval 3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SpPr/>
          <p:nvPr/>
        </p:nvSpPr>
        <p:spPr>
          <a:xfrm>
            <a:off x="1724526" y="2921513"/>
            <a:ext cx="1014974" cy="1014974"/>
          </a:xfrm>
          <a:prstGeom prst="ellipse">
            <a:avLst/>
          </a:prstGeom>
          <a:solidFill>
            <a:schemeClr val="bg1"/>
          </a:solidFill>
          <a:ln w="254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80000"/>
              </a:lnSpc>
            </a:pPr>
            <a:endParaRPr lang="en-US" sz="1400">
              <a:solidFill>
                <a:schemeClr val="tx1"/>
              </a:solidFill>
              <a:latin typeface="Arial" panose="020B0604020202020204" pitchFamily="34" charset="0"/>
              <a:ea typeface="微软雅黑" panose="020B0503020204020204" pitchFamily="34" charset="-122"/>
              <a:cs typeface="思源黑体 CN Regular" panose="020B0500000000000000" charset="-122"/>
              <a:sym typeface="Arial" panose="020B0604020202020204" pitchFamily="34" charset="0"/>
            </a:endParaRPr>
          </a:p>
        </p:txBody>
      </p:sp>
      <p:sp>
        <p:nvSpPr>
          <p:cNvPr id="5" name="Oval 4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SpPr/>
          <p:nvPr/>
        </p:nvSpPr>
        <p:spPr>
          <a:xfrm>
            <a:off x="2342336" y="2869611"/>
            <a:ext cx="302671" cy="302671"/>
          </a:xfrm>
          <a:prstGeom prst="ellipse">
            <a:avLst/>
          </a:prstGeom>
          <a:solidFill>
            <a:schemeClr val="accent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80000"/>
              </a:lnSpc>
            </a:pPr>
            <a:r>
              <a:rPr lang="en-US" sz="1000">
                <a:solidFill>
                  <a:srgbClr val="FFFFFF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rPr>
              <a:t>01</a:t>
            </a:r>
          </a:p>
        </p:txBody>
      </p:sp>
      <p:sp>
        <p:nvSpPr>
          <p:cNvPr id="7" name="Oval 6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SpPr/>
          <p:nvPr/>
        </p:nvSpPr>
        <p:spPr>
          <a:xfrm>
            <a:off x="3590014" y="2921513"/>
            <a:ext cx="1014974" cy="1014974"/>
          </a:xfrm>
          <a:prstGeom prst="ellipse">
            <a:avLst/>
          </a:prstGeom>
          <a:solidFill>
            <a:schemeClr val="bg1"/>
          </a:solidFill>
          <a:ln w="254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80000"/>
              </a:lnSpc>
            </a:pPr>
            <a:endParaRPr lang="en-US" sz="1400">
              <a:solidFill>
                <a:schemeClr val="tx1"/>
              </a:solidFill>
              <a:latin typeface="Arial" panose="020B0604020202020204" pitchFamily="34" charset="0"/>
              <a:ea typeface="微软雅黑" panose="020B0503020204020204" pitchFamily="34" charset="-122"/>
              <a:cs typeface="思源黑体 CN Regular" panose="020B0500000000000000" charset="-122"/>
              <a:sym typeface="Arial" panose="020B0604020202020204" pitchFamily="34" charset="0"/>
            </a:endParaRPr>
          </a:p>
        </p:txBody>
      </p:sp>
      <p:sp>
        <p:nvSpPr>
          <p:cNvPr id="8" name="Oval 7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SpPr/>
          <p:nvPr/>
        </p:nvSpPr>
        <p:spPr>
          <a:xfrm>
            <a:off x="4207824" y="2869611"/>
            <a:ext cx="302671" cy="302671"/>
          </a:xfrm>
          <a:prstGeom prst="ellipse">
            <a:avLst/>
          </a:prstGeom>
          <a:solidFill>
            <a:schemeClr val="accent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80000"/>
              </a:lnSpc>
            </a:pPr>
            <a:r>
              <a:rPr lang="en-US" sz="1000">
                <a:solidFill>
                  <a:srgbClr val="FFFFFF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rPr>
              <a:t>02</a:t>
            </a:r>
          </a:p>
        </p:txBody>
      </p:sp>
      <p:sp>
        <p:nvSpPr>
          <p:cNvPr id="9" name="Oval 8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SpPr/>
          <p:nvPr/>
        </p:nvSpPr>
        <p:spPr>
          <a:xfrm>
            <a:off x="5455502" y="2921513"/>
            <a:ext cx="1014974" cy="1014974"/>
          </a:xfrm>
          <a:prstGeom prst="ellipse">
            <a:avLst/>
          </a:prstGeom>
          <a:solidFill>
            <a:schemeClr val="bg1"/>
          </a:solidFill>
          <a:ln w="254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80000"/>
              </a:lnSpc>
            </a:pPr>
            <a:endParaRPr lang="en-US" sz="1400">
              <a:solidFill>
                <a:schemeClr val="tx1"/>
              </a:solidFill>
              <a:latin typeface="Arial" panose="020B0604020202020204" pitchFamily="34" charset="0"/>
              <a:ea typeface="微软雅黑" panose="020B0503020204020204" pitchFamily="34" charset="-122"/>
              <a:cs typeface="思源黑体 CN Regular" panose="020B0500000000000000" charset="-122"/>
              <a:sym typeface="Arial" panose="020B0604020202020204" pitchFamily="34" charset="0"/>
            </a:endParaRPr>
          </a:p>
        </p:txBody>
      </p:sp>
      <p:sp>
        <p:nvSpPr>
          <p:cNvPr id="10" name="Oval 9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SpPr/>
          <p:nvPr/>
        </p:nvSpPr>
        <p:spPr>
          <a:xfrm>
            <a:off x="6073312" y="2869611"/>
            <a:ext cx="302671" cy="302671"/>
          </a:xfrm>
          <a:prstGeom prst="ellipse">
            <a:avLst/>
          </a:prstGeom>
          <a:solidFill>
            <a:schemeClr val="accent3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80000"/>
              </a:lnSpc>
            </a:pPr>
            <a:r>
              <a:rPr lang="en-US" sz="1000">
                <a:solidFill>
                  <a:srgbClr val="FFFFFF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rPr>
              <a:t>03</a:t>
            </a:r>
          </a:p>
        </p:txBody>
      </p:sp>
      <p:sp>
        <p:nvSpPr>
          <p:cNvPr id="11" name="Oval 10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SpPr/>
          <p:nvPr/>
        </p:nvSpPr>
        <p:spPr>
          <a:xfrm>
            <a:off x="7320990" y="2921513"/>
            <a:ext cx="1014974" cy="1014974"/>
          </a:xfrm>
          <a:prstGeom prst="ellipse">
            <a:avLst/>
          </a:prstGeom>
          <a:solidFill>
            <a:schemeClr val="bg1"/>
          </a:solidFill>
          <a:ln w="254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80000"/>
              </a:lnSpc>
            </a:pPr>
            <a:endParaRPr lang="en-US" sz="1400">
              <a:solidFill>
                <a:schemeClr val="tx1"/>
              </a:solidFill>
              <a:latin typeface="Arial" panose="020B0604020202020204" pitchFamily="34" charset="0"/>
              <a:ea typeface="微软雅黑" panose="020B0503020204020204" pitchFamily="34" charset="-122"/>
              <a:cs typeface="思源黑体 CN Regular" panose="020B0500000000000000" charset="-122"/>
              <a:sym typeface="Arial" panose="020B0604020202020204" pitchFamily="34" charset="0"/>
            </a:endParaRPr>
          </a:p>
        </p:txBody>
      </p:sp>
      <p:sp>
        <p:nvSpPr>
          <p:cNvPr id="12" name="Oval 11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SpPr/>
          <p:nvPr/>
        </p:nvSpPr>
        <p:spPr>
          <a:xfrm>
            <a:off x="7938800" y="2869611"/>
            <a:ext cx="302671" cy="302671"/>
          </a:xfrm>
          <a:prstGeom prst="ellipse">
            <a:avLst/>
          </a:prstGeom>
          <a:solidFill>
            <a:schemeClr val="accent4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80000"/>
              </a:lnSpc>
            </a:pPr>
            <a:r>
              <a:rPr lang="en-US" sz="1000">
                <a:solidFill>
                  <a:srgbClr val="FFFFFF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rPr>
              <a:t>04</a:t>
            </a:r>
          </a:p>
        </p:txBody>
      </p:sp>
      <p:sp>
        <p:nvSpPr>
          <p:cNvPr id="13" name="Oval 12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SpPr/>
          <p:nvPr/>
        </p:nvSpPr>
        <p:spPr>
          <a:xfrm>
            <a:off x="9186478" y="2921513"/>
            <a:ext cx="1014974" cy="1014974"/>
          </a:xfrm>
          <a:prstGeom prst="ellipse">
            <a:avLst/>
          </a:prstGeom>
          <a:solidFill>
            <a:schemeClr val="bg1"/>
          </a:solidFill>
          <a:ln w="2540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80000"/>
              </a:lnSpc>
            </a:pPr>
            <a:endParaRPr lang="en-US" sz="1400">
              <a:solidFill>
                <a:schemeClr val="tx1"/>
              </a:solidFill>
              <a:latin typeface="Arial" panose="020B0604020202020204" pitchFamily="34" charset="0"/>
              <a:ea typeface="微软雅黑" panose="020B0503020204020204" pitchFamily="34" charset="-122"/>
              <a:cs typeface="思源黑体 CN Regular" panose="020B0500000000000000" charset="-122"/>
              <a:sym typeface="Arial" panose="020B0604020202020204" pitchFamily="34" charset="0"/>
            </a:endParaRPr>
          </a:p>
        </p:txBody>
      </p:sp>
      <p:sp>
        <p:nvSpPr>
          <p:cNvPr id="14" name="Oval 13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SpPr/>
          <p:nvPr/>
        </p:nvSpPr>
        <p:spPr>
          <a:xfrm>
            <a:off x="9804288" y="2869611"/>
            <a:ext cx="302671" cy="302671"/>
          </a:xfrm>
          <a:prstGeom prst="ellipse">
            <a:avLst/>
          </a:prstGeom>
          <a:solidFill>
            <a:schemeClr val="accent5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80000"/>
              </a:lnSpc>
            </a:pPr>
            <a:r>
              <a:rPr lang="en-US" sz="1000">
                <a:solidFill>
                  <a:srgbClr val="FFFFFF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rPr>
              <a:t>05</a:t>
            </a:r>
          </a:p>
        </p:txBody>
      </p:sp>
      <p:sp>
        <p:nvSpPr>
          <p:cNvPr id="22" name="Freeform 851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SpPr>
            <a:spLocks noEditPoints="1"/>
          </p:cNvSpPr>
          <p:nvPr/>
        </p:nvSpPr>
        <p:spPr bwMode="auto">
          <a:xfrm>
            <a:off x="7664207" y="3224184"/>
            <a:ext cx="328539" cy="376247"/>
          </a:xfrm>
          <a:custGeom>
            <a:avLst/>
            <a:gdLst>
              <a:gd name="T0" fmla="*/ 119 w 141"/>
              <a:gd name="T1" fmla="*/ 84 h 160"/>
              <a:gd name="T2" fmla="*/ 95 w 141"/>
              <a:gd name="T3" fmla="*/ 20 h 160"/>
              <a:gd name="T4" fmla="*/ 84 w 141"/>
              <a:gd name="T5" fmla="*/ 15 h 160"/>
              <a:gd name="T6" fmla="*/ 55 w 141"/>
              <a:gd name="T7" fmla="*/ 15 h 160"/>
              <a:gd name="T8" fmla="*/ 46 w 141"/>
              <a:gd name="T9" fmla="*/ 20 h 160"/>
              <a:gd name="T10" fmla="*/ 20 w 141"/>
              <a:gd name="T11" fmla="*/ 84 h 160"/>
              <a:gd name="T12" fmla="*/ 0 w 141"/>
              <a:gd name="T13" fmla="*/ 135 h 160"/>
              <a:gd name="T14" fmla="*/ 30 w 141"/>
              <a:gd name="T15" fmla="*/ 141 h 160"/>
              <a:gd name="T16" fmla="*/ 70 w 141"/>
              <a:gd name="T17" fmla="*/ 160 h 160"/>
              <a:gd name="T18" fmla="*/ 111 w 141"/>
              <a:gd name="T19" fmla="*/ 141 h 160"/>
              <a:gd name="T20" fmla="*/ 140 w 141"/>
              <a:gd name="T21" fmla="*/ 135 h 160"/>
              <a:gd name="T22" fmla="*/ 61 w 141"/>
              <a:gd name="T23" fmla="*/ 15 h 160"/>
              <a:gd name="T24" fmla="*/ 79 w 141"/>
              <a:gd name="T25" fmla="*/ 15 h 160"/>
              <a:gd name="T26" fmla="*/ 61 w 141"/>
              <a:gd name="T27" fmla="*/ 15 h 160"/>
              <a:gd name="T28" fmla="*/ 52 w 141"/>
              <a:gd name="T29" fmla="*/ 145 h 160"/>
              <a:gd name="T30" fmla="*/ 89 w 141"/>
              <a:gd name="T31" fmla="*/ 145 h 160"/>
              <a:gd name="T32" fmla="*/ 110 w 141"/>
              <a:gd name="T33" fmla="*/ 136 h 160"/>
              <a:gd name="T34" fmla="*/ 94 w 141"/>
              <a:gd name="T35" fmla="*/ 138 h 160"/>
              <a:gd name="T36" fmla="*/ 88 w 141"/>
              <a:gd name="T37" fmla="*/ 139 h 160"/>
              <a:gd name="T38" fmla="*/ 81 w 141"/>
              <a:gd name="T39" fmla="*/ 139 h 160"/>
              <a:gd name="T40" fmla="*/ 76 w 141"/>
              <a:gd name="T41" fmla="*/ 140 h 160"/>
              <a:gd name="T42" fmla="*/ 64 w 141"/>
              <a:gd name="T43" fmla="*/ 140 h 160"/>
              <a:gd name="T44" fmla="*/ 58 w 141"/>
              <a:gd name="T45" fmla="*/ 139 h 160"/>
              <a:gd name="T46" fmla="*/ 53 w 141"/>
              <a:gd name="T47" fmla="*/ 139 h 160"/>
              <a:gd name="T48" fmla="*/ 47 w 141"/>
              <a:gd name="T49" fmla="*/ 138 h 160"/>
              <a:gd name="T50" fmla="*/ 9 w 141"/>
              <a:gd name="T51" fmla="*/ 132 h 160"/>
              <a:gd name="T52" fmla="*/ 26 w 141"/>
              <a:gd name="T53" fmla="*/ 58 h 160"/>
              <a:gd name="T54" fmla="*/ 59 w 141"/>
              <a:gd name="T55" fmla="*/ 22 h 160"/>
              <a:gd name="T56" fmla="*/ 81 w 141"/>
              <a:gd name="T57" fmla="*/ 21 h 160"/>
              <a:gd name="T58" fmla="*/ 92 w 141"/>
              <a:gd name="T59" fmla="*/ 25 h 160"/>
              <a:gd name="T60" fmla="*/ 114 w 141"/>
              <a:gd name="T61" fmla="*/ 84 h 160"/>
              <a:gd name="T62" fmla="*/ 110 w 141"/>
              <a:gd name="T63" fmla="*/ 136 h 160"/>
              <a:gd name="T64" fmla="*/ 86 w 141"/>
              <a:gd name="T65" fmla="*/ 38 h 160"/>
              <a:gd name="T66" fmla="*/ 41 w 141"/>
              <a:gd name="T67" fmla="*/ 58 h 160"/>
              <a:gd name="T68" fmla="*/ 38 w 141"/>
              <a:gd name="T69" fmla="*/ 61 h 160"/>
              <a:gd name="T70" fmla="*/ 52 w 141"/>
              <a:gd name="T71" fmla="*/ 33 h 160"/>
              <a:gd name="T72" fmla="*/ 90 w 141"/>
              <a:gd name="T73" fmla="*/ 37 h 1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141" h="160">
                <a:moveTo>
                  <a:pt x="140" y="132"/>
                </a:moveTo>
                <a:cubicBezTo>
                  <a:pt x="126" y="118"/>
                  <a:pt x="119" y="102"/>
                  <a:pt x="119" y="84"/>
                </a:cubicBezTo>
                <a:cubicBezTo>
                  <a:pt x="119" y="58"/>
                  <a:pt x="119" y="58"/>
                  <a:pt x="119" y="58"/>
                </a:cubicBezTo>
                <a:cubicBezTo>
                  <a:pt x="119" y="38"/>
                  <a:pt x="106" y="25"/>
                  <a:pt x="95" y="20"/>
                </a:cubicBezTo>
                <a:cubicBezTo>
                  <a:pt x="91" y="18"/>
                  <a:pt x="88" y="17"/>
                  <a:pt x="84" y="16"/>
                </a:cubicBezTo>
                <a:cubicBezTo>
                  <a:pt x="84" y="15"/>
                  <a:pt x="84" y="15"/>
                  <a:pt x="84" y="15"/>
                </a:cubicBezTo>
                <a:cubicBezTo>
                  <a:pt x="84" y="7"/>
                  <a:pt x="78" y="0"/>
                  <a:pt x="70" y="0"/>
                </a:cubicBezTo>
                <a:cubicBezTo>
                  <a:pt x="62" y="0"/>
                  <a:pt x="55" y="7"/>
                  <a:pt x="55" y="15"/>
                </a:cubicBezTo>
                <a:cubicBezTo>
                  <a:pt x="55" y="16"/>
                  <a:pt x="55" y="16"/>
                  <a:pt x="55" y="16"/>
                </a:cubicBezTo>
                <a:cubicBezTo>
                  <a:pt x="52" y="17"/>
                  <a:pt x="49" y="18"/>
                  <a:pt x="46" y="20"/>
                </a:cubicBezTo>
                <a:cubicBezTo>
                  <a:pt x="33" y="26"/>
                  <a:pt x="20" y="40"/>
                  <a:pt x="20" y="58"/>
                </a:cubicBezTo>
                <a:cubicBezTo>
                  <a:pt x="20" y="84"/>
                  <a:pt x="20" y="84"/>
                  <a:pt x="20" y="84"/>
                </a:cubicBezTo>
                <a:cubicBezTo>
                  <a:pt x="20" y="103"/>
                  <a:pt x="14" y="119"/>
                  <a:pt x="1" y="132"/>
                </a:cubicBezTo>
                <a:cubicBezTo>
                  <a:pt x="0" y="133"/>
                  <a:pt x="0" y="134"/>
                  <a:pt x="0" y="135"/>
                </a:cubicBezTo>
                <a:cubicBezTo>
                  <a:pt x="0" y="136"/>
                  <a:pt x="1" y="137"/>
                  <a:pt x="2" y="137"/>
                </a:cubicBezTo>
                <a:cubicBezTo>
                  <a:pt x="30" y="141"/>
                  <a:pt x="30" y="141"/>
                  <a:pt x="30" y="141"/>
                </a:cubicBezTo>
                <a:cubicBezTo>
                  <a:pt x="35" y="142"/>
                  <a:pt x="40" y="143"/>
                  <a:pt x="44" y="144"/>
                </a:cubicBezTo>
                <a:cubicBezTo>
                  <a:pt x="49" y="154"/>
                  <a:pt x="59" y="160"/>
                  <a:pt x="70" y="160"/>
                </a:cubicBezTo>
                <a:cubicBezTo>
                  <a:pt x="81" y="160"/>
                  <a:pt x="91" y="154"/>
                  <a:pt x="96" y="144"/>
                </a:cubicBezTo>
                <a:cubicBezTo>
                  <a:pt x="101" y="143"/>
                  <a:pt x="105" y="142"/>
                  <a:pt x="111" y="141"/>
                </a:cubicBezTo>
                <a:cubicBezTo>
                  <a:pt x="138" y="137"/>
                  <a:pt x="138" y="137"/>
                  <a:pt x="138" y="137"/>
                </a:cubicBezTo>
                <a:cubicBezTo>
                  <a:pt x="139" y="137"/>
                  <a:pt x="140" y="136"/>
                  <a:pt x="140" y="135"/>
                </a:cubicBezTo>
                <a:cubicBezTo>
                  <a:pt x="141" y="134"/>
                  <a:pt x="141" y="133"/>
                  <a:pt x="140" y="132"/>
                </a:cubicBezTo>
                <a:close/>
                <a:moveTo>
                  <a:pt x="61" y="15"/>
                </a:moveTo>
                <a:cubicBezTo>
                  <a:pt x="61" y="10"/>
                  <a:pt x="65" y="6"/>
                  <a:pt x="70" y="6"/>
                </a:cubicBezTo>
                <a:cubicBezTo>
                  <a:pt x="75" y="6"/>
                  <a:pt x="79" y="10"/>
                  <a:pt x="79" y="15"/>
                </a:cubicBezTo>
                <a:cubicBezTo>
                  <a:pt x="79" y="15"/>
                  <a:pt x="79" y="15"/>
                  <a:pt x="79" y="15"/>
                </a:cubicBezTo>
                <a:cubicBezTo>
                  <a:pt x="73" y="14"/>
                  <a:pt x="67" y="14"/>
                  <a:pt x="61" y="15"/>
                </a:cubicBezTo>
                <a:close/>
                <a:moveTo>
                  <a:pt x="70" y="154"/>
                </a:moveTo>
                <a:cubicBezTo>
                  <a:pt x="63" y="154"/>
                  <a:pt x="56" y="151"/>
                  <a:pt x="52" y="145"/>
                </a:cubicBezTo>
                <a:cubicBezTo>
                  <a:pt x="58" y="145"/>
                  <a:pt x="64" y="146"/>
                  <a:pt x="70" y="146"/>
                </a:cubicBezTo>
                <a:cubicBezTo>
                  <a:pt x="76" y="146"/>
                  <a:pt x="82" y="145"/>
                  <a:pt x="89" y="145"/>
                </a:cubicBezTo>
                <a:cubicBezTo>
                  <a:pt x="85" y="151"/>
                  <a:pt x="78" y="154"/>
                  <a:pt x="70" y="154"/>
                </a:cubicBezTo>
                <a:close/>
                <a:moveTo>
                  <a:pt x="110" y="136"/>
                </a:moveTo>
                <a:cubicBezTo>
                  <a:pt x="104" y="137"/>
                  <a:pt x="99" y="137"/>
                  <a:pt x="94" y="138"/>
                </a:cubicBezTo>
                <a:cubicBezTo>
                  <a:pt x="94" y="138"/>
                  <a:pt x="94" y="138"/>
                  <a:pt x="94" y="138"/>
                </a:cubicBezTo>
                <a:cubicBezTo>
                  <a:pt x="92" y="138"/>
                  <a:pt x="90" y="139"/>
                  <a:pt x="88" y="139"/>
                </a:cubicBezTo>
                <a:cubicBezTo>
                  <a:pt x="88" y="139"/>
                  <a:pt x="88" y="139"/>
                  <a:pt x="88" y="139"/>
                </a:cubicBezTo>
                <a:cubicBezTo>
                  <a:pt x="86" y="139"/>
                  <a:pt x="84" y="139"/>
                  <a:pt x="82" y="139"/>
                </a:cubicBezTo>
                <a:cubicBezTo>
                  <a:pt x="82" y="139"/>
                  <a:pt x="82" y="139"/>
                  <a:pt x="81" y="139"/>
                </a:cubicBezTo>
                <a:cubicBezTo>
                  <a:pt x="80" y="139"/>
                  <a:pt x="78" y="140"/>
                  <a:pt x="77" y="140"/>
                </a:cubicBezTo>
                <a:cubicBezTo>
                  <a:pt x="76" y="140"/>
                  <a:pt x="76" y="140"/>
                  <a:pt x="76" y="140"/>
                </a:cubicBezTo>
                <a:cubicBezTo>
                  <a:pt x="72" y="140"/>
                  <a:pt x="69" y="140"/>
                  <a:pt x="65" y="140"/>
                </a:cubicBezTo>
                <a:cubicBezTo>
                  <a:pt x="65" y="140"/>
                  <a:pt x="64" y="140"/>
                  <a:pt x="64" y="140"/>
                </a:cubicBezTo>
                <a:cubicBezTo>
                  <a:pt x="62" y="140"/>
                  <a:pt x="61" y="139"/>
                  <a:pt x="59" y="139"/>
                </a:cubicBezTo>
                <a:cubicBezTo>
                  <a:pt x="59" y="139"/>
                  <a:pt x="59" y="139"/>
                  <a:pt x="58" y="139"/>
                </a:cubicBezTo>
                <a:cubicBezTo>
                  <a:pt x="57" y="139"/>
                  <a:pt x="55" y="139"/>
                  <a:pt x="53" y="139"/>
                </a:cubicBezTo>
                <a:cubicBezTo>
                  <a:pt x="53" y="139"/>
                  <a:pt x="53" y="139"/>
                  <a:pt x="53" y="139"/>
                </a:cubicBezTo>
                <a:cubicBezTo>
                  <a:pt x="51" y="139"/>
                  <a:pt x="49" y="138"/>
                  <a:pt x="47" y="138"/>
                </a:cubicBezTo>
                <a:cubicBezTo>
                  <a:pt x="47" y="138"/>
                  <a:pt x="47" y="138"/>
                  <a:pt x="47" y="138"/>
                </a:cubicBezTo>
                <a:cubicBezTo>
                  <a:pt x="42" y="137"/>
                  <a:pt x="37" y="137"/>
                  <a:pt x="31" y="136"/>
                </a:cubicBezTo>
                <a:cubicBezTo>
                  <a:pt x="9" y="132"/>
                  <a:pt x="9" y="132"/>
                  <a:pt x="9" y="132"/>
                </a:cubicBezTo>
                <a:cubicBezTo>
                  <a:pt x="20" y="119"/>
                  <a:pt x="26" y="103"/>
                  <a:pt x="26" y="84"/>
                </a:cubicBezTo>
                <a:cubicBezTo>
                  <a:pt x="26" y="58"/>
                  <a:pt x="26" y="58"/>
                  <a:pt x="26" y="58"/>
                </a:cubicBezTo>
                <a:cubicBezTo>
                  <a:pt x="26" y="42"/>
                  <a:pt x="37" y="30"/>
                  <a:pt x="49" y="25"/>
                </a:cubicBezTo>
                <a:cubicBezTo>
                  <a:pt x="52" y="24"/>
                  <a:pt x="55" y="22"/>
                  <a:pt x="59" y="22"/>
                </a:cubicBezTo>
                <a:cubicBezTo>
                  <a:pt x="59" y="22"/>
                  <a:pt x="59" y="22"/>
                  <a:pt x="59" y="22"/>
                </a:cubicBezTo>
                <a:cubicBezTo>
                  <a:pt x="66" y="20"/>
                  <a:pt x="74" y="20"/>
                  <a:pt x="81" y="21"/>
                </a:cubicBezTo>
                <a:cubicBezTo>
                  <a:pt x="81" y="21"/>
                  <a:pt x="81" y="21"/>
                  <a:pt x="81" y="21"/>
                </a:cubicBezTo>
                <a:cubicBezTo>
                  <a:pt x="85" y="22"/>
                  <a:pt x="89" y="23"/>
                  <a:pt x="92" y="25"/>
                </a:cubicBezTo>
                <a:cubicBezTo>
                  <a:pt x="103" y="30"/>
                  <a:pt x="114" y="42"/>
                  <a:pt x="114" y="58"/>
                </a:cubicBezTo>
                <a:cubicBezTo>
                  <a:pt x="114" y="84"/>
                  <a:pt x="114" y="84"/>
                  <a:pt x="114" y="84"/>
                </a:cubicBezTo>
                <a:cubicBezTo>
                  <a:pt x="114" y="102"/>
                  <a:pt x="120" y="118"/>
                  <a:pt x="132" y="132"/>
                </a:cubicBezTo>
                <a:lnTo>
                  <a:pt x="110" y="136"/>
                </a:lnTo>
                <a:close/>
                <a:moveTo>
                  <a:pt x="90" y="37"/>
                </a:moveTo>
                <a:cubicBezTo>
                  <a:pt x="89" y="38"/>
                  <a:pt x="88" y="39"/>
                  <a:pt x="86" y="38"/>
                </a:cubicBezTo>
                <a:cubicBezTo>
                  <a:pt x="76" y="34"/>
                  <a:pt x="64" y="34"/>
                  <a:pt x="55" y="38"/>
                </a:cubicBezTo>
                <a:cubicBezTo>
                  <a:pt x="50" y="41"/>
                  <a:pt x="41" y="48"/>
                  <a:pt x="41" y="58"/>
                </a:cubicBezTo>
                <a:cubicBezTo>
                  <a:pt x="41" y="60"/>
                  <a:pt x="39" y="61"/>
                  <a:pt x="38" y="61"/>
                </a:cubicBezTo>
                <a:cubicBezTo>
                  <a:pt x="38" y="61"/>
                  <a:pt x="38" y="61"/>
                  <a:pt x="38" y="61"/>
                </a:cubicBezTo>
                <a:cubicBezTo>
                  <a:pt x="36" y="61"/>
                  <a:pt x="35" y="60"/>
                  <a:pt x="35" y="58"/>
                </a:cubicBezTo>
                <a:cubicBezTo>
                  <a:pt x="35" y="45"/>
                  <a:pt x="46" y="36"/>
                  <a:pt x="52" y="33"/>
                </a:cubicBezTo>
                <a:cubicBezTo>
                  <a:pt x="63" y="28"/>
                  <a:pt x="77" y="28"/>
                  <a:pt x="88" y="33"/>
                </a:cubicBezTo>
                <a:cubicBezTo>
                  <a:pt x="90" y="34"/>
                  <a:pt x="91" y="35"/>
                  <a:pt x="90" y="37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en-US">
              <a:latin typeface="Arial" panose="020B0604020202020204" pitchFamily="34" charset="0"/>
              <a:ea typeface="微软雅黑" panose="020B0503020204020204" pitchFamily="34" charset="-122"/>
              <a:cs typeface="思源黑体 CN Regular" panose="020B0500000000000000" charset="-122"/>
              <a:sym typeface="Arial" panose="020B0604020202020204" pitchFamily="34" charset="0"/>
            </a:endParaRPr>
          </a:p>
        </p:txBody>
      </p:sp>
      <p:sp>
        <p:nvSpPr>
          <p:cNvPr id="23" name="Freeform 1050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SpPr>
            <a:spLocks noEditPoints="1"/>
          </p:cNvSpPr>
          <p:nvPr/>
        </p:nvSpPr>
        <p:spPr bwMode="auto">
          <a:xfrm>
            <a:off x="2045515" y="3259852"/>
            <a:ext cx="372995" cy="338296"/>
          </a:xfrm>
          <a:custGeom>
            <a:avLst/>
            <a:gdLst>
              <a:gd name="T0" fmla="*/ 115 w 160"/>
              <a:gd name="T1" fmla="*/ 0 h 144"/>
              <a:gd name="T2" fmla="*/ 89 w 160"/>
              <a:gd name="T3" fmla="*/ 37 h 144"/>
              <a:gd name="T4" fmla="*/ 63 w 160"/>
              <a:gd name="T5" fmla="*/ 7 h 144"/>
              <a:gd name="T6" fmla="*/ 4 w 160"/>
              <a:gd name="T7" fmla="*/ 91 h 144"/>
              <a:gd name="T8" fmla="*/ 71 w 160"/>
              <a:gd name="T9" fmla="*/ 110 h 144"/>
              <a:gd name="T10" fmla="*/ 71 w 160"/>
              <a:gd name="T11" fmla="*/ 82 h 144"/>
              <a:gd name="T12" fmla="*/ 89 w 160"/>
              <a:gd name="T13" fmla="*/ 110 h 144"/>
              <a:gd name="T14" fmla="*/ 160 w 160"/>
              <a:gd name="T15" fmla="*/ 109 h 144"/>
              <a:gd name="T16" fmla="*/ 6 w 160"/>
              <a:gd name="T17" fmla="*/ 109 h 144"/>
              <a:gd name="T18" fmla="*/ 12 w 160"/>
              <a:gd name="T19" fmla="*/ 90 h 144"/>
              <a:gd name="T20" fmla="*/ 20 w 160"/>
              <a:gd name="T21" fmla="*/ 83 h 144"/>
              <a:gd name="T22" fmla="*/ 28 w 160"/>
              <a:gd name="T23" fmla="*/ 80 h 144"/>
              <a:gd name="T24" fmla="*/ 36 w 160"/>
              <a:gd name="T25" fmla="*/ 79 h 144"/>
              <a:gd name="T26" fmla="*/ 65 w 160"/>
              <a:gd name="T27" fmla="*/ 110 h 144"/>
              <a:gd name="T28" fmla="*/ 63 w 160"/>
              <a:gd name="T29" fmla="*/ 86 h 144"/>
              <a:gd name="T30" fmla="*/ 59 w 160"/>
              <a:gd name="T31" fmla="*/ 82 h 144"/>
              <a:gd name="T32" fmla="*/ 53 w 160"/>
              <a:gd name="T33" fmla="*/ 78 h 144"/>
              <a:gd name="T34" fmla="*/ 48 w 160"/>
              <a:gd name="T35" fmla="*/ 75 h 144"/>
              <a:gd name="T36" fmla="*/ 41 w 160"/>
              <a:gd name="T37" fmla="*/ 73 h 144"/>
              <a:gd name="T38" fmla="*/ 32 w 160"/>
              <a:gd name="T39" fmla="*/ 73 h 144"/>
              <a:gd name="T40" fmla="*/ 27 w 160"/>
              <a:gd name="T41" fmla="*/ 74 h 144"/>
              <a:gd name="T42" fmla="*/ 23 w 160"/>
              <a:gd name="T43" fmla="*/ 75 h 144"/>
              <a:gd name="T44" fmla="*/ 18 w 160"/>
              <a:gd name="T45" fmla="*/ 78 h 144"/>
              <a:gd name="T46" fmla="*/ 15 w 160"/>
              <a:gd name="T47" fmla="*/ 80 h 144"/>
              <a:gd name="T48" fmla="*/ 45 w 160"/>
              <a:gd name="T49" fmla="*/ 6 h 144"/>
              <a:gd name="T50" fmla="*/ 65 w 160"/>
              <a:gd name="T51" fmla="*/ 40 h 144"/>
              <a:gd name="T52" fmla="*/ 65 w 160"/>
              <a:gd name="T53" fmla="*/ 89 h 144"/>
              <a:gd name="T54" fmla="*/ 71 w 160"/>
              <a:gd name="T55" fmla="*/ 43 h 144"/>
              <a:gd name="T56" fmla="*/ 71 w 160"/>
              <a:gd name="T57" fmla="*/ 76 h 144"/>
              <a:gd name="T58" fmla="*/ 95 w 160"/>
              <a:gd name="T59" fmla="*/ 40 h 144"/>
              <a:gd name="T60" fmla="*/ 114 w 160"/>
              <a:gd name="T61" fmla="*/ 6 h 144"/>
              <a:gd name="T62" fmla="*/ 147 w 160"/>
              <a:gd name="T63" fmla="*/ 81 h 144"/>
              <a:gd name="T64" fmla="*/ 140 w 160"/>
              <a:gd name="T65" fmla="*/ 77 h 144"/>
              <a:gd name="T66" fmla="*/ 136 w 160"/>
              <a:gd name="T67" fmla="*/ 75 h 144"/>
              <a:gd name="T68" fmla="*/ 131 w 160"/>
              <a:gd name="T69" fmla="*/ 74 h 144"/>
              <a:gd name="T70" fmla="*/ 124 w 160"/>
              <a:gd name="T71" fmla="*/ 73 h 144"/>
              <a:gd name="T72" fmla="*/ 116 w 160"/>
              <a:gd name="T73" fmla="*/ 74 h 144"/>
              <a:gd name="T74" fmla="*/ 111 w 160"/>
              <a:gd name="T75" fmla="*/ 76 h 144"/>
              <a:gd name="T76" fmla="*/ 104 w 160"/>
              <a:gd name="T77" fmla="*/ 79 h 144"/>
              <a:gd name="T78" fmla="*/ 100 w 160"/>
              <a:gd name="T79" fmla="*/ 83 h 144"/>
              <a:gd name="T80" fmla="*/ 95 w 160"/>
              <a:gd name="T81" fmla="*/ 89 h 144"/>
              <a:gd name="T82" fmla="*/ 95 w 160"/>
              <a:gd name="T83" fmla="*/ 110 h 144"/>
              <a:gd name="T84" fmla="*/ 95 w 160"/>
              <a:gd name="T85" fmla="*/ 109 h 144"/>
              <a:gd name="T86" fmla="*/ 129 w 160"/>
              <a:gd name="T87" fmla="*/ 79 h 144"/>
              <a:gd name="T88" fmla="*/ 139 w 160"/>
              <a:gd name="T89" fmla="*/ 83 h 144"/>
              <a:gd name="T90" fmla="*/ 143 w 160"/>
              <a:gd name="T91" fmla="*/ 85 h 144"/>
              <a:gd name="T92" fmla="*/ 150 w 160"/>
              <a:gd name="T93" fmla="*/ 94 h 14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160" h="144">
                <a:moveTo>
                  <a:pt x="156" y="91"/>
                </a:moveTo>
                <a:cubicBezTo>
                  <a:pt x="138" y="20"/>
                  <a:pt x="138" y="20"/>
                  <a:pt x="138" y="20"/>
                </a:cubicBezTo>
                <a:cubicBezTo>
                  <a:pt x="135" y="9"/>
                  <a:pt x="126" y="1"/>
                  <a:pt x="115" y="0"/>
                </a:cubicBezTo>
                <a:cubicBezTo>
                  <a:pt x="108" y="0"/>
                  <a:pt x="102" y="2"/>
                  <a:pt x="97" y="7"/>
                </a:cubicBezTo>
                <a:cubicBezTo>
                  <a:pt x="92" y="12"/>
                  <a:pt x="89" y="18"/>
                  <a:pt x="89" y="25"/>
                </a:cubicBezTo>
                <a:cubicBezTo>
                  <a:pt x="89" y="37"/>
                  <a:pt x="89" y="37"/>
                  <a:pt x="89" y="37"/>
                </a:cubicBezTo>
                <a:cubicBezTo>
                  <a:pt x="71" y="37"/>
                  <a:pt x="71" y="37"/>
                  <a:pt x="71" y="37"/>
                </a:cubicBezTo>
                <a:cubicBezTo>
                  <a:pt x="71" y="25"/>
                  <a:pt x="71" y="25"/>
                  <a:pt x="71" y="25"/>
                </a:cubicBezTo>
                <a:cubicBezTo>
                  <a:pt x="71" y="18"/>
                  <a:pt x="68" y="12"/>
                  <a:pt x="63" y="7"/>
                </a:cubicBezTo>
                <a:cubicBezTo>
                  <a:pt x="58" y="2"/>
                  <a:pt x="52" y="0"/>
                  <a:pt x="45" y="0"/>
                </a:cubicBezTo>
                <a:cubicBezTo>
                  <a:pt x="34" y="1"/>
                  <a:pt x="25" y="9"/>
                  <a:pt x="22" y="20"/>
                </a:cubicBezTo>
                <a:cubicBezTo>
                  <a:pt x="4" y="91"/>
                  <a:pt x="4" y="91"/>
                  <a:pt x="4" y="91"/>
                </a:cubicBezTo>
                <a:cubicBezTo>
                  <a:pt x="2" y="97"/>
                  <a:pt x="0" y="102"/>
                  <a:pt x="0" y="109"/>
                </a:cubicBezTo>
                <a:cubicBezTo>
                  <a:pt x="0" y="128"/>
                  <a:pt x="16" y="144"/>
                  <a:pt x="36" y="144"/>
                </a:cubicBezTo>
                <a:cubicBezTo>
                  <a:pt x="55" y="144"/>
                  <a:pt x="70" y="129"/>
                  <a:pt x="71" y="110"/>
                </a:cubicBezTo>
                <a:cubicBezTo>
                  <a:pt x="71" y="110"/>
                  <a:pt x="71" y="110"/>
                  <a:pt x="71" y="110"/>
                </a:cubicBezTo>
                <a:cubicBezTo>
                  <a:pt x="71" y="109"/>
                  <a:pt x="71" y="109"/>
                  <a:pt x="71" y="109"/>
                </a:cubicBezTo>
                <a:cubicBezTo>
                  <a:pt x="71" y="82"/>
                  <a:pt x="71" y="82"/>
                  <a:pt x="71" y="82"/>
                </a:cubicBezTo>
                <a:cubicBezTo>
                  <a:pt x="89" y="82"/>
                  <a:pt x="89" y="82"/>
                  <a:pt x="89" y="82"/>
                </a:cubicBezTo>
                <a:cubicBezTo>
                  <a:pt x="89" y="109"/>
                  <a:pt x="89" y="109"/>
                  <a:pt x="89" y="109"/>
                </a:cubicBezTo>
                <a:cubicBezTo>
                  <a:pt x="89" y="110"/>
                  <a:pt x="89" y="110"/>
                  <a:pt x="89" y="110"/>
                </a:cubicBezTo>
                <a:cubicBezTo>
                  <a:pt x="89" y="110"/>
                  <a:pt x="89" y="110"/>
                  <a:pt x="89" y="110"/>
                </a:cubicBezTo>
                <a:cubicBezTo>
                  <a:pt x="90" y="129"/>
                  <a:pt x="105" y="144"/>
                  <a:pt x="124" y="144"/>
                </a:cubicBezTo>
                <a:cubicBezTo>
                  <a:pt x="144" y="144"/>
                  <a:pt x="160" y="128"/>
                  <a:pt x="160" y="109"/>
                </a:cubicBezTo>
                <a:cubicBezTo>
                  <a:pt x="160" y="102"/>
                  <a:pt x="158" y="97"/>
                  <a:pt x="156" y="91"/>
                </a:cubicBezTo>
                <a:close/>
                <a:moveTo>
                  <a:pt x="36" y="138"/>
                </a:moveTo>
                <a:cubicBezTo>
                  <a:pt x="19" y="138"/>
                  <a:pt x="6" y="125"/>
                  <a:pt x="6" y="109"/>
                </a:cubicBezTo>
                <a:cubicBezTo>
                  <a:pt x="6" y="103"/>
                  <a:pt x="7" y="98"/>
                  <a:pt x="10" y="94"/>
                </a:cubicBezTo>
                <a:cubicBezTo>
                  <a:pt x="10" y="93"/>
                  <a:pt x="11" y="92"/>
                  <a:pt x="12" y="91"/>
                </a:cubicBezTo>
                <a:cubicBezTo>
                  <a:pt x="12" y="91"/>
                  <a:pt x="12" y="91"/>
                  <a:pt x="12" y="90"/>
                </a:cubicBezTo>
                <a:cubicBezTo>
                  <a:pt x="14" y="89"/>
                  <a:pt x="15" y="87"/>
                  <a:pt x="17" y="85"/>
                </a:cubicBezTo>
                <a:cubicBezTo>
                  <a:pt x="17" y="85"/>
                  <a:pt x="18" y="85"/>
                  <a:pt x="18" y="85"/>
                </a:cubicBezTo>
                <a:cubicBezTo>
                  <a:pt x="19" y="84"/>
                  <a:pt x="19" y="84"/>
                  <a:pt x="20" y="83"/>
                </a:cubicBezTo>
                <a:cubicBezTo>
                  <a:pt x="21" y="83"/>
                  <a:pt x="21" y="83"/>
                  <a:pt x="21" y="83"/>
                </a:cubicBezTo>
                <a:cubicBezTo>
                  <a:pt x="23" y="82"/>
                  <a:pt x="25" y="81"/>
                  <a:pt x="28" y="80"/>
                </a:cubicBezTo>
                <a:cubicBezTo>
                  <a:pt x="28" y="80"/>
                  <a:pt x="28" y="80"/>
                  <a:pt x="28" y="80"/>
                </a:cubicBezTo>
                <a:cubicBezTo>
                  <a:pt x="29" y="80"/>
                  <a:pt x="30" y="79"/>
                  <a:pt x="31" y="79"/>
                </a:cubicBezTo>
                <a:cubicBezTo>
                  <a:pt x="31" y="79"/>
                  <a:pt x="32" y="79"/>
                  <a:pt x="32" y="79"/>
                </a:cubicBezTo>
                <a:cubicBezTo>
                  <a:pt x="33" y="79"/>
                  <a:pt x="34" y="79"/>
                  <a:pt x="36" y="79"/>
                </a:cubicBezTo>
                <a:cubicBezTo>
                  <a:pt x="52" y="79"/>
                  <a:pt x="65" y="92"/>
                  <a:pt x="65" y="109"/>
                </a:cubicBezTo>
                <a:cubicBezTo>
                  <a:pt x="65" y="109"/>
                  <a:pt x="65" y="109"/>
                  <a:pt x="65" y="109"/>
                </a:cubicBezTo>
                <a:cubicBezTo>
                  <a:pt x="65" y="110"/>
                  <a:pt x="65" y="110"/>
                  <a:pt x="65" y="110"/>
                </a:cubicBezTo>
                <a:cubicBezTo>
                  <a:pt x="65" y="110"/>
                  <a:pt x="65" y="110"/>
                  <a:pt x="65" y="110"/>
                </a:cubicBezTo>
                <a:cubicBezTo>
                  <a:pt x="64" y="126"/>
                  <a:pt x="51" y="138"/>
                  <a:pt x="36" y="138"/>
                </a:cubicBezTo>
                <a:close/>
                <a:moveTo>
                  <a:pt x="63" y="86"/>
                </a:moveTo>
                <a:cubicBezTo>
                  <a:pt x="63" y="85"/>
                  <a:pt x="62" y="85"/>
                  <a:pt x="62" y="85"/>
                </a:cubicBezTo>
                <a:cubicBezTo>
                  <a:pt x="61" y="84"/>
                  <a:pt x="61" y="83"/>
                  <a:pt x="60" y="83"/>
                </a:cubicBezTo>
                <a:cubicBezTo>
                  <a:pt x="60" y="83"/>
                  <a:pt x="59" y="82"/>
                  <a:pt x="59" y="82"/>
                </a:cubicBezTo>
                <a:cubicBezTo>
                  <a:pt x="58" y="81"/>
                  <a:pt x="58" y="81"/>
                  <a:pt x="57" y="80"/>
                </a:cubicBezTo>
                <a:cubicBezTo>
                  <a:pt x="57" y="80"/>
                  <a:pt x="56" y="80"/>
                  <a:pt x="56" y="79"/>
                </a:cubicBezTo>
                <a:cubicBezTo>
                  <a:pt x="55" y="79"/>
                  <a:pt x="54" y="78"/>
                  <a:pt x="53" y="78"/>
                </a:cubicBezTo>
                <a:cubicBezTo>
                  <a:pt x="53" y="78"/>
                  <a:pt x="53" y="77"/>
                  <a:pt x="53" y="77"/>
                </a:cubicBezTo>
                <a:cubicBezTo>
                  <a:pt x="51" y="77"/>
                  <a:pt x="50" y="76"/>
                  <a:pt x="49" y="76"/>
                </a:cubicBezTo>
                <a:cubicBezTo>
                  <a:pt x="49" y="76"/>
                  <a:pt x="48" y="75"/>
                  <a:pt x="48" y="75"/>
                </a:cubicBezTo>
                <a:cubicBezTo>
                  <a:pt x="47" y="75"/>
                  <a:pt x="46" y="75"/>
                  <a:pt x="45" y="74"/>
                </a:cubicBezTo>
                <a:cubicBezTo>
                  <a:pt x="45" y="74"/>
                  <a:pt x="44" y="74"/>
                  <a:pt x="44" y="74"/>
                </a:cubicBezTo>
                <a:cubicBezTo>
                  <a:pt x="43" y="74"/>
                  <a:pt x="42" y="74"/>
                  <a:pt x="41" y="73"/>
                </a:cubicBezTo>
                <a:cubicBezTo>
                  <a:pt x="41" y="73"/>
                  <a:pt x="40" y="73"/>
                  <a:pt x="40" y="73"/>
                </a:cubicBezTo>
                <a:cubicBezTo>
                  <a:pt x="38" y="73"/>
                  <a:pt x="37" y="73"/>
                  <a:pt x="36" y="73"/>
                </a:cubicBezTo>
                <a:cubicBezTo>
                  <a:pt x="34" y="73"/>
                  <a:pt x="33" y="73"/>
                  <a:pt x="32" y="73"/>
                </a:cubicBezTo>
                <a:cubicBezTo>
                  <a:pt x="32" y="73"/>
                  <a:pt x="31" y="73"/>
                  <a:pt x="31" y="73"/>
                </a:cubicBezTo>
                <a:cubicBezTo>
                  <a:pt x="30" y="73"/>
                  <a:pt x="30" y="74"/>
                  <a:pt x="29" y="74"/>
                </a:cubicBezTo>
                <a:cubicBezTo>
                  <a:pt x="28" y="74"/>
                  <a:pt x="28" y="74"/>
                  <a:pt x="27" y="74"/>
                </a:cubicBezTo>
                <a:cubicBezTo>
                  <a:pt x="27" y="74"/>
                  <a:pt x="26" y="74"/>
                  <a:pt x="26" y="74"/>
                </a:cubicBezTo>
                <a:cubicBezTo>
                  <a:pt x="25" y="75"/>
                  <a:pt x="25" y="75"/>
                  <a:pt x="24" y="75"/>
                </a:cubicBezTo>
                <a:cubicBezTo>
                  <a:pt x="24" y="75"/>
                  <a:pt x="23" y="75"/>
                  <a:pt x="23" y="75"/>
                </a:cubicBezTo>
                <a:cubicBezTo>
                  <a:pt x="22" y="76"/>
                  <a:pt x="22" y="76"/>
                  <a:pt x="21" y="76"/>
                </a:cubicBezTo>
                <a:cubicBezTo>
                  <a:pt x="21" y="76"/>
                  <a:pt x="20" y="76"/>
                  <a:pt x="20" y="77"/>
                </a:cubicBezTo>
                <a:cubicBezTo>
                  <a:pt x="19" y="77"/>
                  <a:pt x="19" y="77"/>
                  <a:pt x="18" y="78"/>
                </a:cubicBezTo>
                <a:cubicBezTo>
                  <a:pt x="18" y="78"/>
                  <a:pt x="18" y="78"/>
                  <a:pt x="17" y="78"/>
                </a:cubicBezTo>
                <a:cubicBezTo>
                  <a:pt x="17" y="79"/>
                  <a:pt x="16" y="79"/>
                  <a:pt x="15" y="79"/>
                </a:cubicBezTo>
                <a:cubicBezTo>
                  <a:pt x="15" y="79"/>
                  <a:pt x="15" y="79"/>
                  <a:pt x="15" y="80"/>
                </a:cubicBezTo>
                <a:cubicBezTo>
                  <a:pt x="14" y="80"/>
                  <a:pt x="14" y="81"/>
                  <a:pt x="13" y="81"/>
                </a:cubicBezTo>
                <a:cubicBezTo>
                  <a:pt x="28" y="21"/>
                  <a:pt x="28" y="21"/>
                  <a:pt x="28" y="21"/>
                </a:cubicBezTo>
                <a:cubicBezTo>
                  <a:pt x="30" y="13"/>
                  <a:pt x="37" y="6"/>
                  <a:pt x="45" y="6"/>
                </a:cubicBezTo>
                <a:cubicBezTo>
                  <a:pt x="51" y="6"/>
                  <a:pt x="56" y="8"/>
                  <a:pt x="59" y="11"/>
                </a:cubicBezTo>
                <a:cubicBezTo>
                  <a:pt x="63" y="15"/>
                  <a:pt x="65" y="20"/>
                  <a:pt x="65" y="25"/>
                </a:cubicBezTo>
                <a:cubicBezTo>
                  <a:pt x="65" y="40"/>
                  <a:pt x="65" y="40"/>
                  <a:pt x="65" y="40"/>
                </a:cubicBezTo>
                <a:cubicBezTo>
                  <a:pt x="65" y="79"/>
                  <a:pt x="65" y="79"/>
                  <a:pt x="65" y="79"/>
                </a:cubicBezTo>
                <a:cubicBezTo>
                  <a:pt x="65" y="89"/>
                  <a:pt x="65" y="89"/>
                  <a:pt x="65" y="89"/>
                </a:cubicBezTo>
                <a:cubicBezTo>
                  <a:pt x="65" y="89"/>
                  <a:pt x="65" y="89"/>
                  <a:pt x="65" y="89"/>
                </a:cubicBezTo>
                <a:cubicBezTo>
                  <a:pt x="64" y="88"/>
                  <a:pt x="64" y="87"/>
                  <a:pt x="63" y="86"/>
                </a:cubicBezTo>
                <a:close/>
                <a:moveTo>
                  <a:pt x="71" y="76"/>
                </a:moveTo>
                <a:cubicBezTo>
                  <a:pt x="71" y="43"/>
                  <a:pt x="71" y="43"/>
                  <a:pt x="71" y="43"/>
                </a:cubicBezTo>
                <a:cubicBezTo>
                  <a:pt x="89" y="43"/>
                  <a:pt x="89" y="43"/>
                  <a:pt x="89" y="43"/>
                </a:cubicBezTo>
                <a:cubicBezTo>
                  <a:pt x="89" y="76"/>
                  <a:pt x="89" y="76"/>
                  <a:pt x="89" y="76"/>
                </a:cubicBezTo>
                <a:lnTo>
                  <a:pt x="71" y="76"/>
                </a:lnTo>
                <a:close/>
                <a:moveTo>
                  <a:pt x="95" y="89"/>
                </a:moveTo>
                <a:cubicBezTo>
                  <a:pt x="95" y="79"/>
                  <a:pt x="95" y="79"/>
                  <a:pt x="95" y="79"/>
                </a:cubicBezTo>
                <a:cubicBezTo>
                  <a:pt x="95" y="40"/>
                  <a:pt x="95" y="40"/>
                  <a:pt x="95" y="40"/>
                </a:cubicBezTo>
                <a:cubicBezTo>
                  <a:pt x="95" y="25"/>
                  <a:pt x="95" y="25"/>
                  <a:pt x="95" y="25"/>
                </a:cubicBezTo>
                <a:cubicBezTo>
                  <a:pt x="95" y="20"/>
                  <a:pt x="97" y="15"/>
                  <a:pt x="101" y="11"/>
                </a:cubicBezTo>
                <a:cubicBezTo>
                  <a:pt x="104" y="8"/>
                  <a:pt x="109" y="6"/>
                  <a:pt x="114" y="6"/>
                </a:cubicBezTo>
                <a:cubicBezTo>
                  <a:pt x="114" y="6"/>
                  <a:pt x="114" y="6"/>
                  <a:pt x="115" y="6"/>
                </a:cubicBezTo>
                <a:cubicBezTo>
                  <a:pt x="123" y="6"/>
                  <a:pt x="130" y="13"/>
                  <a:pt x="132" y="21"/>
                </a:cubicBezTo>
                <a:cubicBezTo>
                  <a:pt x="147" y="81"/>
                  <a:pt x="147" y="81"/>
                  <a:pt x="147" y="81"/>
                </a:cubicBezTo>
                <a:cubicBezTo>
                  <a:pt x="146" y="80"/>
                  <a:pt x="144" y="79"/>
                  <a:pt x="143" y="78"/>
                </a:cubicBezTo>
                <a:cubicBezTo>
                  <a:pt x="142" y="78"/>
                  <a:pt x="142" y="78"/>
                  <a:pt x="142" y="78"/>
                </a:cubicBezTo>
                <a:cubicBezTo>
                  <a:pt x="141" y="77"/>
                  <a:pt x="141" y="77"/>
                  <a:pt x="140" y="77"/>
                </a:cubicBezTo>
                <a:cubicBezTo>
                  <a:pt x="140" y="76"/>
                  <a:pt x="139" y="76"/>
                  <a:pt x="139" y="76"/>
                </a:cubicBezTo>
                <a:cubicBezTo>
                  <a:pt x="138" y="76"/>
                  <a:pt x="138" y="76"/>
                  <a:pt x="137" y="75"/>
                </a:cubicBezTo>
                <a:cubicBezTo>
                  <a:pt x="137" y="75"/>
                  <a:pt x="136" y="75"/>
                  <a:pt x="136" y="75"/>
                </a:cubicBezTo>
                <a:cubicBezTo>
                  <a:pt x="135" y="75"/>
                  <a:pt x="135" y="75"/>
                  <a:pt x="134" y="74"/>
                </a:cubicBezTo>
                <a:cubicBezTo>
                  <a:pt x="134" y="74"/>
                  <a:pt x="133" y="74"/>
                  <a:pt x="133" y="74"/>
                </a:cubicBezTo>
                <a:cubicBezTo>
                  <a:pt x="132" y="74"/>
                  <a:pt x="132" y="74"/>
                  <a:pt x="131" y="74"/>
                </a:cubicBezTo>
                <a:cubicBezTo>
                  <a:pt x="130" y="74"/>
                  <a:pt x="130" y="73"/>
                  <a:pt x="129" y="73"/>
                </a:cubicBezTo>
                <a:cubicBezTo>
                  <a:pt x="129" y="73"/>
                  <a:pt x="128" y="73"/>
                  <a:pt x="128" y="73"/>
                </a:cubicBezTo>
                <a:cubicBezTo>
                  <a:pt x="127" y="73"/>
                  <a:pt x="126" y="73"/>
                  <a:pt x="124" y="73"/>
                </a:cubicBezTo>
                <a:cubicBezTo>
                  <a:pt x="123" y="73"/>
                  <a:pt x="122" y="73"/>
                  <a:pt x="120" y="73"/>
                </a:cubicBezTo>
                <a:cubicBezTo>
                  <a:pt x="120" y="73"/>
                  <a:pt x="119" y="73"/>
                  <a:pt x="119" y="73"/>
                </a:cubicBezTo>
                <a:cubicBezTo>
                  <a:pt x="118" y="74"/>
                  <a:pt x="117" y="74"/>
                  <a:pt x="116" y="74"/>
                </a:cubicBezTo>
                <a:cubicBezTo>
                  <a:pt x="116" y="74"/>
                  <a:pt x="115" y="74"/>
                  <a:pt x="115" y="74"/>
                </a:cubicBezTo>
                <a:cubicBezTo>
                  <a:pt x="114" y="75"/>
                  <a:pt x="113" y="75"/>
                  <a:pt x="112" y="75"/>
                </a:cubicBezTo>
                <a:cubicBezTo>
                  <a:pt x="112" y="75"/>
                  <a:pt x="111" y="76"/>
                  <a:pt x="111" y="76"/>
                </a:cubicBezTo>
                <a:cubicBezTo>
                  <a:pt x="110" y="76"/>
                  <a:pt x="109" y="77"/>
                  <a:pt x="107" y="77"/>
                </a:cubicBezTo>
                <a:cubicBezTo>
                  <a:pt x="107" y="77"/>
                  <a:pt x="107" y="78"/>
                  <a:pt x="107" y="78"/>
                </a:cubicBezTo>
                <a:cubicBezTo>
                  <a:pt x="106" y="78"/>
                  <a:pt x="105" y="79"/>
                  <a:pt x="104" y="79"/>
                </a:cubicBezTo>
                <a:cubicBezTo>
                  <a:pt x="104" y="80"/>
                  <a:pt x="103" y="80"/>
                  <a:pt x="103" y="80"/>
                </a:cubicBezTo>
                <a:cubicBezTo>
                  <a:pt x="102" y="81"/>
                  <a:pt x="102" y="81"/>
                  <a:pt x="101" y="82"/>
                </a:cubicBezTo>
                <a:cubicBezTo>
                  <a:pt x="101" y="82"/>
                  <a:pt x="100" y="83"/>
                  <a:pt x="100" y="83"/>
                </a:cubicBezTo>
                <a:cubicBezTo>
                  <a:pt x="99" y="83"/>
                  <a:pt x="99" y="84"/>
                  <a:pt x="98" y="85"/>
                </a:cubicBezTo>
                <a:cubicBezTo>
                  <a:pt x="98" y="85"/>
                  <a:pt x="97" y="85"/>
                  <a:pt x="97" y="86"/>
                </a:cubicBezTo>
                <a:cubicBezTo>
                  <a:pt x="96" y="87"/>
                  <a:pt x="96" y="88"/>
                  <a:pt x="95" y="89"/>
                </a:cubicBezTo>
                <a:cubicBezTo>
                  <a:pt x="95" y="89"/>
                  <a:pt x="95" y="89"/>
                  <a:pt x="95" y="89"/>
                </a:cubicBezTo>
                <a:close/>
                <a:moveTo>
                  <a:pt x="124" y="138"/>
                </a:moveTo>
                <a:cubicBezTo>
                  <a:pt x="109" y="138"/>
                  <a:pt x="96" y="126"/>
                  <a:pt x="95" y="110"/>
                </a:cubicBezTo>
                <a:cubicBezTo>
                  <a:pt x="95" y="110"/>
                  <a:pt x="95" y="110"/>
                  <a:pt x="95" y="110"/>
                </a:cubicBezTo>
                <a:cubicBezTo>
                  <a:pt x="95" y="109"/>
                  <a:pt x="95" y="109"/>
                  <a:pt x="95" y="109"/>
                </a:cubicBezTo>
                <a:cubicBezTo>
                  <a:pt x="95" y="109"/>
                  <a:pt x="95" y="109"/>
                  <a:pt x="95" y="109"/>
                </a:cubicBezTo>
                <a:cubicBezTo>
                  <a:pt x="95" y="92"/>
                  <a:pt x="108" y="79"/>
                  <a:pt x="124" y="79"/>
                </a:cubicBezTo>
                <a:cubicBezTo>
                  <a:pt x="126" y="79"/>
                  <a:pt x="127" y="79"/>
                  <a:pt x="128" y="79"/>
                </a:cubicBezTo>
                <a:cubicBezTo>
                  <a:pt x="128" y="79"/>
                  <a:pt x="129" y="79"/>
                  <a:pt x="129" y="79"/>
                </a:cubicBezTo>
                <a:cubicBezTo>
                  <a:pt x="130" y="79"/>
                  <a:pt x="131" y="80"/>
                  <a:pt x="132" y="80"/>
                </a:cubicBezTo>
                <a:cubicBezTo>
                  <a:pt x="132" y="80"/>
                  <a:pt x="132" y="80"/>
                  <a:pt x="132" y="80"/>
                </a:cubicBezTo>
                <a:cubicBezTo>
                  <a:pt x="135" y="81"/>
                  <a:pt x="137" y="82"/>
                  <a:pt x="139" y="83"/>
                </a:cubicBezTo>
                <a:cubicBezTo>
                  <a:pt x="139" y="83"/>
                  <a:pt x="139" y="83"/>
                  <a:pt x="140" y="83"/>
                </a:cubicBezTo>
                <a:cubicBezTo>
                  <a:pt x="141" y="84"/>
                  <a:pt x="141" y="84"/>
                  <a:pt x="142" y="85"/>
                </a:cubicBezTo>
                <a:cubicBezTo>
                  <a:pt x="142" y="85"/>
                  <a:pt x="143" y="85"/>
                  <a:pt x="143" y="85"/>
                </a:cubicBezTo>
                <a:cubicBezTo>
                  <a:pt x="145" y="87"/>
                  <a:pt x="146" y="89"/>
                  <a:pt x="148" y="90"/>
                </a:cubicBezTo>
                <a:cubicBezTo>
                  <a:pt x="148" y="91"/>
                  <a:pt x="148" y="91"/>
                  <a:pt x="148" y="91"/>
                </a:cubicBezTo>
                <a:cubicBezTo>
                  <a:pt x="149" y="92"/>
                  <a:pt x="150" y="93"/>
                  <a:pt x="150" y="94"/>
                </a:cubicBezTo>
                <a:cubicBezTo>
                  <a:pt x="153" y="98"/>
                  <a:pt x="154" y="103"/>
                  <a:pt x="154" y="109"/>
                </a:cubicBezTo>
                <a:cubicBezTo>
                  <a:pt x="154" y="125"/>
                  <a:pt x="141" y="138"/>
                  <a:pt x="124" y="138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en-US">
              <a:latin typeface="Arial" panose="020B0604020202020204" pitchFamily="34" charset="0"/>
              <a:ea typeface="微软雅黑" panose="020B0503020204020204" pitchFamily="34" charset="-122"/>
              <a:cs typeface="思源黑体 CN Regular" panose="020B0500000000000000" charset="-122"/>
              <a:sym typeface="Arial" panose="020B0604020202020204" pitchFamily="34" charset="0"/>
            </a:endParaRPr>
          </a:p>
        </p:txBody>
      </p:sp>
      <p:sp>
        <p:nvSpPr>
          <p:cNvPr id="24" name="Freeform 1137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SpPr>
            <a:spLocks noEditPoints="1"/>
          </p:cNvSpPr>
          <p:nvPr/>
        </p:nvSpPr>
        <p:spPr bwMode="auto">
          <a:xfrm>
            <a:off x="5776491" y="3282080"/>
            <a:ext cx="372995" cy="338296"/>
          </a:xfrm>
          <a:custGeom>
            <a:avLst/>
            <a:gdLst>
              <a:gd name="T0" fmla="*/ 160 w 160"/>
              <a:gd name="T1" fmla="*/ 45 h 144"/>
              <a:gd name="T2" fmla="*/ 160 w 160"/>
              <a:gd name="T3" fmla="*/ 45 h 144"/>
              <a:gd name="T4" fmla="*/ 160 w 160"/>
              <a:gd name="T5" fmla="*/ 44 h 144"/>
              <a:gd name="T6" fmla="*/ 160 w 160"/>
              <a:gd name="T7" fmla="*/ 44 h 144"/>
              <a:gd name="T8" fmla="*/ 133 w 160"/>
              <a:gd name="T9" fmla="*/ 1 h 144"/>
              <a:gd name="T10" fmla="*/ 132 w 160"/>
              <a:gd name="T11" fmla="*/ 0 h 144"/>
              <a:gd name="T12" fmla="*/ 132 w 160"/>
              <a:gd name="T13" fmla="*/ 0 h 144"/>
              <a:gd name="T14" fmla="*/ 29 w 160"/>
              <a:gd name="T15" fmla="*/ 0 h 144"/>
              <a:gd name="T16" fmla="*/ 28 w 160"/>
              <a:gd name="T17" fmla="*/ 0 h 144"/>
              <a:gd name="T18" fmla="*/ 28 w 160"/>
              <a:gd name="T19" fmla="*/ 1 h 144"/>
              <a:gd name="T20" fmla="*/ 27 w 160"/>
              <a:gd name="T21" fmla="*/ 1 h 144"/>
              <a:gd name="T22" fmla="*/ 0 w 160"/>
              <a:gd name="T23" fmla="*/ 44 h 144"/>
              <a:gd name="T24" fmla="*/ 0 w 160"/>
              <a:gd name="T25" fmla="*/ 44 h 144"/>
              <a:gd name="T26" fmla="*/ 0 w 160"/>
              <a:gd name="T27" fmla="*/ 45 h 144"/>
              <a:gd name="T28" fmla="*/ 0 w 160"/>
              <a:gd name="T29" fmla="*/ 46 h 144"/>
              <a:gd name="T30" fmla="*/ 0 w 160"/>
              <a:gd name="T31" fmla="*/ 46 h 144"/>
              <a:gd name="T32" fmla="*/ 0 w 160"/>
              <a:gd name="T33" fmla="*/ 47 h 144"/>
              <a:gd name="T34" fmla="*/ 78 w 160"/>
              <a:gd name="T35" fmla="*/ 143 h 144"/>
              <a:gd name="T36" fmla="*/ 78 w 160"/>
              <a:gd name="T37" fmla="*/ 143 h 144"/>
              <a:gd name="T38" fmla="*/ 79 w 160"/>
              <a:gd name="T39" fmla="*/ 144 h 144"/>
              <a:gd name="T40" fmla="*/ 80 w 160"/>
              <a:gd name="T41" fmla="*/ 144 h 144"/>
              <a:gd name="T42" fmla="*/ 81 w 160"/>
              <a:gd name="T43" fmla="*/ 144 h 144"/>
              <a:gd name="T44" fmla="*/ 82 w 160"/>
              <a:gd name="T45" fmla="*/ 143 h 144"/>
              <a:gd name="T46" fmla="*/ 159 w 160"/>
              <a:gd name="T47" fmla="*/ 47 h 144"/>
              <a:gd name="T48" fmla="*/ 160 w 160"/>
              <a:gd name="T49" fmla="*/ 47 h 144"/>
              <a:gd name="T50" fmla="*/ 160 w 160"/>
              <a:gd name="T51" fmla="*/ 46 h 144"/>
              <a:gd name="T52" fmla="*/ 86 w 160"/>
              <a:gd name="T53" fmla="*/ 5 h 144"/>
              <a:gd name="T54" fmla="*/ 114 w 160"/>
              <a:gd name="T55" fmla="*/ 40 h 144"/>
              <a:gd name="T56" fmla="*/ 109 w 160"/>
              <a:gd name="T57" fmla="*/ 43 h 144"/>
              <a:gd name="T58" fmla="*/ 80 w 160"/>
              <a:gd name="T59" fmla="*/ 7 h 144"/>
              <a:gd name="T60" fmla="*/ 46 w 160"/>
              <a:gd name="T61" fmla="*/ 40 h 144"/>
              <a:gd name="T62" fmla="*/ 74 w 160"/>
              <a:gd name="T63" fmla="*/ 5 h 144"/>
              <a:gd name="T64" fmla="*/ 111 w 160"/>
              <a:gd name="T65" fmla="*/ 48 h 144"/>
              <a:gd name="T66" fmla="*/ 49 w 160"/>
              <a:gd name="T67" fmla="*/ 48 h 144"/>
              <a:gd name="T68" fmla="*/ 131 w 160"/>
              <a:gd name="T69" fmla="*/ 9 h 144"/>
              <a:gd name="T70" fmla="*/ 119 w 160"/>
              <a:gd name="T71" fmla="*/ 43 h 144"/>
              <a:gd name="T72" fmla="*/ 29 w 160"/>
              <a:gd name="T73" fmla="*/ 9 h 144"/>
              <a:gd name="T74" fmla="*/ 7 w 160"/>
              <a:gd name="T75" fmla="*/ 43 h 144"/>
              <a:gd name="T76" fmla="*/ 43 w 160"/>
              <a:gd name="T77" fmla="*/ 48 h 144"/>
              <a:gd name="T78" fmla="*/ 8 w 160"/>
              <a:gd name="T79" fmla="*/ 48 h 144"/>
              <a:gd name="T80" fmla="*/ 86 w 160"/>
              <a:gd name="T81" fmla="*/ 129 h 144"/>
              <a:gd name="T82" fmla="*/ 152 w 160"/>
              <a:gd name="T83" fmla="*/ 48 h 14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</a:cxnLst>
            <a:rect l="0" t="0" r="r" b="b"/>
            <a:pathLst>
              <a:path w="160" h="144">
                <a:moveTo>
                  <a:pt x="160" y="46"/>
                </a:moveTo>
                <a:cubicBezTo>
                  <a:pt x="160" y="46"/>
                  <a:pt x="160" y="46"/>
                  <a:pt x="160" y="45"/>
                </a:cubicBezTo>
                <a:cubicBezTo>
                  <a:pt x="160" y="45"/>
                  <a:pt x="160" y="45"/>
                  <a:pt x="160" y="45"/>
                </a:cubicBezTo>
                <a:cubicBezTo>
                  <a:pt x="160" y="45"/>
                  <a:pt x="160" y="45"/>
                  <a:pt x="160" y="45"/>
                </a:cubicBezTo>
                <a:cubicBezTo>
                  <a:pt x="160" y="45"/>
                  <a:pt x="160" y="45"/>
                  <a:pt x="160" y="44"/>
                </a:cubicBezTo>
                <a:cubicBezTo>
                  <a:pt x="160" y="44"/>
                  <a:pt x="160" y="44"/>
                  <a:pt x="160" y="44"/>
                </a:cubicBezTo>
                <a:cubicBezTo>
                  <a:pt x="160" y="44"/>
                  <a:pt x="160" y="44"/>
                  <a:pt x="160" y="44"/>
                </a:cubicBezTo>
                <a:cubicBezTo>
                  <a:pt x="160" y="44"/>
                  <a:pt x="160" y="44"/>
                  <a:pt x="160" y="44"/>
                </a:cubicBezTo>
                <a:cubicBezTo>
                  <a:pt x="133" y="1"/>
                  <a:pt x="133" y="1"/>
                  <a:pt x="133" y="1"/>
                </a:cubicBezTo>
                <a:cubicBezTo>
                  <a:pt x="133" y="1"/>
                  <a:pt x="133" y="1"/>
                  <a:pt x="133" y="1"/>
                </a:cubicBezTo>
                <a:cubicBezTo>
                  <a:pt x="133" y="1"/>
                  <a:pt x="133" y="1"/>
                  <a:pt x="133" y="1"/>
                </a:cubicBezTo>
                <a:cubicBezTo>
                  <a:pt x="132" y="1"/>
                  <a:pt x="132" y="0"/>
                  <a:pt x="132" y="0"/>
                </a:cubicBezTo>
                <a:cubicBezTo>
                  <a:pt x="132" y="0"/>
                  <a:pt x="132" y="0"/>
                  <a:pt x="132" y="0"/>
                </a:cubicBezTo>
                <a:cubicBezTo>
                  <a:pt x="132" y="0"/>
                  <a:pt x="132" y="0"/>
                  <a:pt x="132" y="0"/>
                </a:cubicBezTo>
                <a:cubicBezTo>
                  <a:pt x="131" y="0"/>
                  <a:pt x="131" y="0"/>
                  <a:pt x="131" y="0"/>
                </a:cubicBezTo>
                <a:cubicBezTo>
                  <a:pt x="29" y="0"/>
                  <a:pt x="29" y="0"/>
                  <a:pt x="29" y="0"/>
                </a:cubicBezTo>
                <a:cubicBezTo>
                  <a:pt x="29" y="0"/>
                  <a:pt x="29" y="0"/>
                  <a:pt x="29" y="0"/>
                </a:cubicBezTo>
                <a:cubicBezTo>
                  <a:pt x="28" y="0"/>
                  <a:pt x="28" y="0"/>
                  <a:pt x="28" y="0"/>
                </a:cubicBezTo>
                <a:cubicBezTo>
                  <a:pt x="28" y="0"/>
                  <a:pt x="28" y="0"/>
                  <a:pt x="28" y="0"/>
                </a:cubicBezTo>
                <a:cubicBezTo>
                  <a:pt x="28" y="0"/>
                  <a:pt x="28" y="0"/>
                  <a:pt x="28" y="1"/>
                </a:cubicBezTo>
                <a:cubicBezTo>
                  <a:pt x="28" y="1"/>
                  <a:pt x="28" y="1"/>
                  <a:pt x="28" y="1"/>
                </a:cubicBezTo>
                <a:cubicBezTo>
                  <a:pt x="27" y="1"/>
                  <a:pt x="27" y="1"/>
                  <a:pt x="27" y="1"/>
                </a:cubicBezTo>
                <a:cubicBezTo>
                  <a:pt x="0" y="44"/>
                  <a:pt x="0" y="44"/>
                  <a:pt x="0" y="44"/>
                </a:cubicBezTo>
                <a:cubicBezTo>
                  <a:pt x="0" y="44"/>
                  <a:pt x="0" y="44"/>
                  <a:pt x="0" y="44"/>
                </a:cubicBezTo>
                <a:cubicBezTo>
                  <a:pt x="0" y="44"/>
                  <a:pt x="0" y="44"/>
                  <a:pt x="0" y="44"/>
                </a:cubicBezTo>
                <a:cubicBezTo>
                  <a:pt x="0" y="44"/>
                  <a:pt x="0" y="44"/>
                  <a:pt x="0" y="44"/>
                </a:cubicBezTo>
                <a:cubicBezTo>
                  <a:pt x="0" y="45"/>
                  <a:pt x="0" y="45"/>
                  <a:pt x="0" y="45"/>
                </a:cubicBezTo>
                <a:cubicBezTo>
                  <a:pt x="0" y="45"/>
                  <a:pt x="0" y="45"/>
                  <a:pt x="0" y="45"/>
                </a:cubicBezTo>
                <a:cubicBezTo>
                  <a:pt x="0" y="45"/>
                  <a:pt x="0" y="45"/>
                  <a:pt x="0" y="45"/>
                </a:cubicBezTo>
                <a:cubicBezTo>
                  <a:pt x="0" y="46"/>
                  <a:pt x="0" y="46"/>
                  <a:pt x="0" y="46"/>
                </a:cubicBezTo>
                <a:cubicBezTo>
                  <a:pt x="0" y="46"/>
                  <a:pt x="0" y="46"/>
                  <a:pt x="0" y="46"/>
                </a:cubicBezTo>
                <a:cubicBezTo>
                  <a:pt x="0" y="46"/>
                  <a:pt x="0" y="46"/>
                  <a:pt x="0" y="46"/>
                </a:cubicBezTo>
                <a:cubicBezTo>
                  <a:pt x="0" y="47"/>
                  <a:pt x="0" y="47"/>
                  <a:pt x="0" y="47"/>
                </a:cubicBezTo>
                <a:cubicBezTo>
                  <a:pt x="0" y="47"/>
                  <a:pt x="0" y="47"/>
                  <a:pt x="0" y="47"/>
                </a:cubicBezTo>
                <a:cubicBezTo>
                  <a:pt x="1" y="47"/>
                  <a:pt x="1" y="47"/>
                  <a:pt x="1" y="47"/>
                </a:cubicBezTo>
                <a:cubicBezTo>
                  <a:pt x="78" y="143"/>
                  <a:pt x="78" y="143"/>
                  <a:pt x="78" y="143"/>
                </a:cubicBezTo>
                <a:cubicBezTo>
                  <a:pt x="78" y="143"/>
                  <a:pt x="78" y="143"/>
                  <a:pt x="78" y="143"/>
                </a:cubicBezTo>
                <a:cubicBezTo>
                  <a:pt x="78" y="143"/>
                  <a:pt x="78" y="143"/>
                  <a:pt x="78" y="143"/>
                </a:cubicBezTo>
                <a:cubicBezTo>
                  <a:pt x="78" y="143"/>
                  <a:pt x="78" y="143"/>
                  <a:pt x="78" y="143"/>
                </a:cubicBezTo>
                <a:cubicBezTo>
                  <a:pt x="78" y="143"/>
                  <a:pt x="78" y="144"/>
                  <a:pt x="79" y="144"/>
                </a:cubicBezTo>
                <a:cubicBezTo>
                  <a:pt x="79" y="144"/>
                  <a:pt x="79" y="144"/>
                  <a:pt x="79" y="144"/>
                </a:cubicBezTo>
                <a:cubicBezTo>
                  <a:pt x="79" y="144"/>
                  <a:pt x="80" y="144"/>
                  <a:pt x="80" y="144"/>
                </a:cubicBezTo>
                <a:cubicBezTo>
                  <a:pt x="80" y="144"/>
                  <a:pt x="81" y="144"/>
                  <a:pt x="81" y="144"/>
                </a:cubicBezTo>
                <a:cubicBezTo>
                  <a:pt x="81" y="144"/>
                  <a:pt x="81" y="144"/>
                  <a:pt x="81" y="144"/>
                </a:cubicBezTo>
                <a:cubicBezTo>
                  <a:pt x="81" y="144"/>
                  <a:pt x="81" y="144"/>
                  <a:pt x="81" y="144"/>
                </a:cubicBezTo>
                <a:cubicBezTo>
                  <a:pt x="82" y="143"/>
                  <a:pt x="82" y="143"/>
                  <a:pt x="82" y="143"/>
                </a:cubicBezTo>
                <a:cubicBezTo>
                  <a:pt x="82" y="143"/>
                  <a:pt x="82" y="143"/>
                  <a:pt x="82" y="143"/>
                </a:cubicBezTo>
                <a:cubicBezTo>
                  <a:pt x="159" y="47"/>
                  <a:pt x="159" y="47"/>
                  <a:pt x="159" y="47"/>
                </a:cubicBezTo>
                <a:cubicBezTo>
                  <a:pt x="159" y="47"/>
                  <a:pt x="159" y="47"/>
                  <a:pt x="160" y="47"/>
                </a:cubicBezTo>
                <a:cubicBezTo>
                  <a:pt x="160" y="47"/>
                  <a:pt x="160" y="47"/>
                  <a:pt x="160" y="47"/>
                </a:cubicBezTo>
                <a:cubicBezTo>
                  <a:pt x="160" y="47"/>
                  <a:pt x="160" y="47"/>
                  <a:pt x="160" y="46"/>
                </a:cubicBezTo>
                <a:cubicBezTo>
                  <a:pt x="160" y="46"/>
                  <a:pt x="160" y="46"/>
                  <a:pt x="160" y="46"/>
                </a:cubicBezTo>
                <a:cubicBezTo>
                  <a:pt x="160" y="46"/>
                  <a:pt x="160" y="46"/>
                  <a:pt x="160" y="46"/>
                </a:cubicBezTo>
                <a:close/>
                <a:moveTo>
                  <a:pt x="86" y="5"/>
                </a:moveTo>
                <a:cubicBezTo>
                  <a:pt x="127" y="5"/>
                  <a:pt x="127" y="5"/>
                  <a:pt x="127" y="5"/>
                </a:cubicBezTo>
                <a:cubicBezTo>
                  <a:pt x="114" y="40"/>
                  <a:pt x="114" y="40"/>
                  <a:pt x="114" y="40"/>
                </a:cubicBezTo>
                <a:lnTo>
                  <a:pt x="86" y="5"/>
                </a:lnTo>
                <a:close/>
                <a:moveTo>
                  <a:pt x="109" y="43"/>
                </a:moveTo>
                <a:cubicBezTo>
                  <a:pt x="51" y="43"/>
                  <a:pt x="51" y="43"/>
                  <a:pt x="51" y="43"/>
                </a:cubicBezTo>
                <a:cubicBezTo>
                  <a:pt x="80" y="7"/>
                  <a:pt x="80" y="7"/>
                  <a:pt x="80" y="7"/>
                </a:cubicBezTo>
                <a:lnTo>
                  <a:pt x="109" y="43"/>
                </a:lnTo>
                <a:close/>
                <a:moveTo>
                  <a:pt x="46" y="40"/>
                </a:moveTo>
                <a:cubicBezTo>
                  <a:pt x="33" y="5"/>
                  <a:pt x="33" y="5"/>
                  <a:pt x="33" y="5"/>
                </a:cubicBezTo>
                <a:cubicBezTo>
                  <a:pt x="74" y="5"/>
                  <a:pt x="74" y="5"/>
                  <a:pt x="74" y="5"/>
                </a:cubicBezTo>
                <a:lnTo>
                  <a:pt x="46" y="40"/>
                </a:lnTo>
                <a:close/>
                <a:moveTo>
                  <a:pt x="111" y="48"/>
                </a:moveTo>
                <a:cubicBezTo>
                  <a:pt x="80" y="132"/>
                  <a:pt x="80" y="132"/>
                  <a:pt x="80" y="132"/>
                </a:cubicBezTo>
                <a:cubicBezTo>
                  <a:pt x="49" y="48"/>
                  <a:pt x="49" y="48"/>
                  <a:pt x="49" y="48"/>
                </a:cubicBezTo>
                <a:lnTo>
                  <a:pt x="111" y="48"/>
                </a:lnTo>
                <a:close/>
                <a:moveTo>
                  <a:pt x="131" y="9"/>
                </a:moveTo>
                <a:cubicBezTo>
                  <a:pt x="153" y="43"/>
                  <a:pt x="153" y="43"/>
                  <a:pt x="153" y="43"/>
                </a:cubicBezTo>
                <a:cubicBezTo>
                  <a:pt x="119" y="43"/>
                  <a:pt x="119" y="43"/>
                  <a:pt x="119" y="43"/>
                </a:cubicBezTo>
                <a:lnTo>
                  <a:pt x="131" y="9"/>
                </a:lnTo>
                <a:close/>
                <a:moveTo>
                  <a:pt x="29" y="9"/>
                </a:moveTo>
                <a:cubicBezTo>
                  <a:pt x="41" y="43"/>
                  <a:pt x="41" y="43"/>
                  <a:pt x="41" y="43"/>
                </a:cubicBezTo>
                <a:cubicBezTo>
                  <a:pt x="7" y="43"/>
                  <a:pt x="7" y="43"/>
                  <a:pt x="7" y="43"/>
                </a:cubicBezTo>
                <a:lnTo>
                  <a:pt x="29" y="9"/>
                </a:lnTo>
                <a:close/>
                <a:moveTo>
                  <a:pt x="43" y="48"/>
                </a:moveTo>
                <a:cubicBezTo>
                  <a:pt x="72" y="127"/>
                  <a:pt x="72" y="127"/>
                  <a:pt x="72" y="127"/>
                </a:cubicBezTo>
                <a:cubicBezTo>
                  <a:pt x="8" y="48"/>
                  <a:pt x="8" y="48"/>
                  <a:pt x="8" y="48"/>
                </a:cubicBezTo>
                <a:lnTo>
                  <a:pt x="43" y="48"/>
                </a:lnTo>
                <a:close/>
                <a:moveTo>
                  <a:pt x="86" y="129"/>
                </a:moveTo>
                <a:cubicBezTo>
                  <a:pt x="117" y="48"/>
                  <a:pt x="117" y="48"/>
                  <a:pt x="117" y="48"/>
                </a:cubicBezTo>
                <a:cubicBezTo>
                  <a:pt x="152" y="48"/>
                  <a:pt x="152" y="48"/>
                  <a:pt x="152" y="48"/>
                </a:cubicBezTo>
                <a:lnTo>
                  <a:pt x="86" y="129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en-US">
              <a:latin typeface="Arial" panose="020B0604020202020204" pitchFamily="34" charset="0"/>
              <a:ea typeface="微软雅黑" panose="020B0503020204020204" pitchFamily="34" charset="-122"/>
              <a:cs typeface="思源黑体 CN Regular" panose="020B0500000000000000" charset="-122"/>
              <a:sym typeface="Arial" panose="020B0604020202020204" pitchFamily="34" charset="0"/>
            </a:endParaRPr>
          </a:p>
        </p:txBody>
      </p:sp>
      <p:sp>
        <p:nvSpPr>
          <p:cNvPr id="25" name="Freeform 1147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SpPr>
            <a:spLocks noEditPoints="1"/>
          </p:cNvSpPr>
          <p:nvPr/>
        </p:nvSpPr>
        <p:spPr bwMode="auto">
          <a:xfrm>
            <a:off x="3907209" y="3237623"/>
            <a:ext cx="380584" cy="382753"/>
          </a:xfrm>
          <a:custGeom>
            <a:avLst/>
            <a:gdLst>
              <a:gd name="T0" fmla="*/ 116 w 163"/>
              <a:gd name="T1" fmla="*/ 11 h 163"/>
              <a:gd name="T2" fmla="*/ 11 w 163"/>
              <a:gd name="T3" fmla="*/ 115 h 163"/>
              <a:gd name="T4" fmla="*/ 10 w 163"/>
              <a:gd name="T5" fmla="*/ 116 h 163"/>
              <a:gd name="T6" fmla="*/ 10 w 163"/>
              <a:gd name="T7" fmla="*/ 116 h 163"/>
              <a:gd name="T8" fmla="*/ 0 w 163"/>
              <a:gd name="T9" fmla="*/ 160 h 163"/>
              <a:gd name="T10" fmla="*/ 0 w 163"/>
              <a:gd name="T11" fmla="*/ 161 h 163"/>
              <a:gd name="T12" fmla="*/ 1 w 163"/>
              <a:gd name="T13" fmla="*/ 162 h 163"/>
              <a:gd name="T14" fmla="*/ 3 w 163"/>
              <a:gd name="T15" fmla="*/ 163 h 163"/>
              <a:gd name="T16" fmla="*/ 47 w 163"/>
              <a:gd name="T17" fmla="*/ 153 h 163"/>
              <a:gd name="T18" fmla="*/ 47 w 163"/>
              <a:gd name="T19" fmla="*/ 152 h 163"/>
              <a:gd name="T20" fmla="*/ 48 w 163"/>
              <a:gd name="T21" fmla="*/ 152 h 163"/>
              <a:gd name="T22" fmla="*/ 152 w 163"/>
              <a:gd name="T23" fmla="*/ 47 h 163"/>
              <a:gd name="T24" fmla="*/ 148 w 163"/>
              <a:gd name="T25" fmla="*/ 15 h 163"/>
              <a:gd name="T26" fmla="*/ 122 w 163"/>
              <a:gd name="T27" fmla="*/ 13 h 163"/>
              <a:gd name="T28" fmla="*/ 134 w 163"/>
              <a:gd name="T29" fmla="*/ 58 h 163"/>
              <a:gd name="T30" fmla="*/ 109 w 163"/>
              <a:gd name="T31" fmla="*/ 25 h 163"/>
              <a:gd name="T32" fmla="*/ 134 w 163"/>
              <a:gd name="T33" fmla="*/ 58 h 163"/>
              <a:gd name="T34" fmla="*/ 10 w 163"/>
              <a:gd name="T35" fmla="*/ 149 h 163"/>
              <a:gd name="T36" fmla="*/ 15 w 163"/>
              <a:gd name="T37" fmla="*/ 120 h 163"/>
              <a:gd name="T38" fmla="*/ 27 w 163"/>
              <a:gd name="T39" fmla="*/ 133 h 163"/>
              <a:gd name="T40" fmla="*/ 27 w 163"/>
              <a:gd name="T41" fmla="*/ 134 h 163"/>
              <a:gd name="T42" fmla="*/ 27 w 163"/>
              <a:gd name="T43" fmla="*/ 135 h 163"/>
              <a:gd name="T44" fmla="*/ 27 w 163"/>
              <a:gd name="T45" fmla="*/ 135 h 163"/>
              <a:gd name="T46" fmla="*/ 28 w 163"/>
              <a:gd name="T47" fmla="*/ 136 h 163"/>
              <a:gd name="T48" fmla="*/ 29 w 163"/>
              <a:gd name="T49" fmla="*/ 136 h 163"/>
              <a:gd name="T50" fmla="*/ 30 w 163"/>
              <a:gd name="T51" fmla="*/ 136 h 163"/>
              <a:gd name="T52" fmla="*/ 30 w 163"/>
              <a:gd name="T53" fmla="*/ 136 h 163"/>
              <a:gd name="T54" fmla="*/ 30 w 163"/>
              <a:gd name="T55" fmla="*/ 136 h 163"/>
              <a:gd name="T56" fmla="*/ 43 w 163"/>
              <a:gd name="T57" fmla="*/ 148 h 163"/>
              <a:gd name="T58" fmla="*/ 14 w 163"/>
              <a:gd name="T59" fmla="*/ 153 h 163"/>
              <a:gd name="T60" fmla="*/ 51 w 163"/>
              <a:gd name="T61" fmla="*/ 133 h 163"/>
              <a:gd name="T62" fmla="*/ 116 w 163"/>
              <a:gd name="T63" fmla="*/ 64 h 163"/>
              <a:gd name="T64" fmla="*/ 47 w 163"/>
              <a:gd name="T65" fmla="*/ 129 h 163"/>
              <a:gd name="T66" fmla="*/ 34 w 163"/>
              <a:gd name="T67" fmla="*/ 116 h 163"/>
              <a:gd name="T68" fmla="*/ 99 w 163"/>
              <a:gd name="T69" fmla="*/ 47 h 163"/>
              <a:gd name="T70" fmla="*/ 30 w 163"/>
              <a:gd name="T71" fmla="*/ 112 h 163"/>
              <a:gd name="T72" fmla="*/ 101 w 163"/>
              <a:gd name="T73" fmla="*/ 33 h 163"/>
              <a:gd name="T74" fmla="*/ 50 w 163"/>
              <a:gd name="T75" fmla="*/ 142 h 163"/>
              <a:gd name="T76" fmla="*/ 142 w 163"/>
              <a:gd name="T77" fmla="*/ 50 h 163"/>
              <a:gd name="T78" fmla="*/ 118 w 163"/>
              <a:gd name="T79" fmla="*/ 17 h 163"/>
              <a:gd name="T80" fmla="*/ 142 w 163"/>
              <a:gd name="T81" fmla="*/ 50 h 16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163" h="163">
                <a:moveTo>
                  <a:pt x="152" y="11"/>
                </a:moveTo>
                <a:cubicBezTo>
                  <a:pt x="142" y="0"/>
                  <a:pt x="126" y="0"/>
                  <a:pt x="116" y="11"/>
                </a:cubicBezTo>
                <a:cubicBezTo>
                  <a:pt x="11" y="115"/>
                  <a:pt x="11" y="115"/>
                  <a:pt x="11" y="115"/>
                </a:cubicBezTo>
                <a:cubicBezTo>
                  <a:pt x="11" y="115"/>
                  <a:pt x="11" y="115"/>
                  <a:pt x="11" y="115"/>
                </a:cubicBezTo>
                <a:cubicBezTo>
                  <a:pt x="11" y="115"/>
                  <a:pt x="11" y="115"/>
                  <a:pt x="11" y="115"/>
                </a:cubicBezTo>
                <a:cubicBezTo>
                  <a:pt x="11" y="116"/>
                  <a:pt x="11" y="116"/>
                  <a:pt x="10" y="116"/>
                </a:cubicBezTo>
                <a:cubicBezTo>
                  <a:pt x="10" y="116"/>
                  <a:pt x="10" y="116"/>
                  <a:pt x="10" y="116"/>
                </a:cubicBezTo>
                <a:cubicBezTo>
                  <a:pt x="10" y="116"/>
                  <a:pt x="10" y="116"/>
                  <a:pt x="10" y="116"/>
                </a:cubicBezTo>
                <a:cubicBezTo>
                  <a:pt x="0" y="159"/>
                  <a:pt x="0" y="159"/>
                  <a:pt x="0" y="159"/>
                </a:cubicBezTo>
                <a:cubicBezTo>
                  <a:pt x="0" y="160"/>
                  <a:pt x="0" y="160"/>
                  <a:pt x="0" y="160"/>
                </a:cubicBezTo>
                <a:cubicBezTo>
                  <a:pt x="0" y="160"/>
                  <a:pt x="0" y="160"/>
                  <a:pt x="0" y="160"/>
                </a:cubicBezTo>
                <a:cubicBezTo>
                  <a:pt x="0" y="160"/>
                  <a:pt x="0" y="161"/>
                  <a:pt x="0" y="161"/>
                </a:cubicBezTo>
                <a:cubicBezTo>
                  <a:pt x="0" y="161"/>
                  <a:pt x="0" y="161"/>
                  <a:pt x="0" y="161"/>
                </a:cubicBezTo>
                <a:cubicBezTo>
                  <a:pt x="0" y="162"/>
                  <a:pt x="1" y="162"/>
                  <a:pt x="1" y="162"/>
                </a:cubicBezTo>
                <a:cubicBezTo>
                  <a:pt x="1" y="162"/>
                  <a:pt x="1" y="163"/>
                  <a:pt x="2" y="163"/>
                </a:cubicBezTo>
                <a:cubicBezTo>
                  <a:pt x="2" y="163"/>
                  <a:pt x="3" y="163"/>
                  <a:pt x="3" y="163"/>
                </a:cubicBezTo>
                <a:cubicBezTo>
                  <a:pt x="3" y="163"/>
                  <a:pt x="3" y="163"/>
                  <a:pt x="4" y="163"/>
                </a:cubicBezTo>
                <a:cubicBezTo>
                  <a:pt x="47" y="153"/>
                  <a:pt x="47" y="153"/>
                  <a:pt x="47" y="153"/>
                </a:cubicBezTo>
                <a:cubicBezTo>
                  <a:pt x="47" y="153"/>
                  <a:pt x="47" y="153"/>
                  <a:pt x="47" y="153"/>
                </a:cubicBezTo>
                <a:cubicBezTo>
                  <a:pt x="47" y="153"/>
                  <a:pt x="47" y="153"/>
                  <a:pt x="47" y="152"/>
                </a:cubicBezTo>
                <a:cubicBezTo>
                  <a:pt x="47" y="152"/>
                  <a:pt x="47" y="152"/>
                  <a:pt x="48" y="152"/>
                </a:cubicBezTo>
                <a:cubicBezTo>
                  <a:pt x="48" y="152"/>
                  <a:pt x="48" y="152"/>
                  <a:pt x="48" y="152"/>
                </a:cubicBezTo>
                <a:cubicBezTo>
                  <a:pt x="48" y="152"/>
                  <a:pt x="48" y="152"/>
                  <a:pt x="48" y="152"/>
                </a:cubicBezTo>
                <a:cubicBezTo>
                  <a:pt x="152" y="47"/>
                  <a:pt x="152" y="47"/>
                  <a:pt x="152" y="47"/>
                </a:cubicBezTo>
                <a:cubicBezTo>
                  <a:pt x="163" y="37"/>
                  <a:pt x="163" y="21"/>
                  <a:pt x="152" y="11"/>
                </a:cubicBezTo>
                <a:close/>
                <a:moveTo>
                  <a:pt x="148" y="15"/>
                </a:moveTo>
                <a:cubicBezTo>
                  <a:pt x="155" y="22"/>
                  <a:pt x="156" y="33"/>
                  <a:pt x="150" y="41"/>
                </a:cubicBezTo>
                <a:cubicBezTo>
                  <a:pt x="122" y="13"/>
                  <a:pt x="122" y="13"/>
                  <a:pt x="122" y="13"/>
                </a:cubicBezTo>
                <a:cubicBezTo>
                  <a:pt x="130" y="7"/>
                  <a:pt x="141" y="8"/>
                  <a:pt x="148" y="15"/>
                </a:cubicBezTo>
                <a:close/>
                <a:moveTo>
                  <a:pt x="134" y="58"/>
                </a:moveTo>
                <a:cubicBezTo>
                  <a:pt x="105" y="29"/>
                  <a:pt x="105" y="29"/>
                  <a:pt x="105" y="29"/>
                </a:cubicBezTo>
                <a:cubicBezTo>
                  <a:pt x="109" y="25"/>
                  <a:pt x="109" y="25"/>
                  <a:pt x="109" y="25"/>
                </a:cubicBezTo>
                <a:cubicBezTo>
                  <a:pt x="138" y="54"/>
                  <a:pt x="138" y="54"/>
                  <a:pt x="138" y="54"/>
                </a:cubicBezTo>
                <a:lnTo>
                  <a:pt x="134" y="58"/>
                </a:lnTo>
                <a:close/>
                <a:moveTo>
                  <a:pt x="14" y="149"/>
                </a:moveTo>
                <a:cubicBezTo>
                  <a:pt x="13" y="148"/>
                  <a:pt x="11" y="148"/>
                  <a:pt x="10" y="149"/>
                </a:cubicBezTo>
                <a:cubicBezTo>
                  <a:pt x="8" y="151"/>
                  <a:pt x="8" y="151"/>
                  <a:pt x="8" y="151"/>
                </a:cubicBezTo>
                <a:cubicBezTo>
                  <a:pt x="15" y="120"/>
                  <a:pt x="15" y="120"/>
                  <a:pt x="15" y="120"/>
                </a:cubicBezTo>
                <a:cubicBezTo>
                  <a:pt x="28" y="118"/>
                  <a:pt x="28" y="118"/>
                  <a:pt x="28" y="118"/>
                </a:cubicBezTo>
                <a:cubicBezTo>
                  <a:pt x="27" y="133"/>
                  <a:pt x="27" y="133"/>
                  <a:pt x="27" y="133"/>
                </a:cubicBezTo>
                <a:cubicBezTo>
                  <a:pt x="27" y="133"/>
                  <a:pt x="27" y="133"/>
                  <a:pt x="27" y="133"/>
                </a:cubicBezTo>
                <a:cubicBezTo>
                  <a:pt x="27" y="134"/>
                  <a:pt x="27" y="134"/>
                  <a:pt x="27" y="134"/>
                </a:cubicBezTo>
                <a:cubicBezTo>
                  <a:pt x="27" y="134"/>
                  <a:pt x="27" y="134"/>
                  <a:pt x="27" y="134"/>
                </a:cubicBezTo>
                <a:cubicBezTo>
                  <a:pt x="27" y="134"/>
                  <a:pt x="27" y="134"/>
                  <a:pt x="27" y="135"/>
                </a:cubicBezTo>
                <a:cubicBezTo>
                  <a:pt x="27" y="135"/>
                  <a:pt x="27" y="135"/>
                  <a:pt x="27" y="135"/>
                </a:cubicBezTo>
                <a:cubicBezTo>
                  <a:pt x="27" y="135"/>
                  <a:pt x="27" y="135"/>
                  <a:pt x="27" y="135"/>
                </a:cubicBezTo>
                <a:cubicBezTo>
                  <a:pt x="28" y="136"/>
                  <a:pt x="28" y="136"/>
                  <a:pt x="28" y="136"/>
                </a:cubicBezTo>
                <a:cubicBezTo>
                  <a:pt x="28" y="136"/>
                  <a:pt x="28" y="136"/>
                  <a:pt x="28" y="136"/>
                </a:cubicBezTo>
                <a:cubicBezTo>
                  <a:pt x="28" y="136"/>
                  <a:pt x="29" y="136"/>
                  <a:pt x="29" y="136"/>
                </a:cubicBezTo>
                <a:cubicBezTo>
                  <a:pt x="29" y="136"/>
                  <a:pt x="29" y="136"/>
                  <a:pt x="29" y="136"/>
                </a:cubicBezTo>
                <a:cubicBezTo>
                  <a:pt x="29" y="136"/>
                  <a:pt x="29" y="136"/>
                  <a:pt x="30" y="136"/>
                </a:cubicBezTo>
                <a:cubicBezTo>
                  <a:pt x="30" y="136"/>
                  <a:pt x="30" y="136"/>
                  <a:pt x="30" y="136"/>
                </a:cubicBezTo>
                <a:cubicBezTo>
                  <a:pt x="30" y="136"/>
                  <a:pt x="30" y="136"/>
                  <a:pt x="30" y="136"/>
                </a:cubicBezTo>
                <a:cubicBezTo>
                  <a:pt x="30" y="136"/>
                  <a:pt x="30" y="136"/>
                  <a:pt x="30" y="136"/>
                </a:cubicBezTo>
                <a:cubicBezTo>
                  <a:pt x="30" y="136"/>
                  <a:pt x="30" y="136"/>
                  <a:pt x="30" y="136"/>
                </a:cubicBezTo>
                <a:cubicBezTo>
                  <a:pt x="30" y="136"/>
                  <a:pt x="30" y="136"/>
                  <a:pt x="30" y="136"/>
                </a:cubicBezTo>
                <a:cubicBezTo>
                  <a:pt x="45" y="135"/>
                  <a:pt x="45" y="135"/>
                  <a:pt x="45" y="135"/>
                </a:cubicBezTo>
                <a:cubicBezTo>
                  <a:pt x="43" y="148"/>
                  <a:pt x="43" y="148"/>
                  <a:pt x="43" y="148"/>
                </a:cubicBezTo>
                <a:cubicBezTo>
                  <a:pt x="12" y="155"/>
                  <a:pt x="12" y="155"/>
                  <a:pt x="12" y="155"/>
                </a:cubicBezTo>
                <a:cubicBezTo>
                  <a:pt x="14" y="153"/>
                  <a:pt x="14" y="153"/>
                  <a:pt x="14" y="153"/>
                </a:cubicBezTo>
                <a:cubicBezTo>
                  <a:pt x="15" y="152"/>
                  <a:pt x="15" y="150"/>
                  <a:pt x="14" y="149"/>
                </a:cubicBezTo>
                <a:close/>
                <a:moveTo>
                  <a:pt x="51" y="133"/>
                </a:moveTo>
                <a:cubicBezTo>
                  <a:pt x="116" y="68"/>
                  <a:pt x="116" y="68"/>
                  <a:pt x="116" y="68"/>
                </a:cubicBezTo>
                <a:cubicBezTo>
                  <a:pt x="117" y="67"/>
                  <a:pt x="117" y="65"/>
                  <a:pt x="116" y="64"/>
                </a:cubicBezTo>
                <a:cubicBezTo>
                  <a:pt x="114" y="63"/>
                  <a:pt x="113" y="63"/>
                  <a:pt x="111" y="64"/>
                </a:cubicBezTo>
                <a:cubicBezTo>
                  <a:pt x="47" y="129"/>
                  <a:pt x="47" y="129"/>
                  <a:pt x="47" y="129"/>
                </a:cubicBezTo>
                <a:cubicBezTo>
                  <a:pt x="33" y="130"/>
                  <a:pt x="33" y="130"/>
                  <a:pt x="33" y="130"/>
                </a:cubicBezTo>
                <a:cubicBezTo>
                  <a:pt x="34" y="116"/>
                  <a:pt x="34" y="116"/>
                  <a:pt x="34" y="116"/>
                </a:cubicBezTo>
                <a:cubicBezTo>
                  <a:pt x="99" y="52"/>
                  <a:pt x="99" y="52"/>
                  <a:pt x="99" y="52"/>
                </a:cubicBezTo>
                <a:cubicBezTo>
                  <a:pt x="100" y="50"/>
                  <a:pt x="100" y="49"/>
                  <a:pt x="99" y="47"/>
                </a:cubicBezTo>
                <a:cubicBezTo>
                  <a:pt x="98" y="46"/>
                  <a:pt x="96" y="46"/>
                  <a:pt x="95" y="47"/>
                </a:cubicBezTo>
                <a:cubicBezTo>
                  <a:pt x="30" y="112"/>
                  <a:pt x="30" y="112"/>
                  <a:pt x="30" y="112"/>
                </a:cubicBezTo>
                <a:cubicBezTo>
                  <a:pt x="21" y="113"/>
                  <a:pt x="21" y="113"/>
                  <a:pt x="21" y="113"/>
                </a:cubicBezTo>
                <a:cubicBezTo>
                  <a:pt x="101" y="33"/>
                  <a:pt x="101" y="33"/>
                  <a:pt x="101" y="33"/>
                </a:cubicBezTo>
                <a:cubicBezTo>
                  <a:pt x="130" y="62"/>
                  <a:pt x="130" y="62"/>
                  <a:pt x="130" y="62"/>
                </a:cubicBezTo>
                <a:cubicBezTo>
                  <a:pt x="50" y="142"/>
                  <a:pt x="50" y="142"/>
                  <a:pt x="50" y="142"/>
                </a:cubicBezTo>
                <a:lnTo>
                  <a:pt x="51" y="133"/>
                </a:lnTo>
                <a:close/>
                <a:moveTo>
                  <a:pt x="142" y="50"/>
                </a:moveTo>
                <a:cubicBezTo>
                  <a:pt x="113" y="21"/>
                  <a:pt x="113" y="21"/>
                  <a:pt x="113" y="21"/>
                </a:cubicBezTo>
                <a:cubicBezTo>
                  <a:pt x="118" y="17"/>
                  <a:pt x="118" y="17"/>
                  <a:pt x="118" y="17"/>
                </a:cubicBezTo>
                <a:cubicBezTo>
                  <a:pt x="146" y="45"/>
                  <a:pt x="146" y="45"/>
                  <a:pt x="146" y="45"/>
                </a:cubicBezTo>
                <a:lnTo>
                  <a:pt x="142" y="5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en-US">
              <a:latin typeface="Arial" panose="020B0604020202020204" pitchFamily="34" charset="0"/>
              <a:ea typeface="微软雅黑" panose="020B0503020204020204" pitchFamily="34" charset="-122"/>
              <a:cs typeface="思源黑体 CN Regular" panose="020B0500000000000000" charset="-122"/>
              <a:sym typeface="Arial" panose="020B0604020202020204" pitchFamily="34" charset="0"/>
            </a:endParaRPr>
          </a:p>
        </p:txBody>
      </p:sp>
      <p:sp>
        <p:nvSpPr>
          <p:cNvPr id="26" name="Freeform 2123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SpPr>
            <a:spLocks noEditPoints="1"/>
          </p:cNvSpPr>
          <p:nvPr/>
        </p:nvSpPr>
        <p:spPr bwMode="auto">
          <a:xfrm>
            <a:off x="9521563" y="3222986"/>
            <a:ext cx="344803" cy="375162"/>
          </a:xfrm>
          <a:custGeom>
            <a:avLst/>
            <a:gdLst>
              <a:gd name="T0" fmla="*/ 24 w 148"/>
              <a:gd name="T1" fmla="*/ 74 h 160"/>
              <a:gd name="T2" fmla="*/ 56 w 148"/>
              <a:gd name="T3" fmla="*/ 148 h 160"/>
              <a:gd name="T4" fmla="*/ 62 w 148"/>
              <a:gd name="T5" fmla="*/ 151 h 160"/>
              <a:gd name="T6" fmla="*/ 65 w 148"/>
              <a:gd name="T7" fmla="*/ 160 h 160"/>
              <a:gd name="T8" fmla="*/ 86 w 148"/>
              <a:gd name="T9" fmla="*/ 157 h 160"/>
              <a:gd name="T10" fmla="*/ 89 w 148"/>
              <a:gd name="T11" fmla="*/ 151 h 160"/>
              <a:gd name="T12" fmla="*/ 92 w 148"/>
              <a:gd name="T13" fmla="*/ 121 h 160"/>
              <a:gd name="T14" fmla="*/ 74 w 148"/>
              <a:gd name="T15" fmla="*/ 24 h 160"/>
              <a:gd name="T16" fmla="*/ 80 w 148"/>
              <a:gd name="T17" fmla="*/ 148 h 160"/>
              <a:gd name="T18" fmla="*/ 68 w 148"/>
              <a:gd name="T19" fmla="*/ 154 h 160"/>
              <a:gd name="T20" fmla="*/ 65 w 148"/>
              <a:gd name="T21" fmla="*/ 145 h 160"/>
              <a:gd name="T22" fmla="*/ 62 w 148"/>
              <a:gd name="T23" fmla="*/ 130 h 160"/>
              <a:gd name="T24" fmla="*/ 86 w 148"/>
              <a:gd name="T25" fmla="*/ 145 h 160"/>
              <a:gd name="T26" fmla="*/ 88 w 148"/>
              <a:gd name="T27" fmla="*/ 116 h 160"/>
              <a:gd name="T28" fmla="*/ 86 w 148"/>
              <a:gd name="T29" fmla="*/ 124 h 160"/>
              <a:gd name="T30" fmla="*/ 62 w 148"/>
              <a:gd name="T31" fmla="*/ 119 h 160"/>
              <a:gd name="T32" fmla="*/ 30 w 148"/>
              <a:gd name="T33" fmla="*/ 74 h 160"/>
              <a:gd name="T34" fmla="*/ 119 w 148"/>
              <a:gd name="T35" fmla="*/ 74 h 160"/>
              <a:gd name="T36" fmla="*/ 71 w 148"/>
              <a:gd name="T37" fmla="*/ 15 h 160"/>
              <a:gd name="T38" fmla="*/ 74 w 148"/>
              <a:gd name="T39" fmla="*/ 0 h 160"/>
              <a:gd name="T40" fmla="*/ 77 w 148"/>
              <a:gd name="T41" fmla="*/ 15 h 160"/>
              <a:gd name="T42" fmla="*/ 71 w 148"/>
              <a:gd name="T43" fmla="*/ 15 h 160"/>
              <a:gd name="T44" fmla="*/ 145 w 148"/>
              <a:gd name="T45" fmla="*/ 77 h 160"/>
              <a:gd name="T46" fmla="*/ 130 w 148"/>
              <a:gd name="T47" fmla="*/ 74 h 160"/>
              <a:gd name="T48" fmla="*/ 145 w 148"/>
              <a:gd name="T49" fmla="*/ 71 h 160"/>
              <a:gd name="T50" fmla="*/ 18 w 148"/>
              <a:gd name="T51" fmla="*/ 74 h 160"/>
              <a:gd name="T52" fmla="*/ 3 w 148"/>
              <a:gd name="T53" fmla="*/ 77 h 160"/>
              <a:gd name="T54" fmla="*/ 3 w 148"/>
              <a:gd name="T55" fmla="*/ 71 h 160"/>
              <a:gd name="T56" fmla="*/ 18 w 148"/>
              <a:gd name="T57" fmla="*/ 74 h 160"/>
              <a:gd name="T58" fmla="*/ 126 w 148"/>
              <a:gd name="T59" fmla="*/ 26 h 160"/>
              <a:gd name="T60" fmla="*/ 116 w 148"/>
              <a:gd name="T61" fmla="*/ 35 h 160"/>
              <a:gd name="T62" fmla="*/ 114 w 148"/>
              <a:gd name="T63" fmla="*/ 30 h 160"/>
              <a:gd name="T64" fmla="*/ 126 w 148"/>
              <a:gd name="T65" fmla="*/ 22 h 160"/>
              <a:gd name="T66" fmla="*/ 34 w 148"/>
              <a:gd name="T67" fmla="*/ 118 h 160"/>
              <a:gd name="T68" fmla="*/ 24 w 148"/>
              <a:gd name="T69" fmla="*/ 127 h 160"/>
              <a:gd name="T70" fmla="*/ 22 w 148"/>
              <a:gd name="T71" fmla="*/ 122 h 160"/>
              <a:gd name="T72" fmla="*/ 34 w 148"/>
              <a:gd name="T73" fmla="*/ 114 h 160"/>
              <a:gd name="T74" fmla="*/ 126 w 148"/>
              <a:gd name="T75" fmla="*/ 126 h 160"/>
              <a:gd name="T76" fmla="*/ 122 w 148"/>
              <a:gd name="T77" fmla="*/ 126 h 160"/>
              <a:gd name="T78" fmla="*/ 114 w 148"/>
              <a:gd name="T79" fmla="*/ 114 h 160"/>
              <a:gd name="T80" fmla="*/ 126 w 148"/>
              <a:gd name="T81" fmla="*/ 122 h 160"/>
              <a:gd name="T82" fmla="*/ 22 w 148"/>
              <a:gd name="T83" fmla="*/ 22 h 160"/>
              <a:gd name="T84" fmla="*/ 34 w 148"/>
              <a:gd name="T85" fmla="*/ 30 h 160"/>
              <a:gd name="T86" fmla="*/ 32 w 148"/>
              <a:gd name="T87" fmla="*/ 35 h 160"/>
              <a:gd name="T88" fmla="*/ 22 w 148"/>
              <a:gd name="T89" fmla="*/ 26 h 160"/>
              <a:gd name="T90" fmla="*/ 74 w 148"/>
              <a:gd name="T91" fmla="*/ 44 h 160"/>
              <a:gd name="T92" fmla="*/ 41 w 148"/>
              <a:gd name="T93" fmla="*/ 77 h 160"/>
              <a:gd name="T94" fmla="*/ 74 w 148"/>
              <a:gd name="T95" fmla="*/ 39 h 1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148" h="160">
                <a:moveTo>
                  <a:pt x="74" y="24"/>
                </a:moveTo>
                <a:cubicBezTo>
                  <a:pt x="46" y="24"/>
                  <a:pt x="24" y="46"/>
                  <a:pt x="24" y="74"/>
                </a:cubicBezTo>
                <a:cubicBezTo>
                  <a:pt x="24" y="95"/>
                  <a:pt x="37" y="114"/>
                  <a:pt x="56" y="121"/>
                </a:cubicBezTo>
                <a:cubicBezTo>
                  <a:pt x="56" y="148"/>
                  <a:pt x="56" y="148"/>
                  <a:pt x="56" y="148"/>
                </a:cubicBezTo>
                <a:cubicBezTo>
                  <a:pt x="56" y="150"/>
                  <a:pt x="58" y="151"/>
                  <a:pt x="59" y="151"/>
                </a:cubicBezTo>
                <a:cubicBezTo>
                  <a:pt x="62" y="151"/>
                  <a:pt x="62" y="151"/>
                  <a:pt x="62" y="151"/>
                </a:cubicBezTo>
                <a:cubicBezTo>
                  <a:pt x="62" y="157"/>
                  <a:pt x="62" y="157"/>
                  <a:pt x="62" y="157"/>
                </a:cubicBezTo>
                <a:cubicBezTo>
                  <a:pt x="62" y="159"/>
                  <a:pt x="64" y="160"/>
                  <a:pt x="65" y="160"/>
                </a:cubicBezTo>
                <a:cubicBezTo>
                  <a:pt x="83" y="160"/>
                  <a:pt x="83" y="160"/>
                  <a:pt x="83" y="160"/>
                </a:cubicBezTo>
                <a:cubicBezTo>
                  <a:pt x="85" y="160"/>
                  <a:pt x="86" y="159"/>
                  <a:pt x="86" y="157"/>
                </a:cubicBezTo>
                <a:cubicBezTo>
                  <a:pt x="86" y="151"/>
                  <a:pt x="86" y="151"/>
                  <a:pt x="86" y="151"/>
                </a:cubicBezTo>
                <a:cubicBezTo>
                  <a:pt x="89" y="151"/>
                  <a:pt x="89" y="151"/>
                  <a:pt x="89" y="151"/>
                </a:cubicBezTo>
                <a:cubicBezTo>
                  <a:pt x="91" y="151"/>
                  <a:pt x="92" y="150"/>
                  <a:pt x="92" y="148"/>
                </a:cubicBezTo>
                <a:cubicBezTo>
                  <a:pt x="92" y="121"/>
                  <a:pt x="92" y="121"/>
                  <a:pt x="92" y="121"/>
                </a:cubicBezTo>
                <a:cubicBezTo>
                  <a:pt x="111" y="114"/>
                  <a:pt x="124" y="95"/>
                  <a:pt x="124" y="74"/>
                </a:cubicBezTo>
                <a:cubicBezTo>
                  <a:pt x="124" y="46"/>
                  <a:pt x="102" y="24"/>
                  <a:pt x="74" y="24"/>
                </a:cubicBezTo>
                <a:close/>
                <a:moveTo>
                  <a:pt x="83" y="145"/>
                </a:moveTo>
                <a:cubicBezTo>
                  <a:pt x="81" y="145"/>
                  <a:pt x="80" y="147"/>
                  <a:pt x="80" y="148"/>
                </a:cubicBezTo>
                <a:cubicBezTo>
                  <a:pt x="80" y="154"/>
                  <a:pt x="80" y="154"/>
                  <a:pt x="80" y="154"/>
                </a:cubicBezTo>
                <a:cubicBezTo>
                  <a:pt x="68" y="154"/>
                  <a:pt x="68" y="154"/>
                  <a:pt x="68" y="154"/>
                </a:cubicBezTo>
                <a:cubicBezTo>
                  <a:pt x="68" y="148"/>
                  <a:pt x="68" y="148"/>
                  <a:pt x="68" y="148"/>
                </a:cubicBezTo>
                <a:cubicBezTo>
                  <a:pt x="68" y="147"/>
                  <a:pt x="67" y="145"/>
                  <a:pt x="65" y="145"/>
                </a:cubicBezTo>
                <a:cubicBezTo>
                  <a:pt x="62" y="145"/>
                  <a:pt x="62" y="145"/>
                  <a:pt x="62" y="145"/>
                </a:cubicBezTo>
                <a:cubicBezTo>
                  <a:pt x="62" y="130"/>
                  <a:pt x="62" y="130"/>
                  <a:pt x="62" y="130"/>
                </a:cubicBezTo>
                <a:cubicBezTo>
                  <a:pt x="86" y="130"/>
                  <a:pt x="86" y="130"/>
                  <a:pt x="86" y="130"/>
                </a:cubicBezTo>
                <a:cubicBezTo>
                  <a:pt x="86" y="145"/>
                  <a:pt x="86" y="145"/>
                  <a:pt x="86" y="145"/>
                </a:cubicBezTo>
                <a:lnTo>
                  <a:pt x="83" y="145"/>
                </a:lnTo>
                <a:close/>
                <a:moveTo>
                  <a:pt x="88" y="116"/>
                </a:moveTo>
                <a:cubicBezTo>
                  <a:pt x="87" y="117"/>
                  <a:pt x="86" y="118"/>
                  <a:pt x="86" y="119"/>
                </a:cubicBezTo>
                <a:cubicBezTo>
                  <a:pt x="86" y="124"/>
                  <a:pt x="86" y="124"/>
                  <a:pt x="86" y="124"/>
                </a:cubicBezTo>
                <a:cubicBezTo>
                  <a:pt x="62" y="124"/>
                  <a:pt x="62" y="124"/>
                  <a:pt x="62" y="124"/>
                </a:cubicBezTo>
                <a:cubicBezTo>
                  <a:pt x="62" y="119"/>
                  <a:pt x="62" y="119"/>
                  <a:pt x="62" y="119"/>
                </a:cubicBezTo>
                <a:cubicBezTo>
                  <a:pt x="62" y="118"/>
                  <a:pt x="61" y="117"/>
                  <a:pt x="60" y="116"/>
                </a:cubicBezTo>
                <a:cubicBezTo>
                  <a:pt x="42" y="110"/>
                  <a:pt x="30" y="93"/>
                  <a:pt x="30" y="74"/>
                </a:cubicBezTo>
                <a:cubicBezTo>
                  <a:pt x="30" y="50"/>
                  <a:pt x="50" y="30"/>
                  <a:pt x="74" y="30"/>
                </a:cubicBezTo>
                <a:cubicBezTo>
                  <a:pt x="99" y="30"/>
                  <a:pt x="119" y="50"/>
                  <a:pt x="119" y="74"/>
                </a:cubicBezTo>
                <a:cubicBezTo>
                  <a:pt x="119" y="93"/>
                  <a:pt x="106" y="110"/>
                  <a:pt x="88" y="116"/>
                </a:cubicBezTo>
                <a:close/>
                <a:moveTo>
                  <a:pt x="71" y="15"/>
                </a:moveTo>
                <a:cubicBezTo>
                  <a:pt x="71" y="3"/>
                  <a:pt x="71" y="3"/>
                  <a:pt x="71" y="3"/>
                </a:cubicBezTo>
                <a:cubicBezTo>
                  <a:pt x="71" y="1"/>
                  <a:pt x="72" y="0"/>
                  <a:pt x="74" y="0"/>
                </a:cubicBezTo>
                <a:cubicBezTo>
                  <a:pt x="76" y="0"/>
                  <a:pt x="77" y="1"/>
                  <a:pt x="77" y="3"/>
                </a:cubicBezTo>
                <a:cubicBezTo>
                  <a:pt x="77" y="15"/>
                  <a:pt x="77" y="15"/>
                  <a:pt x="77" y="15"/>
                </a:cubicBezTo>
                <a:cubicBezTo>
                  <a:pt x="77" y="16"/>
                  <a:pt x="76" y="18"/>
                  <a:pt x="74" y="18"/>
                </a:cubicBezTo>
                <a:cubicBezTo>
                  <a:pt x="72" y="18"/>
                  <a:pt x="71" y="16"/>
                  <a:pt x="71" y="15"/>
                </a:cubicBezTo>
                <a:close/>
                <a:moveTo>
                  <a:pt x="148" y="74"/>
                </a:moveTo>
                <a:cubicBezTo>
                  <a:pt x="148" y="76"/>
                  <a:pt x="147" y="77"/>
                  <a:pt x="145" y="77"/>
                </a:cubicBezTo>
                <a:cubicBezTo>
                  <a:pt x="133" y="77"/>
                  <a:pt x="133" y="77"/>
                  <a:pt x="133" y="77"/>
                </a:cubicBezTo>
                <a:cubicBezTo>
                  <a:pt x="132" y="77"/>
                  <a:pt x="130" y="76"/>
                  <a:pt x="130" y="74"/>
                </a:cubicBezTo>
                <a:cubicBezTo>
                  <a:pt x="130" y="72"/>
                  <a:pt x="132" y="71"/>
                  <a:pt x="133" y="71"/>
                </a:cubicBezTo>
                <a:cubicBezTo>
                  <a:pt x="145" y="71"/>
                  <a:pt x="145" y="71"/>
                  <a:pt x="145" y="71"/>
                </a:cubicBezTo>
                <a:cubicBezTo>
                  <a:pt x="147" y="71"/>
                  <a:pt x="148" y="72"/>
                  <a:pt x="148" y="74"/>
                </a:cubicBezTo>
                <a:close/>
                <a:moveTo>
                  <a:pt x="18" y="74"/>
                </a:moveTo>
                <a:cubicBezTo>
                  <a:pt x="18" y="76"/>
                  <a:pt x="16" y="77"/>
                  <a:pt x="15" y="77"/>
                </a:cubicBezTo>
                <a:cubicBezTo>
                  <a:pt x="3" y="77"/>
                  <a:pt x="3" y="77"/>
                  <a:pt x="3" y="77"/>
                </a:cubicBezTo>
                <a:cubicBezTo>
                  <a:pt x="1" y="77"/>
                  <a:pt x="0" y="76"/>
                  <a:pt x="0" y="74"/>
                </a:cubicBezTo>
                <a:cubicBezTo>
                  <a:pt x="0" y="72"/>
                  <a:pt x="1" y="71"/>
                  <a:pt x="3" y="71"/>
                </a:cubicBezTo>
                <a:cubicBezTo>
                  <a:pt x="15" y="71"/>
                  <a:pt x="15" y="71"/>
                  <a:pt x="15" y="71"/>
                </a:cubicBezTo>
                <a:cubicBezTo>
                  <a:pt x="16" y="71"/>
                  <a:pt x="18" y="72"/>
                  <a:pt x="18" y="74"/>
                </a:cubicBezTo>
                <a:close/>
                <a:moveTo>
                  <a:pt x="126" y="22"/>
                </a:moveTo>
                <a:cubicBezTo>
                  <a:pt x="128" y="23"/>
                  <a:pt x="128" y="25"/>
                  <a:pt x="126" y="26"/>
                </a:cubicBezTo>
                <a:cubicBezTo>
                  <a:pt x="118" y="34"/>
                  <a:pt x="118" y="34"/>
                  <a:pt x="118" y="34"/>
                </a:cubicBezTo>
                <a:cubicBezTo>
                  <a:pt x="117" y="35"/>
                  <a:pt x="117" y="35"/>
                  <a:pt x="116" y="35"/>
                </a:cubicBezTo>
                <a:cubicBezTo>
                  <a:pt x="115" y="35"/>
                  <a:pt x="114" y="35"/>
                  <a:pt x="114" y="34"/>
                </a:cubicBezTo>
                <a:cubicBezTo>
                  <a:pt x="113" y="33"/>
                  <a:pt x="113" y="31"/>
                  <a:pt x="114" y="30"/>
                </a:cubicBezTo>
                <a:cubicBezTo>
                  <a:pt x="122" y="22"/>
                  <a:pt x="122" y="22"/>
                  <a:pt x="122" y="22"/>
                </a:cubicBezTo>
                <a:cubicBezTo>
                  <a:pt x="123" y="21"/>
                  <a:pt x="125" y="21"/>
                  <a:pt x="126" y="22"/>
                </a:cubicBezTo>
                <a:close/>
                <a:moveTo>
                  <a:pt x="34" y="114"/>
                </a:moveTo>
                <a:cubicBezTo>
                  <a:pt x="35" y="115"/>
                  <a:pt x="35" y="117"/>
                  <a:pt x="34" y="118"/>
                </a:cubicBezTo>
                <a:cubicBezTo>
                  <a:pt x="26" y="126"/>
                  <a:pt x="26" y="126"/>
                  <a:pt x="26" y="126"/>
                </a:cubicBezTo>
                <a:cubicBezTo>
                  <a:pt x="25" y="127"/>
                  <a:pt x="25" y="127"/>
                  <a:pt x="24" y="127"/>
                </a:cubicBezTo>
                <a:cubicBezTo>
                  <a:pt x="23" y="127"/>
                  <a:pt x="22" y="127"/>
                  <a:pt x="22" y="126"/>
                </a:cubicBezTo>
                <a:cubicBezTo>
                  <a:pt x="21" y="125"/>
                  <a:pt x="21" y="123"/>
                  <a:pt x="22" y="122"/>
                </a:cubicBezTo>
                <a:cubicBezTo>
                  <a:pt x="30" y="114"/>
                  <a:pt x="30" y="114"/>
                  <a:pt x="30" y="114"/>
                </a:cubicBezTo>
                <a:cubicBezTo>
                  <a:pt x="31" y="113"/>
                  <a:pt x="33" y="113"/>
                  <a:pt x="34" y="114"/>
                </a:cubicBezTo>
                <a:close/>
                <a:moveTo>
                  <a:pt x="126" y="122"/>
                </a:moveTo>
                <a:cubicBezTo>
                  <a:pt x="128" y="123"/>
                  <a:pt x="128" y="125"/>
                  <a:pt x="126" y="126"/>
                </a:cubicBezTo>
                <a:cubicBezTo>
                  <a:pt x="126" y="127"/>
                  <a:pt x="125" y="127"/>
                  <a:pt x="124" y="127"/>
                </a:cubicBezTo>
                <a:cubicBezTo>
                  <a:pt x="124" y="127"/>
                  <a:pt x="123" y="127"/>
                  <a:pt x="122" y="126"/>
                </a:cubicBezTo>
                <a:cubicBezTo>
                  <a:pt x="114" y="118"/>
                  <a:pt x="114" y="118"/>
                  <a:pt x="114" y="118"/>
                </a:cubicBezTo>
                <a:cubicBezTo>
                  <a:pt x="113" y="117"/>
                  <a:pt x="113" y="115"/>
                  <a:pt x="114" y="114"/>
                </a:cubicBezTo>
                <a:cubicBezTo>
                  <a:pt x="115" y="113"/>
                  <a:pt x="117" y="113"/>
                  <a:pt x="118" y="114"/>
                </a:cubicBezTo>
                <a:lnTo>
                  <a:pt x="126" y="122"/>
                </a:lnTo>
                <a:close/>
                <a:moveTo>
                  <a:pt x="22" y="26"/>
                </a:moveTo>
                <a:cubicBezTo>
                  <a:pt x="21" y="25"/>
                  <a:pt x="21" y="23"/>
                  <a:pt x="22" y="22"/>
                </a:cubicBezTo>
                <a:cubicBezTo>
                  <a:pt x="23" y="21"/>
                  <a:pt x="25" y="21"/>
                  <a:pt x="26" y="22"/>
                </a:cubicBezTo>
                <a:cubicBezTo>
                  <a:pt x="34" y="30"/>
                  <a:pt x="34" y="30"/>
                  <a:pt x="34" y="30"/>
                </a:cubicBezTo>
                <a:cubicBezTo>
                  <a:pt x="35" y="31"/>
                  <a:pt x="35" y="33"/>
                  <a:pt x="34" y="34"/>
                </a:cubicBezTo>
                <a:cubicBezTo>
                  <a:pt x="34" y="35"/>
                  <a:pt x="33" y="35"/>
                  <a:pt x="32" y="35"/>
                </a:cubicBezTo>
                <a:cubicBezTo>
                  <a:pt x="31" y="35"/>
                  <a:pt x="31" y="35"/>
                  <a:pt x="30" y="34"/>
                </a:cubicBezTo>
                <a:lnTo>
                  <a:pt x="22" y="26"/>
                </a:lnTo>
                <a:close/>
                <a:moveTo>
                  <a:pt x="77" y="41"/>
                </a:moveTo>
                <a:cubicBezTo>
                  <a:pt x="77" y="43"/>
                  <a:pt x="76" y="44"/>
                  <a:pt x="74" y="44"/>
                </a:cubicBezTo>
                <a:cubicBezTo>
                  <a:pt x="58" y="44"/>
                  <a:pt x="44" y="58"/>
                  <a:pt x="44" y="74"/>
                </a:cubicBezTo>
                <a:cubicBezTo>
                  <a:pt x="44" y="76"/>
                  <a:pt x="43" y="77"/>
                  <a:pt x="41" y="77"/>
                </a:cubicBezTo>
                <a:cubicBezTo>
                  <a:pt x="40" y="77"/>
                  <a:pt x="39" y="76"/>
                  <a:pt x="39" y="74"/>
                </a:cubicBezTo>
                <a:cubicBezTo>
                  <a:pt x="39" y="54"/>
                  <a:pt x="54" y="39"/>
                  <a:pt x="74" y="39"/>
                </a:cubicBezTo>
                <a:cubicBezTo>
                  <a:pt x="76" y="39"/>
                  <a:pt x="77" y="40"/>
                  <a:pt x="77" y="41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en-US">
              <a:latin typeface="Arial" panose="020B0604020202020204" pitchFamily="34" charset="0"/>
              <a:ea typeface="微软雅黑" panose="020B0503020204020204" pitchFamily="34" charset="-122"/>
              <a:cs typeface="思源黑体 CN Regular" panose="020B0500000000000000" charset="-122"/>
              <a:sym typeface="Arial" panose="020B0604020202020204" pitchFamily="34" charset="0"/>
            </a:endParaRPr>
          </a:p>
        </p:txBody>
      </p:sp>
      <p:sp>
        <p:nvSpPr>
          <p:cNvPr id="28" name="TextBox 17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SpPr txBox="1"/>
          <p:nvPr/>
        </p:nvSpPr>
        <p:spPr>
          <a:xfrm>
            <a:off x="1207008" y="4262890"/>
            <a:ext cx="1778508" cy="1004827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ctr">
              <a:lnSpc>
                <a:spcPct val="120000"/>
              </a:lnSpc>
              <a:spcBef>
                <a:spcPts val="600"/>
              </a:spcBef>
            </a:pPr>
            <a:r>
              <a:rPr lang="en-US" sz="1200" b="1" dirty="0"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rPr>
              <a:t>Write title here</a:t>
            </a:r>
          </a:p>
          <a:p>
            <a:pPr algn="ctr">
              <a:lnSpc>
                <a:spcPct val="120000"/>
              </a:lnSpc>
              <a:spcBef>
                <a:spcPts val="600"/>
              </a:spcBef>
            </a:pPr>
            <a:r>
              <a:rPr lang="en-US" altLang="zh-CN" sz="1000" dirty="0">
                <a:solidFill>
                  <a:schemeClr val="accent6">
                    <a:lumMod val="50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rPr>
              <a:t>Click here to add content, content to match the title. </a:t>
            </a:r>
          </a:p>
          <a:p>
            <a:pPr algn="ctr">
              <a:lnSpc>
                <a:spcPct val="120000"/>
              </a:lnSpc>
              <a:spcBef>
                <a:spcPts val="600"/>
              </a:spcBef>
            </a:pPr>
            <a:r>
              <a:rPr lang="en-US" sz="1000" dirty="0"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rPr>
              <a:t>.</a:t>
            </a:r>
          </a:p>
        </p:txBody>
      </p:sp>
      <p:grpSp>
        <p:nvGrpSpPr>
          <p:cNvPr id="29" name="组合 28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GrpSpPr/>
          <p:nvPr/>
        </p:nvGrpSpPr>
        <p:grpSpPr>
          <a:xfrm>
            <a:off x="5563318" y="6024872"/>
            <a:ext cx="1065364" cy="294656"/>
            <a:chOff x="725336" y="5029560"/>
            <a:chExt cx="1065364" cy="294656"/>
          </a:xfrm>
        </p:grpSpPr>
        <p:sp>
          <p:nvSpPr>
            <p:cNvPr id="30" name="矩形 29"/>
            <p:cNvSpPr/>
            <p:nvPr/>
          </p:nvSpPr>
          <p:spPr>
            <a:xfrm>
              <a:off x="725336" y="5029560"/>
              <a:ext cx="1065364" cy="294656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600"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endParaRPr>
            </a:p>
          </p:txBody>
        </p:sp>
        <p:sp>
          <p:nvSpPr>
            <p:cNvPr id="31" name="文本框 30"/>
            <p:cNvSpPr txBox="1"/>
            <p:nvPr/>
          </p:nvSpPr>
          <p:spPr>
            <a:xfrm>
              <a:off x="881152" y="5034031"/>
              <a:ext cx="829330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sz="1200">
                  <a:solidFill>
                    <a:schemeClr val="bg1"/>
                  </a:solidFill>
                  <a:latin typeface="Arial" panose="020B0604020202020204" pitchFamily="34" charset="0"/>
                  <a:ea typeface="微软雅黑" panose="020B0503020204020204" pitchFamily="34" charset="-122"/>
                  <a:cs typeface="思源黑体 CN Regular" panose="020B0500000000000000" charset="-122"/>
                  <a:sym typeface="Arial" panose="020B0604020202020204" pitchFamily="34" charset="0"/>
                </a:rPr>
                <a:t>START</a:t>
              </a:r>
              <a:r>
                <a:rPr lang="zh-CN" altLang="en-US" sz="1200">
                  <a:solidFill>
                    <a:schemeClr val="bg1"/>
                  </a:solidFill>
                  <a:latin typeface="Arial" panose="020B0604020202020204" pitchFamily="34" charset="0"/>
                  <a:ea typeface="微软雅黑" panose="020B0503020204020204" pitchFamily="34" charset="-122"/>
                  <a:cs typeface="思源黑体 CN Regular" panose="020B0500000000000000" charset="-122"/>
                  <a:sym typeface="Arial" panose="020B0604020202020204" pitchFamily="34" charset="0"/>
                </a:rPr>
                <a:t>→</a:t>
              </a:r>
            </a:p>
          </p:txBody>
        </p:sp>
      </p:grpSp>
      <p:sp>
        <p:nvSpPr>
          <p:cNvPr id="32" name="Прямоугольник 9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SpPr/>
          <p:nvPr/>
        </p:nvSpPr>
        <p:spPr>
          <a:xfrm>
            <a:off x="0" y="0"/>
            <a:ext cx="45719" cy="3429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rial" panose="020B0604020202020204" pitchFamily="34" charset="0"/>
              <a:ea typeface="微软雅黑" panose="020B0503020204020204" pitchFamily="34" charset="-122"/>
              <a:cs typeface="思源黑体 CN Regular" panose="020B0500000000000000" charset="-122"/>
              <a:sym typeface="Arial" panose="020B0604020202020204" pitchFamily="34" charset="0"/>
            </a:endParaRPr>
          </a:p>
        </p:txBody>
      </p:sp>
      <p:sp>
        <p:nvSpPr>
          <p:cNvPr id="33" name="TextBox 17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SpPr txBox="1"/>
          <p:nvPr/>
        </p:nvSpPr>
        <p:spPr>
          <a:xfrm>
            <a:off x="3060954" y="4262890"/>
            <a:ext cx="1778508" cy="1004827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ctr">
              <a:lnSpc>
                <a:spcPct val="120000"/>
              </a:lnSpc>
              <a:spcBef>
                <a:spcPts val="600"/>
              </a:spcBef>
            </a:pPr>
            <a:r>
              <a:rPr lang="en-US" sz="1200" b="1" dirty="0"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rPr>
              <a:t>Write title here</a:t>
            </a:r>
          </a:p>
          <a:p>
            <a:pPr algn="ctr">
              <a:lnSpc>
                <a:spcPct val="120000"/>
              </a:lnSpc>
              <a:spcBef>
                <a:spcPts val="600"/>
              </a:spcBef>
            </a:pPr>
            <a:r>
              <a:rPr lang="en-US" altLang="zh-CN" sz="1000" dirty="0">
                <a:solidFill>
                  <a:schemeClr val="accent6">
                    <a:lumMod val="50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rPr>
              <a:t>Click here to add content, content to match the title. </a:t>
            </a:r>
          </a:p>
          <a:p>
            <a:pPr algn="ctr">
              <a:lnSpc>
                <a:spcPct val="120000"/>
              </a:lnSpc>
              <a:spcBef>
                <a:spcPts val="600"/>
              </a:spcBef>
            </a:pPr>
            <a:r>
              <a:rPr lang="en-US" sz="1000" dirty="0"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rPr>
              <a:t>.</a:t>
            </a:r>
          </a:p>
        </p:txBody>
      </p:sp>
      <p:sp>
        <p:nvSpPr>
          <p:cNvPr id="34" name="TextBox 17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SpPr txBox="1"/>
          <p:nvPr/>
        </p:nvSpPr>
        <p:spPr>
          <a:xfrm>
            <a:off x="4914900" y="4262890"/>
            <a:ext cx="1778508" cy="1004827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ctr">
              <a:lnSpc>
                <a:spcPct val="120000"/>
              </a:lnSpc>
              <a:spcBef>
                <a:spcPts val="600"/>
              </a:spcBef>
            </a:pPr>
            <a:r>
              <a:rPr lang="en-US" sz="1200" b="1" dirty="0"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rPr>
              <a:t>Write title here</a:t>
            </a:r>
          </a:p>
          <a:p>
            <a:pPr algn="ctr">
              <a:lnSpc>
                <a:spcPct val="120000"/>
              </a:lnSpc>
              <a:spcBef>
                <a:spcPts val="600"/>
              </a:spcBef>
            </a:pPr>
            <a:r>
              <a:rPr lang="en-US" altLang="zh-CN" sz="1000" dirty="0">
                <a:solidFill>
                  <a:schemeClr val="accent6">
                    <a:lumMod val="50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rPr>
              <a:t>Click here to add content, content to match the title. </a:t>
            </a:r>
          </a:p>
          <a:p>
            <a:pPr algn="ctr">
              <a:lnSpc>
                <a:spcPct val="120000"/>
              </a:lnSpc>
              <a:spcBef>
                <a:spcPts val="600"/>
              </a:spcBef>
            </a:pPr>
            <a:r>
              <a:rPr lang="en-US" sz="1000" dirty="0"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rPr>
              <a:t>.</a:t>
            </a:r>
          </a:p>
        </p:txBody>
      </p:sp>
      <p:sp>
        <p:nvSpPr>
          <p:cNvPr id="35" name="TextBox 17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SpPr txBox="1"/>
          <p:nvPr/>
        </p:nvSpPr>
        <p:spPr>
          <a:xfrm>
            <a:off x="6768846" y="4262890"/>
            <a:ext cx="1778508" cy="1004827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ctr">
              <a:lnSpc>
                <a:spcPct val="120000"/>
              </a:lnSpc>
              <a:spcBef>
                <a:spcPts val="600"/>
              </a:spcBef>
            </a:pPr>
            <a:r>
              <a:rPr lang="en-US" sz="1200" b="1" dirty="0"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rPr>
              <a:t>Write title here</a:t>
            </a:r>
          </a:p>
          <a:p>
            <a:pPr algn="ctr">
              <a:lnSpc>
                <a:spcPct val="120000"/>
              </a:lnSpc>
              <a:spcBef>
                <a:spcPts val="600"/>
              </a:spcBef>
            </a:pPr>
            <a:r>
              <a:rPr lang="en-US" altLang="zh-CN" sz="1000" dirty="0">
                <a:solidFill>
                  <a:schemeClr val="accent6">
                    <a:lumMod val="50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rPr>
              <a:t>Click here to add content, content to match the title. </a:t>
            </a:r>
          </a:p>
          <a:p>
            <a:pPr algn="ctr">
              <a:lnSpc>
                <a:spcPct val="120000"/>
              </a:lnSpc>
              <a:spcBef>
                <a:spcPts val="600"/>
              </a:spcBef>
            </a:pPr>
            <a:r>
              <a:rPr lang="en-US" sz="1000" dirty="0"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rPr>
              <a:t>.</a:t>
            </a:r>
          </a:p>
        </p:txBody>
      </p:sp>
      <p:sp>
        <p:nvSpPr>
          <p:cNvPr id="36" name="TextBox 17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SpPr txBox="1"/>
          <p:nvPr/>
        </p:nvSpPr>
        <p:spPr>
          <a:xfrm>
            <a:off x="8622792" y="4262890"/>
            <a:ext cx="1778508" cy="1004827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ctr">
              <a:lnSpc>
                <a:spcPct val="120000"/>
              </a:lnSpc>
              <a:spcBef>
                <a:spcPts val="600"/>
              </a:spcBef>
            </a:pPr>
            <a:r>
              <a:rPr lang="en-US" sz="1200" b="1" dirty="0"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rPr>
              <a:t>Write title here</a:t>
            </a:r>
          </a:p>
          <a:p>
            <a:pPr algn="ctr">
              <a:lnSpc>
                <a:spcPct val="120000"/>
              </a:lnSpc>
              <a:spcBef>
                <a:spcPts val="600"/>
              </a:spcBef>
            </a:pPr>
            <a:r>
              <a:rPr lang="en-US" altLang="zh-CN" sz="1000" dirty="0">
                <a:solidFill>
                  <a:schemeClr val="accent6">
                    <a:lumMod val="50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rPr>
              <a:t>Click here to add content, content to match the title. </a:t>
            </a:r>
          </a:p>
          <a:p>
            <a:pPr algn="ctr">
              <a:lnSpc>
                <a:spcPct val="120000"/>
              </a:lnSpc>
              <a:spcBef>
                <a:spcPts val="600"/>
              </a:spcBef>
            </a:pPr>
            <a:r>
              <a:rPr lang="en-US" sz="1000" dirty="0"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rPr>
              <a:t>.</a:t>
            </a:r>
          </a:p>
        </p:txBody>
      </p:sp>
      <p:sp>
        <p:nvSpPr>
          <p:cNvPr id="3" name="e7d195523061f1c0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 hidden="1"/>
          <p:cNvSpPr txBox="1"/>
          <p:nvPr/>
        </p:nvSpPr>
        <p:spPr>
          <a:xfrm>
            <a:off x="-355600" y="1803400"/>
            <a:ext cx="284693" cy="1016000"/>
          </a:xfrm>
          <a:prstGeom prst="rect">
            <a:avLst/>
          </a:prstGeom>
          <a:noFill/>
        </p:spPr>
        <p:txBody>
          <a:bodyPr vert="wordArtVert" rtlCol="0">
            <a:spAutoFit/>
          </a:bodyPr>
          <a:lstStyle/>
          <a:p>
            <a:r>
              <a:rPr lang="en-US" altLang="zh-CN" sz="100"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rPr>
              <a:t>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</a:t>
            </a:r>
            <a:endParaRPr lang="zh-CN" altLang="en-US" sz="100">
              <a:latin typeface="Arial" panose="020B0604020202020204" pitchFamily="34" charset="0"/>
              <a:ea typeface="微软雅黑" panose="020B0503020204020204" pitchFamily="34" charset="-122"/>
              <a:cs typeface="思源黑体 CN Regular" panose="020B0500000000000000" charset="-122"/>
              <a:sym typeface="Arial" panose="020B0604020202020204" pitchFamily="34" charset="0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random/>
      </p:transition>
    </mc:Choice>
    <mc:Fallback xmlns:p159="http://schemas.microsoft.com/office/powerpoint/2015/09/main" xmlns:p15="http://schemas.microsoft.com/office/powerpoint/2012/main" xmlns:a14="http://schemas.microsoft.com/office/drawing/2010/main" xmlns:wp="http://schemas.openxmlformats.org/drawingml/2006/wordprocessingDrawing" xmlns:w="http://schemas.openxmlformats.org/wordprocessingml/2006/main" xmlns:m="http://schemas.openxmlformats.org/officeDocument/2006/math" xmlns="">
      <p:transition spd="slow">
        <p:random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dur="50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 nodeType="clickPar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6" presetClass="entr" presetSubtype="21" dur="50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2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6" presetClass="entr" presetSubtype="21" dur="5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5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6" presetClass="entr" presetSubtype="21" dur="5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8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6" presetClass="entr" presetSubtype="21" dur="5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21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6" presetClass="entr" presetSubtype="21" dur="5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24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6" presetClass="entr" presetSubtype="21" dur="5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2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6" presetClass="entr" presetSubtype="21" dur="5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30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16" presetClass="entr" presetSubtype="21" dur="5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33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6" presetClass="entr" presetSubtype="21" dur="5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36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16" presetClass="entr" presetSubtype="21" dur="5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39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16" presetClass="entr" presetSubtype="21" dur="5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42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" presetID="16" presetClass="entr" presetSubtype="21" dur="5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45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6" presetID="16" presetClass="entr" presetSubtype="21" dur="5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48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9" presetID="16" presetClass="entr" presetSubtype="21" dur="5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51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2" presetID="16" presetClass="entr" presetSubtype="21" dur="5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54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5" presetID="16" presetClass="entr" presetSubtype="21" dur="5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57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8" fill="hold" nodeType="clickPar">
                      <p:stCondLst>
                        <p:cond delay="indefinite"/>
                      </p:stCondLst>
                      <p:childTnLst>
                        <p:par>
                          <p:cTn id="59" fill="hold">
                            <p:stCondLst>
                              <p:cond delay="0"/>
                            </p:stCondLst>
                            <p:childTnLst>
                              <p:par>
                                <p:cTn id="60" presetID="14" presetClass="entr" presetSubtype="10" dur="50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62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3" presetID="14" presetClass="entr" presetSubtype="10" dur="5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65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6" presetID="14" presetClass="entr" presetSubtype="10" dur="5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68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9" presetID="14" presetClass="entr" presetSubtype="10" dur="5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1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2" presetID="14" presetClass="entr" presetSubtype="10" dur="5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4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5" presetID="14" presetClass="entr" presetSubtype="10" dur="5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7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 animBg="1"/>
      <p:bldP spid="2" grpId="0"/>
      <p:bldP spid="4" grpId="0" animBg="1"/>
      <p:bldP spid="5" grpId="0" animBg="1"/>
      <p:bldP spid="7" grpId="0" animBg="1"/>
      <p:bldP spid="8" grpId="0" animBg="1"/>
      <p:bldP spid="9" grpId="0" animBg="1"/>
      <p:bldP spid="10" grpId="0" animBg="1"/>
      <p:bldP spid="11" grpId="0" animBg="1"/>
      <p:bldP spid="12" grpId="0" animBg="1"/>
      <p:bldP spid="13" grpId="0" animBg="1"/>
      <p:bldP spid="14" grpId="0" animBg="1"/>
      <p:bldP spid="22" grpId="0" animBg="1"/>
      <p:bldP spid="23" grpId="0" animBg="1"/>
      <p:bldP spid="24" grpId="0" animBg="1"/>
      <p:bldP spid="25" grpId="0" animBg="1"/>
      <p:bldP spid="26" grpId="0" animBg="1"/>
      <p:bldP spid="28" grpId="0"/>
      <p:bldP spid="33" grpId="0"/>
      <p:bldP spid="34" grpId="0"/>
      <p:bldP spid="35" grpId="0"/>
      <p:bldP spid="36" grpId="0"/>
    </p:bld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图片占位符 1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PicPr>
            <a:picLocks noGrp="1" noChangeAspect="1"/>
          </p:cNvPicPr>
          <p:nvPr>
            <p:ph type="pic" sz="quarter" idx="10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/>
      </p:pic>
      <p:sp>
        <p:nvSpPr>
          <p:cNvPr id="8" name="Rectangle 7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/>
            <a:endParaRPr lang="en-US">
              <a:latin typeface="Arial" panose="020B0604020202020204" pitchFamily="34" charset="0"/>
              <a:ea typeface="微软雅黑" panose="020B0503020204020204" pitchFamily="34" charset="-122"/>
              <a:cs typeface="思源黑体 CN Regular" panose="020B0500000000000000" charset="-122"/>
              <a:sym typeface="Arial" panose="020B0604020202020204" pitchFamily="34" charset="0"/>
            </a:endParaRPr>
          </a:p>
        </p:txBody>
      </p:sp>
      <p:cxnSp>
        <p:nvCxnSpPr>
          <p:cNvPr id="3" name="Straight Connector 2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CxnSpPr/>
          <p:nvPr/>
        </p:nvCxnSpPr>
        <p:spPr>
          <a:xfrm>
            <a:off x="0" y="3952402"/>
            <a:ext cx="440274" cy="0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" name="Straight Connector 3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CxnSpPr/>
          <p:nvPr/>
        </p:nvCxnSpPr>
        <p:spPr>
          <a:xfrm>
            <a:off x="0" y="4217589"/>
            <a:ext cx="440274" cy="0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Straight Connector 4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CxnSpPr/>
          <p:nvPr/>
        </p:nvCxnSpPr>
        <p:spPr>
          <a:xfrm>
            <a:off x="0" y="4482776"/>
            <a:ext cx="440274" cy="0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Rectangle 8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SpPr/>
          <p:nvPr/>
        </p:nvSpPr>
        <p:spPr>
          <a:xfrm>
            <a:off x="5034692" y="2217684"/>
            <a:ext cx="2122616" cy="2122614"/>
          </a:xfrm>
          <a:prstGeom prst="rect">
            <a:avLst/>
          </a:prstGeom>
          <a:noFill/>
          <a:ln w="762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rial" panose="020B0604020202020204" pitchFamily="34" charset="0"/>
              <a:ea typeface="微软雅黑" panose="020B0503020204020204" pitchFamily="34" charset="-122"/>
              <a:cs typeface="思源黑体 CN Regular" panose="020B0500000000000000" charset="-122"/>
              <a:sym typeface="Arial" panose="020B0604020202020204" pitchFamily="34" charset="0"/>
            </a:endParaRPr>
          </a:p>
        </p:txBody>
      </p:sp>
      <p:sp>
        <p:nvSpPr>
          <p:cNvPr id="10" name="Title 3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SpPr txBox="1"/>
          <p:nvPr/>
        </p:nvSpPr>
        <p:spPr>
          <a:xfrm>
            <a:off x="2551406" y="2767908"/>
            <a:ext cx="7089188" cy="1322184"/>
          </a:xfrm>
          <a:prstGeom prst="rect">
            <a:avLst/>
          </a:prstGeom>
        </p:spPr>
        <p:txBody>
          <a:bodyPr lIns="0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i="0" kern="1200">
                <a:solidFill>
                  <a:schemeClr val="tx1"/>
                </a:solidFill>
                <a:latin typeface="Titillium" charset="0"/>
                <a:ea typeface="Titillium" charset="0"/>
                <a:cs typeface="Titillium" charset="0"/>
              </a:defRPr>
            </a:lvl1pPr>
          </a:lstStyle>
          <a:p>
            <a:pPr algn="ctr">
              <a:lnSpc>
                <a:spcPct val="80000"/>
              </a:lnSpc>
            </a:pPr>
            <a:r>
              <a:rPr lang="en-US" altLang="zh-CN" sz="8800">
                <a:latin typeface="Arial" panose="020B0604020202020204" pitchFamily="34" charset="0"/>
                <a:ea typeface="微软雅黑" panose="020B0503020204020204" pitchFamily="34" charset="-122"/>
                <a:cs typeface="Gill Sans MT" panose="020B0502020104020203" charset="0"/>
                <a:sym typeface="Arial" panose="020B0604020202020204" pitchFamily="34" charset="0"/>
              </a:rPr>
              <a:t>PART FOUR</a:t>
            </a:r>
          </a:p>
        </p:txBody>
      </p:sp>
      <p:sp>
        <p:nvSpPr>
          <p:cNvPr id="12" name="TextBox 11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SpPr txBox="1"/>
          <p:nvPr/>
        </p:nvSpPr>
        <p:spPr>
          <a:xfrm>
            <a:off x="5106597" y="3952402"/>
            <a:ext cx="1978811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sz="1200" b="1">
                <a:solidFill>
                  <a:schemeClr val="tx1">
                    <a:alpha val="50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rPr>
              <a:t>MODERN PRESENTATION</a:t>
            </a:r>
          </a:p>
        </p:txBody>
      </p:sp>
      <p:sp>
        <p:nvSpPr>
          <p:cNvPr id="11" name="矩形 10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SpPr/>
          <p:nvPr/>
        </p:nvSpPr>
        <p:spPr>
          <a:xfrm>
            <a:off x="10083800" y="0"/>
            <a:ext cx="596900" cy="723900"/>
          </a:xfrm>
          <a:prstGeom prst="rect">
            <a:avLst/>
          </a:prstGeom>
          <a:solidFill>
            <a:srgbClr val="002BF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latin typeface="Arial" panose="020B0604020202020204" pitchFamily="34" charset="0"/>
              <a:ea typeface="微软雅黑" panose="020B0503020204020204" pitchFamily="34" charset="-122"/>
              <a:cs typeface="思源黑体 CN Regular" panose="020B0500000000000000" charset="-122"/>
              <a:sym typeface="Arial" panose="020B0604020202020204" pitchFamily="34" charset="0"/>
            </a:endParaRPr>
          </a:p>
        </p:txBody>
      </p:sp>
      <p:sp>
        <p:nvSpPr>
          <p:cNvPr id="13" name="Shape 3891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SpPr/>
          <p:nvPr/>
        </p:nvSpPr>
        <p:spPr>
          <a:xfrm>
            <a:off x="10245293" y="162829"/>
            <a:ext cx="279033" cy="279033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8429" y="14128"/>
                </a:moveTo>
                <a:cubicBezTo>
                  <a:pt x="17041" y="13430"/>
                  <a:pt x="15777" y="12523"/>
                  <a:pt x="14684" y="11440"/>
                </a:cubicBezTo>
                <a:cubicBezTo>
                  <a:pt x="15214" y="10618"/>
                  <a:pt x="15664" y="9739"/>
                  <a:pt x="16034" y="8820"/>
                </a:cubicBezTo>
                <a:cubicBezTo>
                  <a:pt x="16089" y="8826"/>
                  <a:pt x="16143" y="8836"/>
                  <a:pt x="16200" y="8836"/>
                </a:cubicBezTo>
                <a:cubicBezTo>
                  <a:pt x="17013" y="8836"/>
                  <a:pt x="17673" y="8178"/>
                  <a:pt x="17673" y="7364"/>
                </a:cubicBezTo>
                <a:cubicBezTo>
                  <a:pt x="17673" y="6787"/>
                  <a:pt x="17339" y="6295"/>
                  <a:pt x="16856" y="6052"/>
                </a:cubicBezTo>
                <a:cubicBezTo>
                  <a:pt x="17033" y="5170"/>
                  <a:pt x="17144" y="4264"/>
                  <a:pt x="17167" y="3336"/>
                </a:cubicBezTo>
                <a:cubicBezTo>
                  <a:pt x="19277" y="5136"/>
                  <a:pt x="20618" y="7809"/>
                  <a:pt x="20618" y="10800"/>
                </a:cubicBezTo>
                <a:cubicBezTo>
                  <a:pt x="20618" y="11764"/>
                  <a:pt x="20469" y="12690"/>
                  <a:pt x="20209" y="13568"/>
                </a:cubicBezTo>
                <a:cubicBezTo>
                  <a:pt x="19628" y="13783"/>
                  <a:pt x="19034" y="13971"/>
                  <a:pt x="18429" y="14128"/>
                </a:cubicBezTo>
                <a:moveTo>
                  <a:pt x="10800" y="20618"/>
                </a:moveTo>
                <a:cubicBezTo>
                  <a:pt x="8406" y="20618"/>
                  <a:pt x="6213" y="19759"/>
                  <a:pt x="4509" y="18335"/>
                </a:cubicBezTo>
                <a:cubicBezTo>
                  <a:pt x="6552" y="17934"/>
                  <a:pt x="8450" y="17135"/>
                  <a:pt x="10128" y="16031"/>
                </a:cubicBezTo>
                <a:cubicBezTo>
                  <a:pt x="10330" y="16136"/>
                  <a:pt x="10556" y="16200"/>
                  <a:pt x="10800" y="16200"/>
                </a:cubicBezTo>
                <a:cubicBezTo>
                  <a:pt x="11273" y="16200"/>
                  <a:pt x="11689" y="15974"/>
                  <a:pt x="11959" y="15627"/>
                </a:cubicBezTo>
                <a:cubicBezTo>
                  <a:pt x="12547" y="15680"/>
                  <a:pt x="13142" y="15709"/>
                  <a:pt x="13745" y="15709"/>
                </a:cubicBezTo>
                <a:cubicBezTo>
                  <a:pt x="15323" y="15709"/>
                  <a:pt x="16852" y="15508"/>
                  <a:pt x="18322" y="15156"/>
                </a:cubicBezTo>
                <a:cubicBezTo>
                  <a:pt x="18660" y="15317"/>
                  <a:pt x="18998" y="15480"/>
                  <a:pt x="19350" y="15618"/>
                </a:cubicBezTo>
                <a:cubicBezTo>
                  <a:pt x="17665" y="18601"/>
                  <a:pt x="14470" y="20618"/>
                  <a:pt x="10800" y="20618"/>
                </a:cubicBezTo>
                <a:moveTo>
                  <a:pt x="3539" y="17393"/>
                </a:moveTo>
                <a:cubicBezTo>
                  <a:pt x="3476" y="16840"/>
                  <a:pt x="3436" y="16280"/>
                  <a:pt x="3436" y="15709"/>
                </a:cubicBezTo>
                <a:cubicBezTo>
                  <a:pt x="3436" y="14764"/>
                  <a:pt x="3536" y="13842"/>
                  <a:pt x="3707" y="12946"/>
                </a:cubicBezTo>
                <a:cubicBezTo>
                  <a:pt x="5455" y="13988"/>
                  <a:pt x="7377" y="14767"/>
                  <a:pt x="9421" y="15227"/>
                </a:cubicBezTo>
                <a:cubicBezTo>
                  <a:pt x="9431" y="15254"/>
                  <a:pt x="9436" y="15282"/>
                  <a:pt x="9447" y="15308"/>
                </a:cubicBezTo>
                <a:cubicBezTo>
                  <a:pt x="7724" y="16421"/>
                  <a:pt x="5761" y="17193"/>
                  <a:pt x="3643" y="17507"/>
                </a:cubicBezTo>
                <a:cubicBezTo>
                  <a:pt x="3608" y="17469"/>
                  <a:pt x="3573" y="17430"/>
                  <a:pt x="3539" y="17393"/>
                </a:cubicBezTo>
                <a:moveTo>
                  <a:pt x="3075" y="11369"/>
                </a:moveTo>
                <a:cubicBezTo>
                  <a:pt x="2361" y="10869"/>
                  <a:pt x="1683" y="10322"/>
                  <a:pt x="1046" y="9729"/>
                </a:cubicBezTo>
                <a:cubicBezTo>
                  <a:pt x="1528" y="5299"/>
                  <a:pt x="4955" y="1762"/>
                  <a:pt x="9331" y="1104"/>
                </a:cubicBezTo>
                <a:cubicBezTo>
                  <a:pt x="9335" y="1629"/>
                  <a:pt x="9363" y="2148"/>
                  <a:pt x="9417" y="2660"/>
                </a:cubicBezTo>
                <a:cubicBezTo>
                  <a:pt x="8572" y="3227"/>
                  <a:pt x="7787" y="3879"/>
                  <a:pt x="7069" y="4597"/>
                </a:cubicBezTo>
                <a:cubicBezTo>
                  <a:pt x="6863" y="4486"/>
                  <a:pt x="6632" y="4418"/>
                  <a:pt x="6382" y="4418"/>
                </a:cubicBezTo>
                <a:cubicBezTo>
                  <a:pt x="5569" y="4418"/>
                  <a:pt x="4909" y="5078"/>
                  <a:pt x="4909" y="5891"/>
                </a:cubicBezTo>
                <a:cubicBezTo>
                  <a:pt x="4909" y="6236"/>
                  <a:pt x="5033" y="6549"/>
                  <a:pt x="5231" y="6800"/>
                </a:cubicBezTo>
                <a:cubicBezTo>
                  <a:pt x="4279" y="8179"/>
                  <a:pt x="3550" y="9719"/>
                  <a:pt x="3075" y="11369"/>
                </a:cubicBezTo>
                <a:moveTo>
                  <a:pt x="2466" y="15973"/>
                </a:moveTo>
                <a:cubicBezTo>
                  <a:pt x="1563" y="14521"/>
                  <a:pt x="1025" y="12821"/>
                  <a:pt x="989" y="10995"/>
                </a:cubicBezTo>
                <a:cubicBezTo>
                  <a:pt x="1570" y="11492"/>
                  <a:pt x="2180" y="11955"/>
                  <a:pt x="2817" y="12383"/>
                </a:cubicBezTo>
                <a:cubicBezTo>
                  <a:pt x="2585" y="13456"/>
                  <a:pt x="2455" y="14567"/>
                  <a:pt x="2455" y="15709"/>
                </a:cubicBezTo>
                <a:cubicBezTo>
                  <a:pt x="2455" y="15798"/>
                  <a:pt x="2464" y="15885"/>
                  <a:pt x="2466" y="15973"/>
                </a:cubicBezTo>
                <a:moveTo>
                  <a:pt x="13428" y="11540"/>
                </a:moveTo>
                <a:cubicBezTo>
                  <a:pt x="12907" y="12264"/>
                  <a:pt x="12315" y="12931"/>
                  <a:pt x="11674" y="13548"/>
                </a:cubicBezTo>
                <a:cubicBezTo>
                  <a:pt x="11429" y="13366"/>
                  <a:pt x="11129" y="13255"/>
                  <a:pt x="10800" y="13255"/>
                </a:cubicBezTo>
                <a:cubicBezTo>
                  <a:pt x="10166" y="13255"/>
                  <a:pt x="9631" y="13657"/>
                  <a:pt x="9423" y="14218"/>
                </a:cubicBezTo>
                <a:cubicBezTo>
                  <a:pt x="7455" y="13751"/>
                  <a:pt x="5607" y="12974"/>
                  <a:pt x="3936" y="11937"/>
                </a:cubicBezTo>
                <a:cubicBezTo>
                  <a:pt x="4379" y="10266"/>
                  <a:pt x="5100" y="8709"/>
                  <a:pt x="6060" y="7326"/>
                </a:cubicBezTo>
                <a:cubicBezTo>
                  <a:pt x="6164" y="7349"/>
                  <a:pt x="6271" y="7364"/>
                  <a:pt x="6382" y="7364"/>
                </a:cubicBezTo>
                <a:cubicBezTo>
                  <a:pt x="7195" y="7364"/>
                  <a:pt x="7855" y="6705"/>
                  <a:pt x="7855" y="5891"/>
                </a:cubicBezTo>
                <a:cubicBezTo>
                  <a:pt x="7855" y="5688"/>
                  <a:pt x="7813" y="5494"/>
                  <a:pt x="7739" y="5318"/>
                </a:cubicBezTo>
                <a:cubicBezTo>
                  <a:pt x="8307" y="4747"/>
                  <a:pt x="8920" y="4221"/>
                  <a:pt x="9575" y="3749"/>
                </a:cubicBezTo>
                <a:cubicBezTo>
                  <a:pt x="10104" y="6723"/>
                  <a:pt x="11479" y="9397"/>
                  <a:pt x="13428" y="11540"/>
                </a:cubicBezTo>
                <a:moveTo>
                  <a:pt x="10800" y="982"/>
                </a:moveTo>
                <a:cubicBezTo>
                  <a:pt x="11347" y="982"/>
                  <a:pt x="11881" y="1038"/>
                  <a:pt x="12403" y="1125"/>
                </a:cubicBezTo>
                <a:cubicBezTo>
                  <a:pt x="11696" y="1401"/>
                  <a:pt x="11005" y="1708"/>
                  <a:pt x="10354" y="2082"/>
                </a:cubicBezTo>
                <a:cubicBezTo>
                  <a:pt x="10328" y="1726"/>
                  <a:pt x="10311" y="1368"/>
                  <a:pt x="10310" y="1007"/>
                </a:cubicBezTo>
                <a:cubicBezTo>
                  <a:pt x="10474" y="999"/>
                  <a:pt x="10635" y="982"/>
                  <a:pt x="10800" y="982"/>
                </a:cubicBezTo>
                <a:moveTo>
                  <a:pt x="14120" y="12262"/>
                </a:moveTo>
                <a:cubicBezTo>
                  <a:pt x="14982" y="13097"/>
                  <a:pt x="15950" y="13819"/>
                  <a:pt x="16986" y="14440"/>
                </a:cubicBezTo>
                <a:cubicBezTo>
                  <a:pt x="15933" y="14626"/>
                  <a:pt x="14852" y="14727"/>
                  <a:pt x="13745" y="14727"/>
                </a:cubicBezTo>
                <a:cubicBezTo>
                  <a:pt x="13246" y="14727"/>
                  <a:pt x="12754" y="14702"/>
                  <a:pt x="12265" y="14664"/>
                </a:cubicBezTo>
                <a:cubicBezTo>
                  <a:pt x="12259" y="14569"/>
                  <a:pt x="12250" y="14475"/>
                  <a:pt x="12229" y="14386"/>
                </a:cubicBezTo>
                <a:cubicBezTo>
                  <a:pt x="12921" y="13737"/>
                  <a:pt x="13555" y="13027"/>
                  <a:pt x="14120" y="12262"/>
                </a:cubicBezTo>
                <a:moveTo>
                  <a:pt x="16188" y="2597"/>
                </a:moveTo>
                <a:cubicBezTo>
                  <a:pt x="16191" y="2713"/>
                  <a:pt x="16200" y="2828"/>
                  <a:pt x="16200" y="2945"/>
                </a:cubicBezTo>
                <a:cubicBezTo>
                  <a:pt x="16200" y="3967"/>
                  <a:pt x="16092" y="4962"/>
                  <a:pt x="15894" y="5924"/>
                </a:cubicBezTo>
                <a:cubicBezTo>
                  <a:pt x="15227" y="6065"/>
                  <a:pt x="14727" y="6656"/>
                  <a:pt x="14727" y="7364"/>
                </a:cubicBezTo>
                <a:cubicBezTo>
                  <a:pt x="14727" y="7765"/>
                  <a:pt x="14888" y="8128"/>
                  <a:pt x="15149" y="8393"/>
                </a:cubicBezTo>
                <a:cubicBezTo>
                  <a:pt x="14827" y="9199"/>
                  <a:pt x="14443" y="9974"/>
                  <a:pt x="13991" y="10701"/>
                </a:cubicBezTo>
                <a:cubicBezTo>
                  <a:pt x="12159" y="8620"/>
                  <a:pt x="10894" y="6025"/>
                  <a:pt x="10469" y="3152"/>
                </a:cubicBezTo>
                <a:cubicBezTo>
                  <a:pt x="11590" y="2463"/>
                  <a:pt x="12813" y="1934"/>
                  <a:pt x="14106" y="1565"/>
                </a:cubicBezTo>
                <a:cubicBezTo>
                  <a:pt x="14844" y="1829"/>
                  <a:pt x="15544" y="2174"/>
                  <a:pt x="16188" y="2597"/>
                </a:cubicBezTo>
                <a:moveTo>
                  <a:pt x="10800" y="0"/>
                </a:moveTo>
                <a:cubicBezTo>
                  <a:pt x="4835" y="0"/>
                  <a:pt x="0" y="4835"/>
                  <a:pt x="0" y="10800"/>
                </a:cubicBezTo>
                <a:cubicBezTo>
                  <a:pt x="0" y="16765"/>
                  <a:pt x="4835" y="21600"/>
                  <a:pt x="10800" y="21600"/>
                </a:cubicBezTo>
                <a:cubicBezTo>
                  <a:pt x="16765" y="21600"/>
                  <a:pt x="21600" y="16765"/>
                  <a:pt x="21600" y="10800"/>
                </a:cubicBezTo>
                <a:cubicBezTo>
                  <a:pt x="21600" y="4835"/>
                  <a:pt x="16765" y="0"/>
                  <a:pt x="10800" y="0"/>
                </a:cubicBezTo>
              </a:path>
            </a:pathLst>
          </a:custGeom>
          <a:solidFill>
            <a:schemeClr val="bg1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endParaRPr>
              <a:solidFill>
                <a:prstClr val="black"/>
              </a:solidFill>
              <a:latin typeface="Arial" panose="020B0604020202020204" pitchFamily="34" charset="0"/>
              <a:ea typeface="微软雅黑" panose="020B0503020204020204" pitchFamily="34" charset="-122"/>
              <a:cs typeface="思源黑体 CN Regular" panose="020B0500000000000000" charset="-122"/>
              <a:sym typeface="Arial" panose="020B0604020202020204" pitchFamily="34" charset="0"/>
            </a:endParaRPr>
          </a:p>
        </p:txBody>
      </p:sp>
      <p:sp>
        <p:nvSpPr>
          <p:cNvPr id="14" name="文本框 13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SpPr txBox="1"/>
          <p:nvPr/>
        </p:nvSpPr>
        <p:spPr>
          <a:xfrm>
            <a:off x="10100734" y="448734"/>
            <a:ext cx="572593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1050">
                <a:solidFill>
                  <a:schemeClr val="bg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rPr>
              <a:t>LOGO</a:t>
            </a:r>
            <a:endParaRPr lang="zh-CN" altLang="en-US" sz="1050">
              <a:solidFill>
                <a:schemeClr val="bg1"/>
              </a:solidFill>
              <a:latin typeface="Arial" panose="020B0604020202020204" pitchFamily="34" charset="0"/>
              <a:ea typeface="微软雅黑" panose="020B0503020204020204" pitchFamily="34" charset="-122"/>
              <a:cs typeface="思源黑体 CN Regular" panose="020B0500000000000000" charset="-122"/>
              <a:sym typeface="Arial" panose="020B0604020202020204" pitchFamily="34" charset="0"/>
            </a:endParaRPr>
          </a:p>
        </p:txBody>
      </p:sp>
      <p:sp>
        <p:nvSpPr>
          <p:cNvPr id="15" name="矩形 14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SpPr/>
          <p:nvPr/>
        </p:nvSpPr>
        <p:spPr>
          <a:xfrm>
            <a:off x="5522608" y="5715000"/>
            <a:ext cx="954392" cy="265176"/>
          </a:xfrm>
          <a:prstGeom prst="rect">
            <a:avLst/>
          </a:prstGeom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600">
              <a:latin typeface="Arial" panose="020B0604020202020204" pitchFamily="34" charset="0"/>
              <a:ea typeface="微软雅黑" panose="020B0503020204020204" pitchFamily="34" charset="-122"/>
              <a:cs typeface="思源黑体 CN Regular" panose="020B0500000000000000" charset="-122"/>
              <a:sym typeface="Arial" panose="020B0604020202020204" pitchFamily="34" charset="0"/>
            </a:endParaRPr>
          </a:p>
        </p:txBody>
      </p:sp>
      <p:sp>
        <p:nvSpPr>
          <p:cNvPr id="17" name="文本框 16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SpPr txBox="1"/>
          <p:nvPr/>
        </p:nvSpPr>
        <p:spPr>
          <a:xfrm>
            <a:off x="5660136" y="5719472"/>
            <a:ext cx="87172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200">
                <a:solidFill>
                  <a:schemeClr val="bg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rPr>
              <a:t>START</a:t>
            </a:r>
            <a:r>
              <a:rPr lang="zh-CN" altLang="en-US" sz="1200">
                <a:solidFill>
                  <a:schemeClr val="bg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rPr>
              <a:t>→</a:t>
            </a:r>
          </a:p>
        </p:txBody>
      </p:sp>
      <p:sp>
        <p:nvSpPr>
          <p:cNvPr id="18" name="TextBox 5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SpPr txBox="1"/>
          <p:nvPr/>
        </p:nvSpPr>
        <p:spPr>
          <a:xfrm>
            <a:off x="5699256" y="2454767"/>
            <a:ext cx="793487" cy="14773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lnSpc>
                <a:spcPct val="80000"/>
              </a:lnSpc>
            </a:pPr>
            <a:r>
              <a:rPr lang="en-US" sz="1200" spc="200">
                <a:solidFill>
                  <a:schemeClr val="tx2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rPr>
              <a:t>CAREER</a:t>
            </a:r>
          </a:p>
        </p:txBody>
      </p:sp>
      <p:sp>
        <p:nvSpPr>
          <p:cNvPr id="6" name="e7d195523061f1c0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 hidden="1"/>
          <p:cNvSpPr txBox="1"/>
          <p:nvPr/>
        </p:nvSpPr>
        <p:spPr>
          <a:xfrm>
            <a:off x="-355600" y="1803400"/>
            <a:ext cx="284693" cy="1016000"/>
          </a:xfrm>
          <a:prstGeom prst="rect">
            <a:avLst/>
          </a:prstGeom>
          <a:noFill/>
        </p:spPr>
        <p:txBody>
          <a:bodyPr vert="wordArtVert" rtlCol="0">
            <a:spAutoFit/>
          </a:bodyPr>
          <a:lstStyle/>
          <a:p>
            <a:r>
              <a:rPr lang="en-US" altLang="zh-CN" sz="100"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rPr>
              <a:t>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</a:t>
            </a:r>
            <a:endParaRPr lang="zh-CN" altLang="en-US" sz="100">
              <a:latin typeface="Arial" panose="020B0604020202020204" pitchFamily="34" charset="0"/>
              <a:ea typeface="微软雅黑" panose="020B0503020204020204" pitchFamily="34" charset="-122"/>
              <a:cs typeface="思源黑体 CN Regular" panose="020B0500000000000000" charset="-122"/>
              <a:sym typeface="Arial" panose="020B0604020202020204" pitchFamily="34" charset="0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random/>
      </p:transition>
    </mc:Choice>
    <mc:Fallback xmlns:p159="http://schemas.microsoft.com/office/powerpoint/2015/09/main" xmlns:p15="http://schemas.microsoft.com/office/powerpoint/2012/main" xmlns:a14="http://schemas.microsoft.com/office/drawing/2010/main" xmlns:wp="http://schemas.openxmlformats.org/drawingml/2006/wordprocessingDrawing" xmlns:w="http://schemas.openxmlformats.org/wordprocessingml/2006/main" xmlns:m="http://schemas.openxmlformats.org/officeDocument/2006/math" xmlns="">
      <p:transition spd="slow">
        <p:random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6" presetClass="entr" presetSubtype="0" dur="2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8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822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664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664" tmFilter="0, 0; 0.125,0.2665; 0.25,0.4; 0.375,0.465; 0.5,0.5;  0.625,0.535; 0.75,0.6; 0.875,0.7335; 1,1">
                                          <p:stCondLst>
                                            <p:cond delay="664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" dur="332" tmFilter="0, 0; 0.125,0.2665; 0.25,0.4; 0.375,0.465; 0.5,0.5;  0.625,0.535; 0.75,0.6; 0.875,0.7335; 1,1">
                                          <p:stCondLst>
                                            <p:cond delay="1324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164" tmFilter="0, 0; 0.125,0.2665; 0.25,0.4; 0.375,0.465; 0.5,0.5;  0.625,0.535; 0.75,0.6; 0.875,0.7335; 1,1">
                                          <p:stCondLst>
                                            <p:cond delay="1656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13" dur="26">
                                          <p:stCondLst>
                                            <p:cond delay="65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14" dur="166" decel="50000">
                                          <p:stCondLst>
                                            <p:cond delay="676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5" dur="26">
                                          <p:stCondLst>
                                            <p:cond delay="1312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16" dur="166" decel="50000">
                                          <p:stCondLst>
                                            <p:cond delay="1338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7" dur="26">
                                          <p:stCondLst>
                                            <p:cond delay="1642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18" dur="166" decel="50000">
                                          <p:stCondLst>
                                            <p:cond delay="1668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9" dur="26">
                                          <p:stCondLst>
                                            <p:cond delay="1808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20" dur="166" decel="50000">
                                          <p:stCondLst>
                                            <p:cond delay="1834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 nodeType="clickPar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31" presetClass="entr" presetSubtype="0" dur="1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5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8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 nodeType="clickPar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21" presetClass="entr" presetSubtype="1" dur="200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33" dur="2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4" fill="hold" nodeType="clickPar">
                      <p:stCondLst>
                        <p:cond delay="indefinite"/>
                      </p:stCondLst>
                      <p:childTnLst>
                        <p:par>
                          <p:cTn id="35" fill="hold">
                            <p:stCondLst>
                              <p:cond delay="0"/>
                            </p:stCondLst>
                            <p:childTnLst>
                              <p:par>
                                <p:cTn id="36" presetID="22" presetClass="entr" presetSubtype="4" dur="50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8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" presetID="22" presetClass="entr" presetSubtype="4" dur="5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1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22" presetClass="entr" presetSubtype="4" dur="5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4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22" presetClass="entr" presetSubtype="4" dur="5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7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8" fill="hold" nodeType="clickPar">
                      <p:stCondLst>
                        <p:cond delay="indefinite"/>
                      </p:stCondLst>
                      <p:childTnLst>
                        <p:par>
                          <p:cTn id="49" fill="hold">
                            <p:stCondLst>
                              <p:cond delay="0"/>
                            </p:stCondLst>
                            <p:childTnLst>
                              <p:par>
                                <p:cTn id="50" presetID="14" presetClass="entr" presetSubtype="10" dur="50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52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" presetID="14" presetClass="entr" presetSubtype="10" dur="5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55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9" grpId="0" animBg="1"/>
      <p:bldP spid="10" grpId="0"/>
      <p:bldP spid="12" grpId="0"/>
      <p:bldP spid="15" grpId="0" animBg="1"/>
      <p:bldP spid="17" grpId="0"/>
      <p:bldP spid="18" grpId="0"/>
    </p:bld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3597">
              <a:schemeClr val="bg1">
                <a:lumMod val="95000"/>
              </a:schemeClr>
            </a:gs>
            <a:gs pos="99000">
              <a:srgbClr val="595959">
                <a:alpha val="52000"/>
              </a:srgbClr>
            </a:gs>
            <a:gs pos="57000">
              <a:srgbClr val="C8C8C8">
                <a:alpha val="66000"/>
              </a:srgbClr>
            </a:gs>
          </a:gsLst>
          <a:path path="circle">
            <a:fillToRect l="50000" t="50000" r="50000" b="50000"/>
          </a:path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TextBox 40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SpPr txBox="1"/>
          <p:nvPr/>
        </p:nvSpPr>
        <p:spPr>
          <a:xfrm>
            <a:off x="2709164" y="625661"/>
            <a:ext cx="9080500" cy="769441"/>
          </a:xfrm>
          <a:prstGeom prst="rect">
            <a:avLst/>
          </a:prstGeom>
          <a:noFill/>
          <a:ln>
            <a:noFill/>
          </a:ln>
        </p:spPr>
        <p:txBody>
          <a:bodyPr wrap="square" rtlCol="0" anchor="ctr">
            <a:spAutoFit/>
          </a:bodyPr>
          <a:lstStyle/>
          <a:p>
            <a:pPr algn="r"/>
            <a:r>
              <a:rPr lang="en-US" altLang="ko-KR" sz="4400" b="1">
                <a:ln w="9525">
                  <a:noFill/>
                </a:ln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rPr>
              <a:t>FLAT DEVICE MOCKUPS</a:t>
            </a:r>
          </a:p>
        </p:txBody>
      </p:sp>
      <p:pic>
        <p:nvPicPr>
          <p:cNvPr id="5" name="图片占位符 4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PicPr>
            <a:picLocks noGrp="1" noChangeAspect="1"/>
          </p:cNvPicPr>
          <p:nvPr>
            <p:ph type="pic" sz="quarter" idx="12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/>
      </p:pic>
      <p:pic>
        <p:nvPicPr>
          <p:cNvPr id="6" name="图片占位符 5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PicPr>
            <a:picLocks noGrp="1" noChangeAspect="1"/>
          </p:cNvPicPr>
          <p:nvPr>
            <p:ph type="pic" sz="quarter" idx="13"/>
          </p:nvPr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/>
      </p:pic>
      <p:pic>
        <p:nvPicPr>
          <p:cNvPr id="4" name="图片占位符 3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PicPr>
            <a:picLocks noGrp="1" noChangeAspect="1"/>
          </p:cNvPicPr>
          <p:nvPr>
            <p:ph type="pic" sz="quarter" idx="11"/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/>
      </p:pic>
      <p:sp>
        <p:nvSpPr>
          <p:cNvPr id="13" name="Text Placeholder 3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SpPr txBox="1"/>
          <p:nvPr/>
        </p:nvSpPr>
        <p:spPr>
          <a:xfrm>
            <a:off x="4122800" y="4801868"/>
            <a:ext cx="2131696" cy="2862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400" spc="-1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  <a:sym typeface="Arial" panose="020B0604020202020204" pitchFamily="34" charset="0"/>
              </a:rPr>
              <a:t>SOCIAL NETWORKS</a:t>
            </a:r>
          </a:p>
        </p:txBody>
      </p:sp>
      <p:sp>
        <p:nvSpPr>
          <p:cNvPr id="14" name="Text Placeholder 3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SpPr txBox="1"/>
          <p:nvPr/>
        </p:nvSpPr>
        <p:spPr>
          <a:xfrm>
            <a:off x="7749920" y="5143500"/>
            <a:ext cx="1211200" cy="18928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dist">
              <a:buNone/>
            </a:pPr>
            <a:r>
              <a:rPr lang="en-US" sz="700" spc="-1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  <a:sym typeface="Arial" panose="020B0604020202020204" pitchFamily="34" charset="0"/>
              </a:rPr>
              <a:t>SOCIAL NETWORKS</a:t>
            </a:r>
          </a:p>
        </p:txBody>
      </p:sp>
      <p:sp>
        <p:nvSpPr>
          <p:cNvPr id="15" name="Text Placeholder 3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SpPr txBox="1"/>
          <p:nvPr/>
        </p:nvSpPr>
        <p:spPr>
          <a:xfrm>
            <a:off x="9767696" y="4674109"/>
            <a:ext cx="491872" cy="17543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dist">
              <a:buNone/>
            </a:pPr>
            <a:r>
              <a:rPr lang="en-US" sz="600" spc="-1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  <a:sym typeface="Arial" panose="020B0604020202020204" pitchFamily="34" charset="0"/>
              </a:rPr>
              <a:t>SOCIAL </a:t>
            </a:r>
          </a:p>
        </p:txBody>
      </p:sp>
      <p:sp>
        <p:nvSpPr>
          <p:cNvPr id="16" name="Rectangle 39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SpPr/>
          <p:nvPr/>
        </p:nvSpPr>
        <p:spPr>
          <a:xfrm>
            <a:off x="7589521" y="1409526"/>
            <a:ext cx="4151376" cy="98341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>
              <a:lnSpc>
                <a:spcPct val="130000"/>
              </a:lnSpc>
            </a:pPr>
            <a:r>
              <a:rPr lang="en-US" b="1"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rPr>
              <a:t>Marketing Business Online Support</a:t>
            </a:r>
          </a:p>
          <a:p>
            <a:pPr algn="r">
              <a:lnSpc>
                <a:spcPct val="130000"/>
              </a:lnSpc>
            </a:pPr>
            <a:r>
              <a:rPr lang="en-US" sz="1400"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rPr>
              <a:t>Objectively disintermediate leveraged manufactured products</a:t>
            </a:r>
          </a:p>
        </p:txBody>
      </p:sp>
      <p:sp>
        <p:nvSpPr>
          <p:cNvPr id="17" name="矩形 16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SpPr/>
          <p:nvPr/>
        </p:nvSpPr>
        <p:spPr>
          <a:xfrm>
            <a:off x="537464" y="0"/>
            <a:ext cx="596900" cy="723900"/>
          </a:xfrm>
          <a:prstGeom prst="rect">
            <a:avLst/>
          </a:prstGeom>
          <a:solidFill>
            <a:srgbClr val="002BF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latin typeface="Arial" panose="020B0604020202020204" pitchFamily="34" charset="0"/>
              <a:ea typeface="微软雅黑" panose="020B0503020204020204" pitchFamily="34" charset="-122"/>
              <a:cs typeface="思源黑体 CN Regular" panose="020B0500000000000000" charset="-122"/>
              <a:sym typeface="Arial" panose="020B0604020202020204" pitchFamily="34" charset="0"/>
            </a:endParaRPr>
          </a:p>
        </p:txBody>
      </p:sp>
      <p:sp>
        <p:nvSpPr>
          <p:cNvPr id="18" name="Shape 3891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SpPr/>
          <p:nvPr/>
        </p:nvSpPr>
        <p:spPr>
          <a:xfrm>
            <a:off x="698957" y="162829"/>
            <a:ext cx="279033" cy="279033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8429" y="14128"/>
                </a:moveTo>
                <a:cubicBezTo>
                  <a:pt x="17041" y="13430"/>
                  <a:pt x="15777" y="12523"/>
                  <a:pt x="14684" y="11440"/>
                </a:cubicBezTo>
                <a:cubicBezTo>
                  <a:pt x="15214" y="10618"/>
                  <a:pt x="15664" y="9739"/>
                  <a:pt x="16034" y="8820"/>
                </a:cubicBezTo>
                <a:cubicBezTo>
                  <a:pt x="16089" y="8826"/>
                  <a:pt x="16143" y="8836"/>
                  <a:pt x="16200" y="8836"/>
                </a:cubicBezTo>
                <a:cubicBezTo>
                  <a:pt x="17013" y="8836"/>
                  <a:pt x="17673" y="8178"/>
                  <a:pt x="17673" y="7364"/>
                </a:cubicBezTo>
                <a:cubicBezTo>
                  <a:pt x="17673" y="6787"/>
                  <a:pt x="17339" y="6295"/>
                  <a:pt x="16856" y="6052"/>
                </a:cubicBezTo>
                <a:cubicBezTo>
                  <a:pt x="17033" y="5170"/>
                  <a:pt x="17144" y="4264"/>
                  <a:pt x="17167" y="3336"/>
                </a:cubicBezTo>
                <a:cubicBezTo>
                  <a:pt x="19277" y="5136"/>
                  <a:pt x="20618" y="7809"/>
                  <a:pt x="20618" y="10800"/>
                </a:cubicBezTo>
                <a:cubicBezTo>
                  <a:pt x="20618" y="11764"/>
                  <a:pt x="20469" y="12690"/>
                  <a:pt x="20209" y="13568"/>
                </a:cubicBezTo>
                <a:cubicBezTo>
                  <a:pt x="19628" y="13783"/>
                  <a:pt x="19034" y="13971"/>
                  <a:pt x="18429" y="14128"/>
                </a:cubicBezTo>
                <a:moveTo>
                  <a:pt x="10800" y="20618"/>
                </a:moveTo>
                <a:cubicBezTo>
                  <a:pt x="8406" y="20618"/>
                  <a:pt x="6213" y="19759"/>
                  <a:pt x="4509" y="18335"/>
                </a:cubicBezTo>
                <a:cubicBezTo>
                  <a:pt x="6552" y="17934"/>
                  <a:pt x="8450" y="17135"/>
                  <a:pt x="10128" y="16031"/>
                </a:cubicBezTo>
                <a:cubicBezTo>
                  <a:pt x="10330" y="16136"/>
                  <a:pt x="10556" y="16200"/>
                  <a:pt x="10800" y="16200"/>
                </a:cubicBezTo>
                <a:cubicBezTo>
                  <a:pt x="11273" y="16200"/>
                  <a:pt x="11689" y="15974"/>
                  <a:pt x="11959" y="15627"/>
                </a:cubicBezTo>
                <a:cubicBezTo>
                  <a:pt x="12547" y="15680"/>
                  <a:pt x="13142" y="15709"/>
                  <a:pt x="13745" y="15709"/>
                </a:cubicBezTo>
                <a:cubicBezTo>
                  <a:pt x="15323" y="15709"/>
                  <a:pt x="16852" y="15508"/>
                  <a:pt x="18322" y="15156"/>
                </a:cubicBezTo>
                <a:cubicBezTo>
                  <a:pt x="18660" y="15317"/>
                  <a:pt x="18998" y="15480"/>
                  <a:pt x="19350" y="15618"/>
                </a:cubicBezTo>
                <a:cubicBezTo>
                  <a:pt x="17665" y="18601"/>
                  <a:pt x="14470" y="20618"/>
                  <a:pt x="10800" y="20618"/>
                </a:cubicBezTo>
                <a:moveTo>
                  <a:pt x="3539" y="17393"/>
                </a:moveTo>
                <a:cubicBezTo>
                  <a:pt x="3476" y="16840"/>
                  <a:pt x="3436" y="16280"/>
                  <a:pt x="3436" y="15709"/>
                </a:cubicBezTo>
                <a:cubicBezTo>
                  <a:pt x="3436" y="14764"/>
                  <a:pt x="3536" y="13842"/>
                  <a:pt x="3707" y="12946"/>
                </a:cubicBezTo>
                <a:cubicBezTo>
                  <a:pt x="5455" y="13988"/>
                  <a:pt x="7377" y="14767"/>
                  <a:pt x="9421" y="15227"/>
                </a:cubicBezTo>
                <a:cubicBezTo>
                  <a:pt x="9431" y="15254"/>
                  <a:pt x="9436" y="15282"/>
                  <a:pt x="9447" y="15308"/>
                </a:cubicBezTo>
                <a:cubicBezTo>
                  <a:pt x="7724" y="16421"/>
                  <a:pt x="5761" y="17193"/>
                  <a:pt x="3643" y="17507"/>
                </a:cubicBezTo>
                <a:cubicBezTo>
                  <a:pt x="3608" y="17469"/>
                  <a:pt x="3573" y="17430"/>
                  <a:pt x="3539" y="17393"/>
                </a:cubicBezTo>
                <a:moveTo>
                  <a:pt x="3075" y="11369"/>
                </a:moveTo>
                <a:cubicBezTo>
                  <a:pt x="2361" y="10869"/>
                  <a:pt x="1683" y="10322"/>
                  <a:pt x="1046" y="9729"/>
                </a:cubicBezTo>
                <a:cubicBezTo>
                  <a:pt x="1528" y="5299"/>
                  <a:pt x="4955" y="1762"/>
                  <a:pt x="9331" y="1104"/>
                </a:cubicBezTo>
                <a:cubicBezTo>
                  <a:pt x="9335" y="1629"/>
                  <a:pt x="9363" y="2148"/>
                  <a:pt x="9417" y="2660"/>
                </a:cubicBezTo>
                <a:cubicBezTo>
                  <a:pt x="8572" y="3227"/>
                  <a:pt x="7787" y="3879"/>
                  <a:pt x="7069" y="4597"/>
                </a:cubicBezTo>
                <a:cubicBezTo>
                  <a:pt x="6863" y="4486"/>
                  <a:pt x="6632" y="4418"/>
                  <a:pt x="6382" y="4418"/>
                </a:cubicBezTo>
                <a:cubicBezTo>
                  <a:pt x="5569" y="4418"/>
                  <a:pt x="4909" y="5078"/>
                  <a:pt x="4909" y="5891"/>
                </a:cubicBezTo>
                <a:cubicBezTo>
                  <a:pt x="4909" y="6236"/>
                  <a:pt x="5033" y="6549"/>
                  <a:pt x="5231" y="6800"/>
                </a:cubicBezTo>
                <a:cubicBezTo>
                  <a:pt x="4279" y="8179"/>
                  <a:pt x="3550" y="9719"/>
                  <a:pt x="3075" y="11369"/>
                </a:cubicBezTo>
                <a:moveTo>
                  <a:pt x="2466" y="15973"/>
                </a:moveTo>
                <a:cubicBezTo>
                  <a:pt x="1563" y="14521"/>
                  <a:pt x="1025" y="12821"/>
                  <a:pt x="989" y="10995"/>
                </a:cubicBezTo>
                <a:cubicBezTo>
                  <a:pt x="1570" y="11492"/>
                  <a:pt x="2180" y="11955"/>
                  <a:pt x="2817" y="12383"/>
                </a:cubicBezTo>
                <a:cubicBezTo>
                  <a:pt x="2585" y="13456"/>
                  <a:pt x="2455" y="14567"/>
                  <a:pt x="2455" y="15709"/>
                </a:cubicBezTo>
                <a:cubicBezTo>
                  <a:pt x="2455" y="15798"/>
                  <a:pt x="2464" y="15885"/>
                  <a:pt x="2466" y="15973"/>
                </a:cubicBezTo>
                <a:moveTo>
                  <a:pt x="13428" y="11540"/>
                </a:moveTo>
                <a:cubicBezTo>
                  <a:pt x="12907" y="12264"/>
                  <a:pt x="12315" y="12931"/>
                  <a:pt x="11674" y="13548"/>
                </a:cubicBezTo>
                <a:cubicBezTo>
                  <a:pt x="11429" y="13366"/>
                  <a:pt x="11129" y="13255"/>
                  <a:pt x="10800" y="13255"/>
                </a:cubicBezTo>
                <a:cubicBezTo>
                  <a:pt x="10166" y="13255"/>
                  <a:pt x="9631" y="13657"/>
                  <a:pt x="9423" y="14218"/>
                </a:cubicBezTo>
                <a:cubicBezTo>
                  <a:pt x="7455" y="13751"/>
                  <a:pt x="5607" y="12974"/>
                  <a:pt x="3936" y="11937"/>
                </a:cubicBezTo>
                <a:cubicBezTo>
                  <a:pt x="4379" y="10266"/>
                  <a:pt x="5100" y="8709"/>
                  <a:pt x="6060" y="7326"/>
                </a:cubicBezTo>
                <a:cubicBezTo>
                  <a:pt x="6164" y="7349"/>
                  <a:pt x="6271" y="7364"/>
                  <a:pt x="6382" y="7364"/>
                </a:cubicBezTo>
                <a:cubicBezTo>
                  <a:pt x="7195" y="7364"/>
                  <a:pt x="7855" y="6705"/>
                  <a:pt x="7855" y="5891"/>
                </a:cubicBezTo>
                <a:cubicBezTo>
                  <a:pt x="7855" y="5688"/>
                  <a:pt x="7813" y="5494"/>
                  <a:pt x="7739" y="5318"/>
                </a:cubicBezTo>
                <a:cubicBezTo>
                  <a:pt x="8307" y="4747"/>
                  <a:pt x="8920" y="4221"/>
                  <a:pt x="9575" y="3749"/>
                </a:cubicBezTo>
                <a:cubicBezTo>
                  <a:pt x="10104" y="6723"/>
                  <a:pt x="11479" y="9397"/>
                  <a:pt x="13428" y="11540"/>
                </a:cubicBezTo>
                <a:moveTo>
                  <a:pt x="10800" y="982"/>
                </a:moveTo>
                <a:cubicBezTo>
                  <a:pt x="11347" y="982"/>
                  <a:pt x="11881" y="1038"/>
                  <a:pt x="12403" y="1125"/>
                </a:cubicBezTo>
                <a:cubicBezTo>
                  <a:pt x="11696" y="1401"/>
                  <a:pt x="11005" y="1708"/>
                  <a:pt x="10354" y="2082"/>
                </a:cubicBezTo>
                <a:cubicBezTo>
                  <a:pt x="10328" y="1726"/>
                  <a:pt x="10311" y="1368"/>
                  <a:pt x="10310" y="1007"/>
                </a:cubicBezTo>
                <a:cubicBezTo>
                  <a:pt x="10474" y="999"/>
                  <a:pt x="10635" y="982"/>
                  <a:pt x="10800" y="982"/>
                </a:cubicBezTo>
                <a:moveTo>
                  <a:pt x="14120" y="12262"/>
                </a:moveTo>
                <a:cubicBezTo>
                  <a:pt x="14982" y="13097"/>
                  <a:pt x="15950" y="13819"/>
                  <a:pt x="16986" y="14440"/>
                </a:cubicBezTo>
                <a:cubicBezTo>
                  <a:pt x="15933" y="14626"/>
                  <a:pt x="14852" y="14727"/>
                  <a:pt x="13745" y="14727"/>
                </a:cubicBezTo>
                <a:cubicBezTo>
                  <a:pt x="13246" y="14727"/>
                  <a:pt x="12754" y="14702"/>
                  <a:pt x="12265" y="14664"/>
                </a:cubicBezTo>
                <a:cubicBezTo>
                  <a:pt x="12259" y="14569"/>
                  <a:pt x="12250" y="14475"/>
                  <a:pt x="12229" y="14386"/>
                </a:cubicBezTo>
                <a:cubicBezTo>
                  <a:pt x="12921" y="13737"/>
                  <a:pt x="13555" y="13027"/>
                  <a:pt x="14120" y="12262"/>
                </a:cubicBezTo>
                <a:moveTo>
                  <a:pt x="16188" y="2597"/>
                </a:moveTo>
                <a:cubicBezTo>
                  <a:pt x="16191" y="2713"/>
                  <a:pt x="16200" y="2828"/>
                  <a:pt x="16200" y="2945"/>
                </a:cubicBezTo>
                <a:cubicBezTo>
                  <a:pt x="16200" y="3967"/>
                  <a:pt x="16092" y="4962"/>
                  <a:pt x="15894" y="5924"/>
                </a:cubicBezTo>
                <a:cubicBezTo>
                  <a:pt x="15227" y="6065"/>
                  <a:pt x="14727" y="6656"/>
                  <a:pt x="14727" y="7364"/>
                </a:cubicBezTo>
                <a:cubicBezTo>
                  <a:pt x="14727" y="7765"/>
                  <a:pt x="14888" y="8128"/>
                  <a:pt x="15149" y="8393"/>
                </a:cubicBezTo>
                <a:cubicBezTo>
                  <a:pt x="14827" y="9199"/>
                  <a:pt x="14443" y="9974"/>
                  <a:pt x="13991" y="10701"/>
                </a:cubicBezTo>
                <a:cubicBezTo>
                  <a:pt x="12159" y="8620"/>
                  <a:pt x="10894" y="6025"/>
                  <a:pt x="10469" y="3152"/>
                </a:cubicBezTo>
                <a:cubicBezTo>
                  <a:pt x="11590" y="2463"/>
                  <a:pt x="12813" y="1934"/>
                  <a:pt x="14106" y="1565"/>
                </a:cubicBezTo>
                <a:cubicBezTo>
                  <a:pt x="14844" y="1829"/>
                  <a:pt x="15544" y="2174"/>
                  <a:pt x="16188" y="2597"/>
                </a:cubicBezTo>
                <a:moveTo>
                  <a:pt x="10800" y="0"/>
                </a:moveTo>
                <a:cubicBezTo>
                  <a:pt x="4835" y="0"/>
                  <a:pt x="0" y="4835"/>
                  <a:pt x="0" y="10800"/>
                </a:cubicBezTo>
                <a:cubicBezTo>
                  <a:pt x="0" y="16765"/>
                  <a:pt x="4835" y="21600"/>
                  <a:pt x="10800" y="21600"/>
                </a:cubicBezTo>
                <a:cubicBezTo>
                  <a:pt x="16765" y="21600"/>
                  <a:pt x="21600" y="16765"/>
                  <a:pt x="21600" y="10800"/>
                </a:cubicBezTo>
                <a:cubicBezTo>
                  <a:pt x="21600" y="4835"/>
                  <a:pt x="16765" y="0"/>
                  <a:pt x="10800" y="0"/>
                </a:cubicBezTo>
              </a:path>
            </a:pathLst>
          </a:custGeom>
          <a:solidFill>
            <a:schemeClr val="bg1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endParaRPr>
              <a:solidFill>
                <a:prstClr val="black"/>
              </a:solidFill>
              <a:latin typeface="Arial" panose="020B0604020202020204" pitchFamily="34" charset="0"/>
              <a:ea typeface="微软雅黑" panose="020B0503020204020204" pitchFamily="34" charset="-122"/>
              <a:cs typeface="思源黑体 CN Regular" panose="020B0500000000000000" charset="-122"/>
              <a:sym typeface="Arial" panose="020B0604020202020204" pitchFamily="34" charset="0"/>
            </a:endParaRPr>
          </a:p>
        </p:txBody>
      </p:sp>
      <p:sp>
        <p:nvSpPr>
          <p:cNvPr id="19" name="文本框 18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SpPr txBox="1"/>
          <p:nvPr/>
        </p:nvSpPr>
        <p:spPr>
          <a:xfrm>
            <a:off x="554398" y="448734"/>
            <a:ext cx="572593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1050">
                <a:solidFill>
                  <a:schemeClr val="bg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rPr>
              <a:t>LOGO</a:t>
            </a:r>
            <a:endParaRPr lang="zh-CN" altLang="en-US" sz="1050">
              <a:solidFill>
                <a:schemeClr val="bg1"/>
              </a:solidFill>
              <a:latin typeface="Arial" panose="020B0604020202020204" pitchFamily="34" charset="0"/>
              <a:ea typeface="微软雅黑" panose="020B0503020204020204" pitchFamily="34" charset="-122"/>
              <a:cs typeface="思源黑体 CN Regular" panose="020B0500000000000000" charset="-122"/>
              <a:sym typeface="Arial" panose="020B0604020202020204" pitchFamily="34" charset="0"/>
            </a:endParaRPr>
          </a:p>
        </p:txBody>
      </p:sp>
      <p:sp>
        <p:nvSpPr>
          <p:cNvPr id="7" name="e7d195523061f1c0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 hidden="1"/>
          <p:cNvSpPr txBox="1"/>
          <p:nvPr/>
        </p:nvSpPr>
        <p:spPr>
          <a:xfrm>
            <a:off x="-355600" y="1803400"/>
            <a:ext cx="284693" cy="1016000"/>
          </a:xfrm>
          <a:prstGeom prst="rect">
            <a:avLst/>
          </a:prstGeom>
          <a:noFill/>
        </p:spPr>
        <p:txBody>
          <a:bodyPr vert="wordArtVert" rtlCol="0">
            <a:spAutoFit/>
          </a:bodyPr>
          <a:lstStyle/>
          <a:p>
            <a:r>
              <a:rPr lang="en-US" altLang="zh-CN" sz="100"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rPr>
              <a:t>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</a:t>
            </a:r>
            <a:endParaRPr lang="zh-CN" altLang="en-US" sz="100">
              <a:latin typeface="Arial" panose="020B0604020202020204" pitchFamily="34" charset="0"/>
              <a:ea typeface="微软雅黑" panose="020B0503020204020204" pitchFamily="34" charset="-122"/>
              <a:cs typeface="思源黑体 CN Regular" panose="020B0500000000000000" charset="-122"/>
              <a:sym typeface="Arial" panose="020B0604020202020204" pitchFamily="34" charset="0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random/>
      </p:transition>
    </mc:Choice>
    <mc:Fallback xmlns:p159="http://schemas.microsoft.com/office/powerpoint/2015/09/main" xmlns:p15="http://schemas.microsoft.com/office/powerpoint/2012/main" xmlns:a14="http://schemas.microsoft.com/office/drawing/2010/main" xmlns:wp="http://schemas.openxmlformats.org/drawingml/2006/wordprocessingDrawing" xmlns:w="http://schemas.openxmlformats.org/wordprocessingml/2006/main" xmlns:m="http://schemas.openxmlformats.org/officeDocument/2006/math" xmlns="">
      <p:transition spd="slow">
        <p:random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37" dur="50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Vertical)">
                                      <p:cBhvr>
                                        <p:cTn id="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6" presetClass="entr" presetSubtype="37" dur="5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Vertical)">
                                      <p:cBhvr>
                                        <p:cTn id="10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 nodeType="clickPar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6" presetClass="entr" presetSubtype="16" dur="2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5" dur="2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 nodeType="clickPar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6" presetClass="entr" presetSubtype="16" dur="2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20" dur="2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6" presetClass="entr" presetSubtype="16" dur="2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23" dur="2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1" grpId="0"/>
      <p:bldP spid="16" grpId="0"/>
    </p:bld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3597">
              <a:schemeClr val="bg1">
                <a:lumMod val="95000"/>
              </a:schemeClr>
            </a:gs>
            <a:gs pos="99000">
              <a:srgbClr val="595959">
                <a:alpha val="52000"/>
              </a:srgbClr>
            </a:gs>
            <a:gs pos="57000">
              <a:srgbClr val="C8C8C8">
                <a:alpha val="66000"/>
              </a:srgbClr>
            </a:gs>
          </a:gsLst>
          <a:path path="circle">
            <a:fillToRect l="50000" t="50000" r="50000" b="50000"/>
          </a:path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5" name="Group 34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GrpSpPr/>
          <p:nvPr/>
        </p:nvGrpSpPr>
        <p:grpSpPr>
          <a:xfrm>
            <a:off x="8426832" y="4218591"/>
            <a:ext cx="587465" cy="587465"/>
            <a:chOff x="6284686" y="7388993"/>
            <a:chExt cx="881198" cy="881198"/>
          </a:xfrm>
        </p:grpSpPr>
        <p:sp>
          <p:nvSpPr>
            <p:cNvPr id="36" name="Oval 35"/>
            <p:cNvSpPr/>
            <p:nvPr/>
          </p:nvSpPr>
          <p:spPr>
            <a:xfrm>
              <a:off x="6284686" y="7388993"/>
              <a:ext cx="881198" cy="881198"/>
            </a:xfrm>
            <a:prstGeom prst="ellipse">
              <a:avLst/>
            </a:prstGeom>
            <a:solidFill>
              <a:schemeClr val="bg1"/>
            </a:solidFill>
            <a:ln w="25400" cap="rnd">
              <a:noFill/>
              <a:round/>
            </a:ln>
            <a:effectLst>
              <a:outerShdw blurRad="495300" dist="342900" dir="2700000" algn="tl" rotWithShape="0">
                <a:prstClr val="black">
                  <a:alpha val="9000"/>
                </a:prst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200"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endParaRPr>
            </a:p>
          </p:txBody>
        </p:sp>
        <p:grpSp>
          <p:nvGrpSpPr>
            <p:cNvPr id="37" name="Group 36"/>
            <p:cNvGrpSpPr>
              <a:grpSpLocks noChangeAspect="1"/>
            </p:cNvGrpSpPr>
            <p:nvPr/>
          </p:nvGrpSpPr>
          <p:grpSpPr>
            <a:xfrm>
              <a:off x="6586940" y="7692432"/>
              <a:ext cx="276689" cy="274320"/>
              <a:chOff x="7218418" y="1427048"/>
              <a:chExt cx="1291213" cy="1280160"/>
            </a:xfrm>
            <a:solidFill>
              <a:schemeClr val="tx1"/>
            </a:solidFill>
          </p:grpSpPr>
          <p:sp>
            <p:nvSpPr>
              <p:cNvPr id="38" name="Freeform 371"/>
              <p:cNvSpPr>
                <a:spLocks noEditPoints="1"/>
              </p:cNvSpPr>
              <p:nvPr/>
            </p:nvSpPr>
            <p:spPr bwMode="auto">
              <a:xfrm>
                <a:off x="7384241" y="1608349"/>
                <a:ext cx="134871" cy="119393"/>
              </a:xfrm>
              <a:custGeom>
                <a:avLst/>
                <a:gdLst>
                  <a:gd name="T0" fmla="*/ 79 w 158"/>
                  <a:gd name="T1" fmla="*/ 0 h 144"/>
                  <a:gd name="T2" fmla="*/ 28 w 158"/>
                  <a:gd name="T3" fmla="*/ 21 h 144"/>
                  <a:gd name="T4" fmla="*/ 28 w 158"/>
                  <a:gd name="T5" fmla="*/ 123 h 144"/>
                  <a:gd name="T6" fmla="*/ 79 w 158"/>
                  <a:gd name="T7" fmla="*/ 144 h 144"/>
                  <a:gd name="T8" fmla="*/ 130 w 158"/>
                  <a:gd name="T9" fmla="*/ 123 h 144"/>
                  <a:gd name="T10" fmla="*/ 130 w 158"/>
                  <a:gd name="T11" fmla="*/ 21 h 144"/>
                  <a:gd name="T12" fmla="*/ 79 w 158"/>
                  <a:gd name="T13" fmla="*/ 0 h 144"/>
                  <a:gd name="T14" fmla="*/ 96 w 158"/>
                  <a:gd name="T15" fmla="*/ 89 h 144"/>
                  <a:gd name="T16" fmla="*/ 79 w 158"/>
                  <a:gd name="T17" fmla="*/ 96 h 144"/>
                  <a:gd name="T18" fmla="*/ 62 w 158"/>
                  <a:gd name="T19" fmla="*/ 89 h 144"/>
                  <a:gd name="T20" fmla="*/ 62 w 158"/>
                  <a:gd name="T21" fmla="*/ 55 h 144"/>
                  <a:gd name="T22" fmla="*/ 79 w 158"/>
                  <a:gd name="T23" fmla="*/ 48 h 144"/>
                  <a:gd name="T24" fmla="*/ 96 w 158"/>
                  <a:gd name="T25" fmla="*/ 55 h 144"/>
                  <a:gd name="T26" fmla="*/ 96 w 158"/>
                  <a:gd name="T27" fmla="*/ 89 h 144"/>
                  <a:gd name="T28" fmla="*/ 96 w 158"/>
                  <a:gd name="T29" fmla="*/ 89 h 144"/>
                  <a:gd name="T30" fmla="*/ 96 w 158"/>
                  <a:gd name="T31" fmla="*/ 89 h 1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158" h="144">
                    <a:moveTo>
                      <a:pt x="79" y="0"/>
                    </a:moveTo>
                    <a:cubicBezTo>
                      <a:pt x="60" y="0"/>
                      <a:pt x="42" y="8"/>
                      <a:pt x="28" y="21"/>
                    </a:cubicBezTo>
                    <a:cubicBezTo>
                      <a:pt x="0" y="49"/>
                      <a:pt x="0" y="95"/>
                      <a:pt x="28" y="123"/>
                    </a:cubicBezTo>
                    <a:cubicBezTo>
                      <a:pt x="42" y="137"/>
                      <a:pt x="60" y="144"/>
                      <a:pt x="79" y="144"/>
                    </a:cubicBezTo>
                    <a:cubicBezTo>
                      <a:pt x="98" y="144"/>
                      <a:pt x="116" y="137"/>
                      <a:pt x="130" y="123"/>
                    </a:cubicBezTo>
                    <a:cubicBezTo>
                      <a:pt x="158" y="95"/>
                      <a:pt x="158" y="49"/>
                      <a:pt x="130" y="21"/>
                    </a:cubicBezTo>
                    <a:cubicBezTo>
                      <a:pt x="116" y="8"/>
                      <a:pt x="98" y="0"/>
                      <a:pt x="79" y="0"/>
                    </a:cubicBezTo>
                    <a:close/>
                    <a:moveTo>
                      <a:pt x="96" y="89"/>
                    </a:moveTo>
                    <a:cubicBezTo>
                      <a:pt x="91" y="94"/>
                      <a:pt x="85" y="96"/>
                      <a:pt x="79" y="96"/>
                    </a:cubicBezTo>
                    <a:cubicBezTo>
                      <a:pt x="72" y="96"/>
                      <a:pt x="66" y="94"/>
                      <a:pt x="62" y="89"/>
                    </a:cubicBezTo>
                    <a:cubicBezTo>
                      <a:pt x="53" y="80"/>
                      <a:pt x="53" y="64"/>
                      <a:pt x="62" y="55"/>
                    </a:cubicBezTo>
                    <a:cubicBezTo>
                      <a:pt x="66" y="51"/>
                      <a:pt x="72" y="48"/>
                      <a:pt x="79" y="48"/>
                    </a:cubicBezTo>
                    <a:cubicBezTo>
                      <a:pt x="85" y="48"/>
                      <a:pt x="91" y="51"/>
                      <a:pt x="96" y="55"/>
                    </a:cubicBezTo>
                    <a:cubicBezTo>
                      <a:pt x="105" y="64"/>
                      <a:pt x="105" y="80"/>
                      <a:pt x="96" y="89"/>
                    </a:cubicBezTo>
                    <a:close/>
                    <a:moveTo>
                      <a:pt x="96" y="89"/>
                    </a:moveTo>
                    <a:cubicBezTo>
                      <a:pt x="96" y="89"/>
                      <a:pt x="96" y="89"/>
                      <a:pt x="96" y="89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60960" tIns="30480" rIns="60960" bIns="30480" numCol="1" anchor="t" anchorCtr="0" compatLnSpc="1"/>
              <a:lstStyle/>
              <a:p>
                <a:endParaRPr lang="ko-KR" altLang="en-US" sz="1200">
                  <a:latin typeface="Arial" panose="020B0604020202020204" pitchFamily="34" charset="0"/>
                  <a:cs typeface="思源黑体 CN Regular" panose="020B0500000000000000" charset="-122"/>
                  <a:sym typeface="Arial" panose="020B0604020202020204" pitchFamily="34" charset="0"/>
                </a:endParaRPr>
              </a:p>
            </p:txBody>
          </p:sp>
          <p:sp>
            <p:nvSpPr>
              <p:cNvPr id="39" name="Freeform 372"/>
              <p:cNvSpPr>
                <a:spLocks noEditPoints="1"/>
              </p:cNvSpPr>
              <p:nvPr/>
            </p:nvSpPr>
            <p:spPr bwMode="auto">
              <a:xfrm>
                <a:off x="8200094" y="2415358"/>
                <a:ext cx="134871" cy="121605"/>
              </a:xfrm>
              <a:custGeom>
                <a:avLst/>
                <a:gdLst>
                  <a:gd name="T0" fmla="*/ 79 w 158"/>
                  <a:gd name="T1" fmla="*/ 144 h 144"/>
                  <a:gd name="T2" fmla="*/ 130 w 158"/>
                  <a:gd name="T3" fmla="*/ 123 h 144"/>
                  <a:gd name="T4" fmla="*/ 130 w 158"/>
                  <a:gd name="T5" fmla="*/ 21 h 144"/>
                  <a:gd name="T6" fmla="*/ 79 w 158"/>
                  <a:gd name="T7" fmla="*/ 0 h 144"/>
                  <a:gd name="T8" fmla="*/ 28 w 158"/>
                  <a:gd name="T9" fmla="*/ 21 h 144"/>
                  <a:gd name="T10" fmla="*/ 28 w 158"/>
                  <a:gd name="T11" fmla="*/ 123 h 144"/>
                  <a:gd name="T12" fmla="*/ 79 w 158"/>
                  <a:gd name="T13" fmla="*/ 144 h 144"/>
                  <a:gd name="T14" fmla="*/ 62 w 158"/>
                  <a:gd name="T15" fmla="*/ 55 h 144"/>
                  <a:gd name="T16" fmla="*/ 79 w 158"/>
                  <a:gd name="T17" fmla="*/ 48 h 144"/>
                  <a:gd name="T18" fmla="*/ 96 w 158"/>
                  <a:gd name="T19" fmla="*/ 55 h 144"/>
                  <a:gd name="T20" fmla="*/ 96 w 158"/>
                  <a:gd name="T21" fmla="*/ 89 h 144"/>
                  <a:gd name="T22" fmla="*/ 79 w 158"/>
                  <a:gd name="T23" fmla="*/ 96 h 144"/>
                  <a:gd name="T24" fmla="*/ 62 w 158"/>
                  <a:gd name="T25" fmla="*/ 89 h 144"/>
                  <a:gd name="T26" fmla="*/ 62 w 158"/>
                  <a:gd name="T27" fmla="*/ 55 h 144"/>
                  <a:gd name="T28" fmla="*/ 62 w 158"/>
                  <a:gd name="T29" fmla="*/ 55 h 144"/>
                  <a:gd name="T30" fmla="*/ 62 w 158"/>
                  <a:gd name="T31" fmla="*/ 55 h 1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158" h="144">
                    <a:moveTo>
                      <a:pt x="79" y="144"/>
                    </a:moveTo>
                    <a:cubicBezTo>
                      <a:pt x="98" y="144"/>
                      <a:pt x="116" y="137"/>
                      <a:pt x="130" y="123"/>
                    </a:cubicBezTo>
                    <a:cubicBezTo>
                      <a:pt x="158" y="95"/>
                      <a:pt x="158" y="49"/>
                      <a:pt x="130" y="21"/>
                    </a:cubicBezTo>
                    <a:cubicBezTo>
                      <a:pt x="116" y="8"/>
                      <a:pt x="98" y="0"/>
                      <a:pt x="79" y="0"/>
                    </a:cubicBezTo>
                    <a:cubicBezTo>
                      <a:pt x="60" y="0"/>
                      <a:pt x="42" y="8"/>
                      <a:pt x="28" y="21"/>
                    </a:cubicBezTo>
                    <a:cubicBezTo>
                      <a:pt x="0" y="49"/>
                      <a:pt x="0" y="95"/>
                      <a:pt x="28" y="123"/>
                    </a:cubicBezTo>
                    <a:cubicBezTo>
                      <a:pt x="42" y="137"/>
                      <a:pt x="60" y="144"/>
                      <a:pt x="79" y="144"/>
                    </a:cubicBezTo>
                    <a:close/>
                    <a:moveTo>
                      <a:pt x="62" y="55"/>
                    </a:moveTo>
                    <a:cubicBezTo>
                      <a:pt x="67" y="51"/>
                      <a:pt x="73" y="48"/>
                      <a:pt x="79" y="48"/>
                    </a:cubicBezTo>
                    <a:cubicBezTo>
                      <a:pt x="86" y="48"/>
                      <a:pt x="92" y="51"/>
                      <a:pt x="96" y="55"/>
                    </a:cubicBezTo>
                    <a:cubicBezTo>
                      <a:pt x="105" y="65"/>
                      <a:pt x="105" y="80"/>
                      <a:pt x="96" y="89"/>
                    </a:cubicBezTo>
                    <a:cubicBezTo>
                      <a:pt x="92" y="94"/>
                      <a:pt x="86" y="96"/>
                      <a:pt x="79" y="96"/>
                    </a:cubicBezTo>
                    <a:cubicBezTo>
                      <a:pt x="73" y="96"/>
                      <a:pt x="67" y="94"/>
                      <a:pt x="62" y="89"/>
                    </a:cubicBezTo>
                    <a:cubicBezTo>
                      <a:pt x="53" y="80"/>
                      <a:pt x="53" y="65"/>
                      <a:pt x="62" y="55"/>
                    </a:cubicBezTo>
                    <a:close/>
                    <a:moveTo>
                      <a:pt x="62" y="55"/>
                    </a:moveTo>
                    <a:cubicBezTo>
                      <a:pt x="62" y="55"/>
                      <a:pt x="62" y="55"/>
                      <a:pt x="62" y="55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60960" tIns="30480" rIns="60960" bIns="30480" numCol="1" anchor="t" anchorCtr="0" compatLnSpc="1"/>
              <a:lstStyle/>
              <a:p>
                <a:endParaRPr lang="ko-KR" altLang="en-US" sz="1200">
                  <a:latin typeface="Arial" panose="020B0604020202020204" pitchFamily="34" charset="0"/>
                  <a:cs typeface="思源黑体 CN Regular" panose="020B0500000000000000" charset="-122"/>
                  <a:sym typeface="Arial" panose="020B0604020202020204" pitchFamily="34" charset="0"/>
                </a:endParaRPr>
              </a:p>
            </p:txBody>
          </p:sp>
          <p:sp>
            <p:nvSpPr>
              <p:cNvPr id="40" name="Freeform 373"/>
              <p:cNvSpPr>
                <a:spLocks noEditPoints="1"/>
              </p:cNvSpPr>
              <p:nvPr/>
            </p:nvSpPr>
            <p:spPr bwMode="auto">
              <a:xfrm>
                <a:off x="7218418" y="1435892"/>
                <a:ext cx="634552" cy="627919"/>
              </a:xfrm>
              <a:custGeom>
                <a:avLst/>
                <a:gdLst>
                  <a:gd name="T0" fmla="*/ 443 w 746"/>
                  <a:gd name="T1" fmla="*/ 703 h 744"/>
                  <a:gd name="T2" fmla="*/ 60 w 746"/>
                  <a:gd name="T3" fmla="*/ 320 h 744"/>
                  <a:gd name="T4" fmla="*/ 320 w 746"/>
                  <a:gd name="T5" fmla="*/ 60 h 744"/>
                  <a:gd name="T6" fmla="*/ 490 w 746"/>
                  <a:gd name="T7" fmla="*/ 230 h 744"/>
                  <a:gd name="T8" fmla="*/ 416 w 746"/>
                  <a:gd name="T9" fmla="*/ 303 h 744"/>
                  <a:gd name="T10" fmla="*/ 416 w 746"/>
                  <a:gd name="T11" fmla="*/ 337 h 744"/>
                  <a:gd name="T12" fmla="*/ 433 w 746"/>
                  <a:gd name="T13" fmla="*/ 344 h 744"/>
                  <a:gd name="T14" fmla="*/ 450 w 746"/>
                  <a:gd name="T15" fmla="*/ 337 h 744"/>
                  <a:gd name="T16" fmla="*/ 524 w 746"/>
                  <a:gd name="T17" fmla="*/ 264 h 744"/>
                  <a:gd name="T18" fmla="*/ 588 w 746"/>
                  <a:gd name="T19" fmla="*/ 328 h 744"/>
                  <a:gd name="T20" fmla="*/ 514 w 746"/>
                  <a:gd name="T21" fmla="*/ 402 h 744"/>
                  <a:gd name="T22" fmla="*/ 514 w 746"/>
                  <a:gd name="T23" fmla="*/ 435 h 744"/>
                  <a:gd name="T24" fmla="*/ 531 w 746"/>
                  <a:gd name="T25" fmla="*/ 442 h 744"/>
                  <a:gd name="T26" fmla="*/ 548 w 746"/>
                  <a:gd name="T27" fmla="*/ 435 h 744"/>
                  <a:gd name="T28" fmla="*/ 622 w 746"/>
                  <a:gd name="T29" fmla="*/ 362 h 744"/>
                  <a:gd name="T30" fmla="*/ 686 w 746"/>
                  <a:gd name="T31" fmla="*/ 426 h 744"/>
                  <a:gd name="T32" fmla="*/ 613 w 746"/>
                  <a:gd name="T33" fmla="*/ 500 h 744"/>
                  <a:gd name="T34" fmla="*/ 613 w 746"/>
                  <a:gd name="T35" fmla="*/ 534 h 744"/>
                  <a:gd name="T36" fmla="*/ 630 w 746"/>
                  <a:gd name="T37" fmla="*/ 541 h 744"/>
                  <a:gd name="T38" fmla="*/ 647 w 746"/>
                  <a:gd name="T39" fmla="*/ 534 h 744"/>
                  <a:gd name="T40" fmla="*/ 737 w 746"/>
                  <a:gd name="T41" fmla="*/ 443 h 744"/>
                  <a:gd name="T42" fmla="*/ 737 w 746"/>
                  <a:gd name="T43" fmla="*/ 409 h 744"/>
                  <a:gd name="T44" fmla="*/ 337 w 746"/>
                  <a:gd name="T45" fmla="*/ 9 h 744"/>
                  <a:gd name="T46" fmla="*/ 303 w 746"/>
                  <a:gd name="T47" fmla="*/ 9 h 744"/>
                  <a:gd name="T48" fmla="*/ 9 w 746"/>
                  <a:gd name="T49" fmla="*/ 303 h 744"/>
                  <a:gd name="T50" fmla="*/ 9 w 746"/>
                  <a:gd name="T51" fmla="*/ 337 h 744"/>
                  <a:gd name="T52" fmla="*/ 409 w 746"/>
                  <a:gd name="T53" fmla="*/ 737 h 744"/>
                  <a:gd name="T54" fmla="*/ 426 w 746"/>
                  <a:gd name="T55" fmla="*/ 744 h 744"/>
                  <a:gd name="T56" fmla="*/ 443 w 746"/>
                  <a:gd name="T57" fmla="*/ 737 h 744"/>
                  <a:gd name="T58" fmla="*/ 443 w 746"/>
                  <a:gd name="T59" fmla="*/ 703 h 744"/>
                  <a:gd name="T60" fmla="*/ 443 w 746"/>
                  <a:gd name="T61" fmla="*/ 703 h 744"/>
                  <a:gd name="T62" fmla="*/ 443 w 746"/>
                  <a:gd name="T63" fmla="*/ 703 h 7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746" h="744">
                    <a:moveTo>
                      <a:pt x="443" y="703"/>
                    </a:moveTo>
                    <a:cubicBezTo>
                      <a:pt x="60" y="320"/>
                      <a:pt x="60" y="320"/>
                      <a:pt x="60" y="320"/>
                    </a:cubicBezTo>
                    <a:cubicBezTo>
                      <a:pt x="320" y="60"/>
                      <a:pt x="320" y="60"/>
                      <a:pt x="320" y="60"/>
                    </a:cubicBezTo>
                    <a:cubicBezTo>
                      <a:pt x="490" y="230"/>
                      <a:pt x="490" y="230"/>
                      <a:pt x="490" y="230"/>
                    </a:cubicBezTo>
                    <a:cubicBezTo>
                      <a:pt x="416" y="303"/>
                      <a:pt x="416" y="303"/>
                      <a:pt x="416" y="303"/>
                    </a:cubicBezTo>
                    <a:cubicBezTo>
                      <a:pt x="407" y="313"/>
                      <a:pt x="407" y="328"/>
                      <a:pt x="416" y="337"/>
                    </a:cubicBezTo>
                    <a:cubicBezTo>
                      <a:pt x="421" y="342"/>
                      <a:pt x="427" y="344"/>
                      <a:pt x="433" y="344"/>
                    </a:cubicBezTo>
                    <a:cubicBezTo>
                      <a:pt x="439" y="344"/>
                      <a:pt x="446" y="342"/>
                      <a:pt x="450" y="337"/>
                    </a:cubicBezTo>
                    <a:cubicBezTo>
                      <a:pt x="524" y="264"/>
                      <a:pt x="524" y="264"/>
                      <a:pt x="524" y="264"/>
                    </a:cubicBezTo>
                    <a:cubicBezTo>
                      <a:pt x="588" y="328"/>
                      <a:pt x="588" y="328"/>
                      <a:pt x="588" y="328"/>
                    </a:cubicBezTo>
                    <a:cubicBezTo>
                      <a:pt x="514" y="402"/>
                      <a:pt x="514" y="402"/>
                      <a:pt x="514" y="402"/>
                    </a:cubicBezTo>
                    <a:cubicBezTo>
                      <a:pt x="505" y="411"/>
                      <a:pt x="505" y="426"/>
                      <a:pt x="514" y="435"/>
                    </a:cubicBezTo>
                    <a:cubicBezTo>
                      <a:pt x="519" y="440"/>
                      <a:pt x="525" y="442"/>
                      <a:pt x="531" y="442"/>
                    </a:cubicBezTo>
                    <a:cubicBezTo>
                      <a:pt x="538" y="442"/>
                      <a:pt x="544" y="440"/>
                      <a:pt x="548" y="435"/>
                    </a:cubicBezTo>
                    <a:cubicBezTo>
                      <a:pt x="622" y="362"/>
                      <a:pt x="622" y="362"/>
                      <a:pt x="622" y="362"/>
                    </a:cubicBezTo>
                    <a:cubicBezTo>
                      <a:pt x="686" y="426"/>
                      <a:pt x="686" y="426"/>
                      <a:pt x="686" y="426"/>
                    </a:cubicBezTo>
                    <a:cubicBezTo>
                      <a:pt x="613" y="500"/>
                      <a:pt x="613" y="500"/>
                      <a:pt x="613" y="500"/>
                    </a:cubicBezTo>
                    <a:cubicBezTo>
                      <a:pt x="603" y="509"/>
                      <a:pt x="603" y="524"/>
                      <a:pt x="613" y="534"/>
                    </a:cubicBezTo>
                    <a:cubicBezTo>
                      <a:pt x="617" y="538"/>
                      <a:pt x="623" y="541"/>
                      <a:pt x="630" y="541"/>
                    </a:cubicBezTo>
                    <a:cubicBezTo>
                      <a:pt x="636" y="541"/>
                      <a:pt x="642" y="538"/>
                      <a:pt x="647" y="534"/>
                    </a:cubicBezTo>
                    <a:cubicBezTo>
                      <a:pt x="737" y="443"/>
                      <a:pt x="737" y="443"/>
                      <a:pt x="737" y="443"/>
                    </a:cubicBezTo>
                    <a:cubicBezTo>
                      <a:pt x="746" y="434"/>
                      <a:pt x="746" y="418"/>
                      <a:pt x="737" y="409"/>
                    </a:cubicBezTo>
                    <a:cubicBezTo>
                      <a:pt x="337" y="9"/>
                      <a:pt x="337" y="9"/>
                      <a:pt x="337" y="9"/>
                    </a:cubicBezTo>
                    <a:cubicBezTo>
                      <a:pt x="328" y="0"/>
                      <a:pt x="313" y="0"/>
                      <a:pt x="303" y="9"/>
                    </a:cubicBezTo>
                    <a:cubicBezTo>
                      <a:pt x="9" y="303"/>
                      <a:pt x="9" y="303"/>
                      <a:pt x="9" y="303"/>
                    </a:cubicBezTo>
                    <a:cubicBezTo>
                      <a:pt x="0" y="313"/>
                      <a:pt x="0" y="328"/>
                      <a:pt x="9" y="337"/>
                    </a:cubicBezTo>
                    <a:cubicBezTo>
                      <a:pt x="409" y="737"/>
                      <a:pt x="409" y="737"/>
                      <a:pt x="409" y="737"/>
                    </a:cubicBezTo>
                    <a:cubicBezTo>
                      <a:pt x="414" y="742"/>
                      <a:pt x="420" y="744"/>
                      <a:pt x="426" y="744"/>
                    </a:cubicBezTo>
                    <a:cubicBezTo>
                      <a:pt x="432" y="744"/>
                      <a:pt x="438" y="742"/>
                      <a:pt x="443" y="737"/>
                    </a:cubicBezTo>
                    <a:cubicBezTo>
                      <a:pt x="452" y="728"/>
                      <a:pt x="452" y="713"/>
                      <a:pt x="443" y="703"/>
                    </a:cubicBezTo>
                    <a:close/>
                    <a:moveTo>
                      <a:pt x="443" y="703"/>
                    </a:moveTo>
                    <a:cubicBezTo>
                      <a:pt x="443" y="703"/>
                      <a:pt x="443" y="703"/>
                      <a:pt x="443" y="703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60960" tIns="30480" rIns="60960" bIns="30480" numCol="1" anchor="t" anchorCtr="0" compatLnSpc="1"/>
              <a:lstStyle/>
              <a:p>
                <a:endParaRPr lang="ko-KR" altLang="en-US" sz="1200">
                  <a:latin typeface="Arial" panose="020B0604020202020204" pitchFamily="34" charset="0"/>
                  <a:cs typeface="思源黑体 CN Regular" panose="020B0500000000000000" charset="-122"/>
                  <a:sym typeface="Arial" panose="020B0604020202020204" pitchFamily="34" charset="0"/>
                </a:endParaRPr>
              </a:p>
            </p:txBody>
          </p:sp>
          <p:sp>
            <p:nvSpPr>
              <p:cNvPr id="41" name="Freeform 374"/>
              <p:cNvSpPr>
                <a:spLocks noEditPoints="1"/>
              </p:cNvSpPr>
              <p:nvPr/>
            </p:nvSpPr>
            <p:spPr bwMode="auto">
              <a:xfrm>
                <a:off x="7866235" y="2079289"/>
                <a:ext cx="636763" cy="627919"/>
              </a:xfrm>
              <a:custGeom>
                <a:avLst/>
                <a:gdLst>
                  <a:gd name="T0" fmla="*/ 337 w 746"/>
                  <a:gd name="T1" fmla="*/ 9 h 744"/>
                  <a:gd name="T2" fmla="*/ 303 w 746"/>
                  <a:gd name="T3" fmla="*/ 9 h 744"/>
                  <a:gd name="T4" fmla="*/ 213 w 746"/>
                  <a:gd name="T5" fmla="*/ 100 h 744"/>
                  <a:gd name="T6" fmla="*/ 213 w 746"/>
                  <a:gd name="T7" fmla="*/ 134 h 744"/>
                  <a:gd name="T8" fmla="*/ 230 w 746"/>
                  <a:gd name="T9" fmla="*/ 141 h 744"/>
                  <a:gd name="T10" fmla="*/ 247 w 746"/>
                  <a:gd name="T11" fmla="*/ 134 h 744"/>
                  <a:gd name="T12" fmla="*/ 320 w 746"/>
                  <a:gd name="T13" fmla="*/ 60 h 744"/>
                  <a:gd name="T14" fmla="*/ 384 w 746"/>
                  <a:gd name="T15" fmla="*/ 124 h 744"/>
                  <a:gd name="T16" fmla="*/ 311 w 746"/>
                  <a:gd name="T17" fmla="*/ 198 h 744"/>
                  <a:gd name="T18" fmla="*/ 311 w 746"/>
                  <a:gd name="T19" fmla="*/ 232 h 744"/>
                  <a:gd name="T20" fmla="*/ 328 w 746"/>
                  <a:gd name="T21" fmla="*/ 239 h 744"/>
                  <a:gd name="T22" fmla="*/ 345 w 746"/>
                  <a:gd name="T23" fmla="*/ 232 h 744"/>
                  <a:gd name="T24" fmla="*/ 418 w 746"/>
                  <a:gd name="T25" fmla="*/ 158 h 744"/>
                  <a:gd name="T26" fmla="*/ 482 w 746"/>
                  <a:gd name="T27" fmla="*/ 222 h 744"/>
                  <a:gd name="T28" fmla="*/ 409 w 746"/>
                  <a:gd name="T29" fmla="*/ 296 h 744"/>
                  <a:gd name="T30" fmla="*/ 409 w 746"/>
                  <a:gd name="T31" fmla="*/ 330 h 744"/>
                  <a:gd name="T32" fmla="*/ 426 w 746"/>
                  <a:gd name="T33" fmla="*/ 337 h 744"/>
                  <a:gd name="T34" fmla="*/ 443 w 746"/>
                  <a:gd name="T35" fmla="*/ 330 h 744"/>
                  <a:gd name="T36" fmla="*/ 516 w 746"/>
                  <a:gd name="T37" fmla="*/ 256 h 744"/>
                  <a:gd name="T38" fmla="*/ 686 w 746"/>
                  <a:gd name="T39" fmla="*/ 426 h 744"/>
                  <a:gd name="T40" fmla="*/ 426 w 746"/>
                  <a:gd name="T41" fmla="*/ 686 h 744"/>
                  <a:gd name="T42" fmla="*/ 43 w 746"/>
                  <a:gd name="T43" fmla="*/ 303 h 744"/>
                  <a:gd name="T44" fmla="*/ 9 w 746"/>
                  <a:gd name="T45" fmla="*/ 303 h 744"/>
                  <a:gd name="T46" fmla="*/ 9 w 746"/>
                  <a:gd name="T47" fmla="*/ 337 h 744"/>
                  <a:gd name="T48" fmla="*/ 409 w 746"/>
                  <a:gd name="T49" fmla="*/ 737 h 744"/>
                  <a:gd name="T50" fmla="*/ 426 w 746"/>
                  <a:gd name="T51" fmla="*/ 744 h 744"/>
                  <a:gd name="T52" fmla="*/ 443 w 746"/>
                  <a:gd name="T53" fmla="*/ 737 h 744"/>
                  <a:gd name="T54" fmla="*/ 737 w 746"/>
                  <a:gd name="T55" fmla="*/ 443 h 744"/>
                  <a:gd name="T56" fmla="*/ 737 w 746"/>
                  <a:gd name="T57" fmla="*/ 409 h 744"/>
                  <a:gd name="T58" fmla="*/ 337 w 746"/>
                  <a:gd name="T59" fmla="*/ 9 h 744"/>
                  <a:gd name="T60" fmla="*/ 337 w 746"/>
                  <a:gd name="T61" fmla="*/ 9 h 744"/>
                  <a:gd name="T62" fmla="*/ 337 w 746"/>
                  <a:gd name="T63" fmla="*/ 9 h 7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746" h="744">
                    <a:moveTo>
                      <a:pt x="337" y="9"/>
                    </a:moveTo>
                    <a:cubicBezTo>
                      <a:pt x="328" y="0"/>
                      <a:pt x="313" y="0"/>
                      <a:pt x="303" y="9"/>
                    </a:cubicBezTo>
                    <a:cubicBezTo>
                      <a:pt x="213" y="100"/>
                      <a:pt x="213" y="100"/>
                      <a:pt x="213" y="100"/>
                    </a:cubicBezTo>
                    <a:cubicBezTo>
                      <a:pt x="203" y="109"/>
                      <a:pt x="203" y="124"/>
                      <a:pt x="213" y="134"/>
                    </a:cubicBezTo>
                    <a:cubicBezTo>
                      <a:pt x="217" y="138"/>
                      <a:pt x="223" y="141"/>
                      <a:pt x="230" y="141"/>
                    </a:cubicBezTo>
                    <a:cubicBezTo>
                      <a:pt x="236" y="141"/>
                      <a:pt x="242" y="138"/>
                      <a:pt x="247" y="134"/>
                    </a:cubicBezTo>
                    <a:cubicBezTo>
                      <a:pt x="320" y="60"/>
                      <a:pt x="320" y="60"/>
                      <a:pt x="320" y="60"/>
                    </a:cubicBezTo>
                    <a:cubicBezTo>
                      <a:pt x="384" y="124"/>
                      <a:pt x="384" y="124"/>
                      <a:pt x="384" y="124"/>
                    </a:cubicBezTo>
                    <a:cubicBezTo>
                      <a:pt x="311" y="198"/>
                      <a:pt x="311" y="198"/>
                      <a:pt x="311" y="198"/>
                    </a:cubicBezTo>
                    <a:cubicBezTo>
                      <a:pt x="301" y="207"/>
                      <a:pt x="301" y="222"/>
                      <a:pt x="311" y="232"/>
                    </a:cubicBezTo>
                    <a:cubicBezTo>
                      <a:pt x="315" y="236"/>
                      <a:pt x="322" y="239"/>
                      <a:pt x="328" y="239"/>
                    </a:cubicBezTo>
                    <a:cubicBezTo>
                      <a:pt x="334" y="239"/>
                      <a:pt x="340" y="236"/>
                      <a:pt x="345" y="232"/>
                    </a:cubicBezTo>
                    <a:cubicBezTo>
                      <a:pt x="418" y="158"/>
                      <a:pt x="418" y="158"/>
                      <a:pt x="418" y="158"/>
                    </a:cubicBezTo>
                    <a:cubicBezTo>
                      <a:pt x="482" y="222"/>
                      <a:pt x="482" y="222"/>
                      <a:pt x="482" y="222"/>
                    </a:cubicBezTo>
                    <a:cubicBezTo>
                      <a:pt x="409" y="296"/>
                      <a:pt x="409" y="296"/>
                      <a:pt x="409" y="296"/>
                    </a:cubicBezTo>
                    <a:cubicBezTo>
                      <a:pt x="400" y="305"/>
                      <a:pt x="400" y="320"/>
                      <a:pt x="409" y="330"/>
                    </a:cubicBezTo>
                    <a:cubicBezTo>
                      <a:pt x="414" y="335"/>
                      <a:pt x="420" y="337"/>
                      <a:pt x="426" y="337"/>
                    </a:cubicBezTo>
                    <a:cubicBezTo>
                      <a:pt x="432" y="337"/>
                      <a:pt x="438" y="335"/>
                      <a:pt x="443" y="330"/>
                    </a:cubicBezTo>
                    <a:cubicBezTo>
                      <a:pt x="516" y="256"/>
                      <a:pt x="516" y="256"/>
                      <a:pt x="516" y="256"/>
                    </a:cubicBezTo>
                    <a:cubicBezTo>
                      <a:pt x="686" y="426"/>
                      <a:pt x="686" y="426"/>
                      <a:pt x="686" y="426"/>
                    </a:cubicBezTo>
                    <a:cubicBezTo>
                      <a:pt x="426" y="686"/>
                      <a:pt x="426" y="686"/>
                      <a:pt x="426" y="686"/>
                    </a:cubicBezTo>
                    <a:cubicBezTo>
                      <a:pt x="43" y="303"/>
                      <a:pt x="43" y="303"/>
                      <a:pt x="43" y="303"/>
                    </a:cubicBezTo>
                    <a:cubicBezTo>
                      <a:pt x="34" y="294"/>
                      <a:pt x="18" y="294"/>
                      <a:pt x="9" y="303"/>
                    </a:cubicBezTo>
                    <a:cubicBezTo>
                      <a:pt x="0" y="313"/>
                      <a:pt x="0" y="328"/>
                      <a:pt x="9" y="337"/>
                    </a:cubicBezTo>
                    <a:cubicBezTo>
                      <a:pt x="409" y="737"/>
                      <a:pt x="409" y="737"/>
                      <a:pt x="409" y="737"/>
                    </a:cubicBezTo>
                    <a:cubicBezTo>
                      <a:pt x="414" y="742"/>
                      <a:pt x="420" y="744"/>
                      <a:pt x="426" y="744"/>
                    </a:cubicBezTo>
                    <a:cubicBezTo>
                      <a:pt x="432" y="744"/>
                      <a:pt x="438" y="742"/>
                      <a:pt x="443" y="737"/>
                    </a:cubicBezTo>
                    <a:cubicBezTo>
                      <a:pt x="737" y="443"/>
                      <a:pt x="737" y="443"/>
                      <a:pt x="737" y="443"/>
                    </a:cubicBezTo>
                    <a:cubicBezTo>
                      <a:pt x="746" y="434"/>
                      <a:pt x="746" y="418"/>
                      <a:pt x="737" y="409"/>
                    </a:cubicBezTo>
                    <a:lnTo>
                      <a:pt x="337" y="9"/>
                    </a:lnTo>
                    <a:close/>
                    <a:moveTo>
                      <a:pt x="337" y="9"/>
                    </a:moveTo>
                    <a:cubicBezTo>
                      <a:pt x="337" y="9"/>
                      <a:pt x="337" y="9"/>
                      <a:pt x="337" y="9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60960" tIns="30480" rIns="60960" bIns="30480" numCol="1" anchor="t" anchorCtr="0" compatLnSpc="1"/>
              <a:lstStyle/>
              <a:p>
                <a:endParaRPr lang="ko-KR" altLang="en-US" sz="1200">
                  <a:latin typeface="Arial" panose="020B0604020202020204" pitchFamily="34" charset="0"/>
                  <a:cs typeface="思源黑体 CN Regular" panose="020B0500000000000000" charset="-122"/>
                  <a:sym typeface="Arial" panose="020B0604020202020204" pitchFamily="34" charset="0"/>
                </a:endParaRPr>
              </a:p>
            </p:txBody>
          </p:sp>
          <p:sp>
            <p:nvSpPr>
              <p:cNvPr id="42" name="Freeform 382"/>
              <p:cNvSpPr>
                <a:spLocks noEditPoints="1"/>
              </p:cNvSpPr>
              <p:nvPr/>
            </p:nvSpPr>
            <p:spPr bwMode="auto">
              <a:xfrm>
                <a:off x="7218418" y="1427048"/>
                <a:ext cx="1291213" cy="1280160"/>
              </a:xfrm>
              <a:custGeom>
                <a:avLst/>
                <a:gdLst>
                  <a:gd name="T0" fmla="*/ 1471 w 1518"/>
                  <a:gd name="T1" fmla="*/ 307 h 1516"/>
                  <a:gd name="T2" fmla="*/ 1380 w 1518"/>
                  <a:gd name="T3" fmla="*/ 47 h 1516"/>
                  <a:gd name="T4" fmla="*/ 1166 w 1518"/>
                  <a:gd name="T5" fmla="*/ 92 h 1516"/>
                  <a:gd name="T6" fmla="*/ 1199 w 1518"/>
                  <a:gd name="T7" fmla="*/ 126 h 1516"/>
                  <a:gd name="T8" fmla="*/ 1347 w 1518"/>
                  <a:gd name="T9" fmla="*/ 81 h 1516"/>
                  <a:gd name="T10" fmla="*/ 1437 w 1518"/>
                  <a:gd name="T11" fmla="*/ 273 h 1516"/>
                  <a:gd name="T12" fmla="*/ 1132 w 1518"/>
                  <a:gd name="T13" fmla="*/ 160 h 1516"/>
                  <a:gd name="T14" fmla="*/ 1013 w 1518"/>
                  <a:gd name="T15" fmla="*/ 245 h 1516"/>
                  <a:gd name="T16" fmla="*/ 167 w 1518"/>
                  <a:gd name="T17" fmla="*/ 1091 h 1516"/>
                  <a:gd name="T18" fmla="*/ 167 w 1518"/>
                  <a:gd name="T19" fmla="*/ 1091 h 1516"/>
                  <a:gd name="T20" fmla="*/ 70 w 1518"/>
                  <a:gd name="T21" fmla="*/ 1323 h 1516"/>
                  <a:gd name="T22" fmla="*/ 4 w 1518"/>
                  <a:gd name="T23" fmla="*/ 1483 h 1516"/>
                  <a:gd name="T24" fmla="*/ 26 w 1518"/>
                  <a:gd name="T25" fmla="*/ 1516 h 1516"/>
                  <a:gd name="T26" fmla="*/ 195 w 1518"/>
                  <a:gd name="T27" fmla="*/ 1448 h 1516"/>
                  <a:gd name="T28" fmla="*/ 420 w 1518"/>
                  <a:gd name="T29" fmla="*/ 1356 h 1516"/>
                  <a:gd name="T30" fmla="*/ 427 w 1518"/>
                  <a:gd name="T31" fmla="*/ 1351 h 1516"/>
                  <a:gd name="T32" fmla="*/ 737 w 1518"/>
                  <a:gd name="T33" fmla="*/ 1041 h 1516"/>
                  <a:gd name="T34" fmla="*/ 1273 w 1518"/>
                  <a:gd name="T35" fmla="*/ 505 h 1516"/>
                  <a:gd name="T36" fmla="*/ 120 w 1518"/>
                  <a:gd name="T37" fmla="*/ 1326 h 1516"/>
                  <a:gd name="T38" fmla="*/ 223 w 1518"/>
                  <a:gd name="T39" fmla="*/ 1157 h 1516"/>
                  <a:gd name="T40" fmla="*/ 258 w 1518"/>
                  <a:gd name="T41" fmla="*/ 1260 h 1516"/>
                  <a:gd name="T42" fmla="*/ 361 w 1518"/>
                  <a:gd name="T43" fmla="*/ 1295 h 1516"/>
                  <a:gd name="T44" fmla="*/ 192 w 1518"/>
                  <a:gd name="T45" fmla="*/ 1398 h 1516"/>
                  <a:gd name="T46" fmla="*/ 330 w 1518"/>
                  <a:gd name="T47" fmla="*/ 1223 h 1516"/>
                  <a:gd name="T48" fmla="*/ 957 w 1518"/>
                  <a:gd name="T49" fmla="*/ 561 h 1516"/>
                  <a:gd name="T50" fmla="*/ 296 w 1518"/>
                  <a:gd name="T51" fmla="*/ 1189 h 1516"/>
                  <a:gd name="T52" fmla="*/ 227 w 1518"/>
                  <a:gd name="T53" fmla="*/ 1099 h 1516"/>
                  <a:gd name="T54" fmla="*/ 1109 w 1518"/>
                  <a:gd name="T55" fmla="*/ 375 h 1516"/>
                  <a:gd name="T56" fmla="*/ 1013 w 1518"/>
                  <a:gd name="T57" fmla="*/ 505 h 1516"/>
                  <a:gd name="T58" fmla="*/ 1047 w 1518"/>
                  <a:gd name="T59" fmla="*/ 505 h 1516"/>
                  <a:gd name="T60" fmla="*/ 1223 w 1518"/>
                  <a:gd name="T61" fmla="*/ 488 h 1516"/>
                  <a:gd name="T62" fmla="*/ 395 w 1518"/>
                  <a:gd name="T63" fmla="*/ 1261 h 1516"/>
                  <a:gd name="T64" fmla="*/ 1064 w 1518"/>
                  <a:gd name="T65" fmla="*/ 262 h 1516"/>
                  <a:gd name="T66" fmla="*/ 1307 w 1518"/>
                  <a:gd name="T67" fmla="*/ 404 h 1516"/>
                  <a:gd name="T68" fmla="*/ 100 w 1518"/>
                  <a:gd name="T69" fmla="*/ 1374 h 1516"/>
                  <a:gd name="T70" fmla="*/ 70 w 1518"/>
                  <a:gd name="T71" fmla="*/ 1448 h 1516"/>
                  <a:gd name="T72" fmla="*/ 100 w 1518"/>
                  <a:gd name="T73" fmla="*/ 1374 h 15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1518" h="1516">
                    <a:moveTo>
                      <a:pt x="1273" y="505"/>
                    </a:moveTo>
                    <a:cubicBezTo>
                      <a:pt x="1471" y="307"/>
                      <a:pt x="1471" y="307"/>
                      <a:pt x="1471" y="307"/>
                    </a:cubicBezTo>
                    <a:cubicBezTo>
                      <a:pt x="1518" y="261"/>
                      <a:pt x="1518" y="185"/>
                      <a:pt x="1471" y="138"/>
                    </a:cubicBezTo>
                    <a:cubicBezTo>
                      <a:pt x="1380" y="47"/>
                      <a:pt x="1380" y="47"/>
                      <a:pt x="1380" y="47"/>
                    </a:cubicBezTo>
                    <a:cubicBezTo>
                      <a:pt x="1334" y="0"/>
                      <a:pt x="1258" y="0"/>
                      <a:pt x="1211" y="47"/>
                    </a:cubicBezTo>
                    <a:cubicBezTo>
                      <a:pt x="1166" y="92"/>
                      <a:pt x="1166" y="92"/>
                      <a:pt x="1166" y="92"/>
                    </a:cubicBezTo>
                    <a:cubicBezTo>
                      <a:pt x="1156" y="102"/>
                      <a:pt x="1156" y="117"/>
                      <a:pt x="1166" y="126"/>
                    </a:cubicBezTo>
                    <a:cubicBezTo>
                      <a:pt x="1175" y="136"/>
                      <a:pt x="1190" y="136"/>
                      <a:pt x="1199" y="126"/>
                    </a:cubicBezTo>
                    <a:cubicBezTo>
                      <a:pt x="1245" y="81"/>
                      <a:pt x="1245" y="81"/>
                      <a:pt x="1245" y="81"/>
                    </a:cubicBezTo>
                    <a:cubicBezTo>
                      <a:pt x="1273" y="53"/>
                      <a:pt x="1318" y="53"/>
                      <a:pt x="1347" y="81"/>
                    </a:cubicBezTo>
                    <a:cubicBezTo>
                      <a:pt x="1437" y="172"/>
                      <a:pt x="1437" y="172"/>
                      <a:pt x="1437" y="172"/>
                    </a:cubicBezTo>
                    <a:cubicBezTo>
                      <a:pt x="1465" y="200"/>
                      <a:pt x="1465" y="245"/>
                      <a:pt x="1437" y="273"/>
                    </a:cubicBezTo>
                    <a:cubicBezTo>
                      <a:pt x="1341" y="370"/>
                      <a:pt x="1341" y="370"/>
                      <a:pt x="1341" y="370"/>
                    </a:cubicBezTo>
                    <a:cubicBezTo>
                      <a:pt x="1132" y="160"/>
                      <a:pt x="1132" y="160"/>
                      <a:pt x="1132" y="160"/>
                    </a:cubicBezTo>
                    <a:cubicBezTo>
                      <a:pt x="1122" y="151"/>
                      <a:pt x="1107" y="151"/>
                      <a:pt x="1098" y="160"/>
                    </a:cubicBezTo>
                    <a:cubicBezTo>
                      <a:pt x="1013" y="245"/>
                      <a:pt x="1013" y="245"/>
                      <a:pt x="1013" y="245"/>
                    </a:cubicBezTo>
                    <a:cubicBezTo>
                      <a:pt x="771" y="487"/>
                      <a:pt x="771" y="487"/>
                      <a:pt x="771" y="487"/>
                    </a:cubicBezTo>
                    <a:cubicBezTo>
                      <a:pt x="167" y="1091"/>
                      <a:pt x="167" y="1091"/>
                      <a:pt x="167" y="1091"/>
                    </a:cubicBezTo>
                    <a:cubicBezTo>
                      <a:pt x="167" y="1091"/>
                      <a:pt x="167" y="1091"/>
                      <a:pt x="167" y="1091"/>
                    </a:cubicBezTo>
                    <a:cubicBezTo>
                      <a:pt x="167" y="1091"/>
                      <a:pt x="167" y="1091"/>
                      <a:pt x="167" y="1091"/>
                    </a:cubicBezTo>
                    <a:cubicBezTo>
                      <a:pt x="165" y="1093"/>
                      <a:pt x="163" y="1096"/>
                      <a:pt x="162" y="1098"/>
                    </a:cubicBezTo>
                    <a:cubicBezTo>
                      <a:pt x="70" y="1323"/>
                      <a:pt x="70" y="1323"/>
                      <a:pt x="70" y="1323"/>
                    </a:cubicBezTo>
                    <a:cubicBezTo>
                      <a:pt x="70" y="1323"/>
                      <a:pt x="70" y="1323"/>
                      <a:pt x="70" y="1323"/>
                    </a:cubicBezTo>
                    <a:cubicBezTo>
                      <a:pt x="4" y="1483"/>
                      <a:pt x="4" y="1483"/>
                      <a:pt x="4" y="1483"/>
                    </a:cubicBezTo>
                    <a:cubicBezTo>
                      <a:pt x="0" y="1492"/>
                      <a:pt x="2" y="1502"/>
                      <a:pt x="9" y="1509"/>
                    </a:cubicBezTo>
                    <a:cubicBezTo>
                      <a:pt x="14" y="1514"/>
                      <a:pt x="20" y="1516"/>
                      <a:pt x="26" y="1516"/>
                    </a:cubicBezTo>
                    <a:cubicBezTo>
                      <a:pt x="29" y="1516"/>
                      <a:pt x="32" y="1516"/>
                      <a:pt x="35" y="1514"/>
                    </a:cubicBezTo>
                    <a:cubicBezTo>
                      <a:pt x="195" y="1448"/>
                      <a:pt x="195" y="1448"/>
                      <a:pt x="195" y="1448"/>
                    </a:cubicBezTo>
                    <a:cubicBezTo>
                      <a:pt x="195" y="1448"/>
                      <a:pt x="195" y="1448"/>
                      <a:pt x="195" y="1448"/>
                    </a:cubicBezTo>
                    <a:cubicBezTo>
                      <a:pt x="420" y="1356"/>
                      <a:pt x="420" y="1356"/>
                      <a:pt x="420" y="1356"/>
                    </a:cubicBezTo>
                    <a:cubicBezTo>
                      <a:pt x="422" y="1355"/>
                      <a:pt x="425" y="1353"/>
                      <a:pt x="427" y="1351"/>
                    </a:cubicBezTo>
                    <a:cubicBezTo>
                      <a:pt x="427" y="1351"/>
                      <a:pt x="427" y="1351"/>
                      <a:pt x="427" y="1351"/>
                    </a:cubicBezTo>
                    <a:cubicBezTo>
                      <a:pt x="428" y="1351"/>
                      <a:pt x="428" y="1351"/>
                      <a:pt x="428" y="1351"/>
                    </a:cubicBezTo>
                    <a:cubicBezTo>
                      <a:pt x="737" y="1041"/>
                      <a:pt x="737" y="1041"/>
                      <a:pt x="737" y="1041"/>
                    </a:cubicBezTo>
                    <a:cubicBezTo>
                      <a:pt x="1031" y="747"/>
                      <a:pt x="1031" y="747"/>
                      <a:pt x="1031" y="747"/>
                    </a:cubicBezTo>
                    <a:lnTo>
                      <a:pt x="1273" y="505"/>
                    </a:lnTo>
                    <a:close/>
                    <a:moveTo>
                      <a:pt x="192" y="1398"/>
                    </a:moveTo>
                    <a:cubicBezTo>
                      <a:pt x="120" y="1326"/>
                      <a:pt x="120" y="1326"/>
                      <a:pt x="120" y="1326"/>
                    </a:cubicBezTo>
                    <a:cubicBezTo>
                      <a:pt x="198" y="1138"/>
                      <a:pt x="198" y="1138"/>
                      <a:pt x="198" y="1138"/>
                    </a:cubicBezTo>
                    <a:cubicBezTo>
                      <a:pt x="207" y="1143"/>
                      <a:pt x="216" y="1149"/>
                      <a:pt x="223" y="1157"/>
                    </a:cubicBezTo>
                    <a:cubicBezTo>
                      <a:pt x="246" y="1179"/>
                      <a:pt x="256" y="1210"/>
                      <a:pt x="251" y="1239"/>
                    </a:cubicBezTo>
                    <a:cubicBezTo>
                      <a:pt x="250" y="1247"/>
                      <a:pt x="252" y="1255"/>
                      <a:pt x="258" y="1260"/>
                    </a:cubicBezTo>
                    <a:cubicBezTo>
                      <a:pt x="263" y="1266"/>
                      <a:pt x="271" y="1268"/>
                      <a:pt x="279" y="1267"/>
                    </a:cubicBezTo>
                    <a:cubicBezTo>
                      <a:pt x="308" y="1262"/>
                      <a:pt x="339" y="1272"/>
                      <a:pt x="361" y="1295"/>
                    </a:cubicBezTo>
                    <a:cubicBezTo>
                      <a:pt x="369" y="1303"/>
                      <a:pt x="375" y="1311"/>
                      <a:pt x="380" y="1320"/>
                    </a:cubicBezTo>
                    <a:lnTo>
                      <a:pt x="192" y="1398"/>
                    </a:lnTo>
                    <a:close/>
                    <a:moveTo>
                      <a:pt x="395" y="1261"/>
                    </a:moveTo>
                    <a:cubicBezTo>
                      <a:pt x="377" y="1242"/>
                      <a:pt x="354" y="1229"/>
                      <a:pt x="330" y="1223"/>
                    </a:cubicBezTo>
                    <a:cubicBezTo>
                      <a:pt x="957" y="595"/>
                      <a:pt x="957" y="595"/>
                      <a:pt x="957" y="595"/>
                    </a:cubicBezTo>
                    <a:cubicBezTo>
                      <a:pt x="966" y="586"/>
                      <a:pt x="966" y="571"/>
                      <a:pt x="957" y="561"/>
                    </a:cubicBezTo>
                    <a:cubicBezTo>
                      <a:pt x="947" y="552"/>
                      <a:pt x="932" y="552"/>
                      <a:pt x="923" y="561"/>
                    </a:cubicBezTo>
                    <a:cubicBezTo>
                      <a:pt x="296" y="1189"/>
                      <a:pt x="296" y="1189"/>
                      <a:pt x="296" y="1189"/>
                    </a:cubicBezTo>
                    <a:cubicBezTo>
                      <a:pt x="289" y="1164"/>
                      <a:pt x="276" y="1142"/>
                      <a:pt x="257" y="1123"/>
                    </a:cubicBezTo>
                    <a:cubicBezTo>
                      <a:pt x="248" y="1114"/>
                      <a:pt x="238" y="1106"/>
                      <a:pt x="227" y="1099"/>
                    </a:cubicBezTo>
                    <a:cubicBezTo>
                      <a:pt x="1030" y="296"/>
                      <a:pt x="1030" y="296"/>
                      <a:pt x="1030" y="296"/>
                    </a:cubicBezTo>
                    <a:cubicBezTo>
                      <a:pt x="1109" y="375"/>
                      <a:pt x="1109" y="375"/>
                      <a:pt x="1109" y="375"/>
                    </a:cubicBezTo>
                    <a:cubicBezTo>
                      <a:pt x="1013" y="471"/>
                      <a:pt x="1013" y="471"/>
                      <a:pt x="1013" y="471"/>
                    </a:cubicBezTo>
                    <a:cubicBezTo>
                      <a:pt x="1004" y="480"/>
                      <a:pt x="1004" y="496"/>
                      <a:pt x="1013" y="505"/>
                    </a:cubicBezTo>
                    <a:cubicBezTo>
                      <a:pt x="1018" y="510"/>
                      <a:pt x="1024" y="512"/>
                      <a:pt x="1030" y="512"/>
                    </a:cubicBezTo>
                    <a:cubicBezTo>
                      <a:pt x="1036" y="512"/>
                      <a:pt x="1043" y="510"/>
                      <a:pt x="1047" y="505"/>
                    </a:cubicBezTo>
                    <a:cubicBezTo>
                      <a:pt x="1143" y="409"/>
                      <a:pt x="1143" y="409"/>
                      <a:pt x="1143" y="409"/>
                    </a:cubicBezTo>
                    <a:cubicBezTo>
                      <a:pt x="1223" y="488"/>
                      <a:pt x="1223" y="488"/>
                      <a:pt x="1223" y="488"/>
                    </a:cubicBezTo>
                    <a:cubicBezTo>
                      <a:pt x="419" y="1292"/>
                      <a:pt x="419" y="1292"/>
                      <a:pt x="419" y="1292"/>
                    </a:cubicBezTo>
                    <a:cubicBezTo>
                      <a:pt x="412" y="1281"/>
                      <a:pt x="405" y="1270"/>
                      <a:pt x="395" y="1261"/>
                    </a:cubicBezTo>
                    <a:close/>
                    <a:moveTo>
                      <a:pt x="1257" y="454"/>
                    </a:moveTo>
                    <a:cubicBezTo>
                      <a:pt x="1064" y="262"/>
                      <a:pt x="1064" y="262"/>
                      <a:pt x="1064" y="262"/>
                    </a:cubicBezTo>
                    <a:cubicBezTo>
                      <a:pt x="1115" y="211"/>
                      <a:pt x="1115" y="211"/>
                      <a:pt x="1115" y="211"/>
                    </a:cubicBezTo>
                    <a:cubicBezTo>
                      <a:pt x="1307" y="404"/>
                      <a:pt x="1307" y="404"/>
                      <a:pt x="1307" y="404"/>
                    </a:cubicBezTo>
                    <a:lnTo>
                      <a:pt x="1257" y="454"/>
                    </a:lnTo>
                    <a:close/>
                    <a:moveTo>
                      <a:pt x="100" y="1374"/>
                    </a:moveTo>
                    <a:cubicBezTo>
                      <a:pt x="144" y="1418"/>
                      <a:pt x="144" y="1418"/>
                      <a:pt x="144" y="1418"/>
                    </a:cubicBezTo>
                    <a:cubicBezTo>
                      <a:pt x="70" y="1448"/>
                      <a:pt x="70" y="1448"/>
                      <a:pt x="70" y="1448"/>
                    </a:cubicBezTo>
                    <a:lnTo>
                      <a:pt x="100" y="1374"/>
                    </a:lnTo>
                    <a:close/>
                    <a:moveTo>
                      <a:pt x="100" y="1374"/>
                    </a:moveTo>
                    <a:cubicBezTo>
                      <a:pt x="100" y="1374"/>
                      <a:pt x="100" y="1374"/>
                      <a:pt x="100" y="1374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60960" tIns="30480" rIns="60960" bIns="30480" numCol="1" anchor="t" anchorCtr="0" compatLnSpc="1"/>
              <a:lstStyle/>
              <a:p>
                <a:endParaRPr lang="ko-KR" altLang="en-US" sz="1200">
                  <a:latin typeface="Arial" panose="020B0604020202020204" pitchFamily="34" charset="0"/>
                  <a:cs typeface="思源黑体 CN Regular" panose="020B0500000000000000" charset="-122"/>
                  <a:sym typeface="Arial" panose="020B0604020202020204" pitchFamily="34" charset="0"/>
                </a:endParaRPr>
              </a:p>
            </p:txBody>
          </p:sp>
        </p:grpSp>
      </p:grpSp>
      <p:grpSp>
        <p:nvGrpSpPr>
          <p:cNvPr id="43" name="Group 42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GrpSpPr/>
          <p:nvPr/>
        </p:nvGrpSpPr>
        <p:grpSpPr>
          <a:xfrm>
            <a:off x="10394255" y="4218591"/>
            <a:ext cx="587465" cy="587465"/>
            <a:chOff x="8476342" y="7388993"/>
            <a:chExt cx="881198" cy="881198"/>
          </a:xfrm>
        </p:grpSpPr>
        <p:sp>
          <p:nvSpPr>
            <p:cNvPr id="44" name="Oval 43"/>
            <p:cNvSpPr/>
            <p:nvPr/>
          </p:nvSpPr>
          <p:spPr>
            <a:xfrm>
              <a:off x="8476342" y="7388993"/>
              <a:ext cx="881198" cy="881198"/>
            </a:xfrm>
            <a:prstGeom prst="ellipse">
              <a:avLst/>
            </a:prstGeom>
            <a:solidFill>
              <a:schemeClr val="bg1"/>
            </a:solidFill>
            <a:ln w="25400" cap="rnd">
              <a:noFill/>
              <a:round/>
            </a:ln>
            <a:effectLst>
              <a:outerShdw blurRad="495300" dist="342900" dir="2700000" algn="tl" rotWithShape="0">
                <a:prstClr val="black">
                  <a:alpha val="9000"/>
                </a:prst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200"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endParaRPr>
            </a:p>
          </p:txBody>
        </p:sp>
        <p:grpSp>
          <p:nvGrpSpPr>
            <p:cNvPr id="45" name="Group 44"/>
            <p:cNvGrpSpPr>
              <a:grpSpLocks noChangeAspect="1"/>
            </p:cNvGrpSpPr>
            <p:nvPr/>
          </p:nvGrpSpPr>
          <p:grpSpPr>
            <a:xfrm>
              <a:off x="8808740" y="7691721"/>
              <a:ext cx="216402" cy="274320"/>
              <a:chOff x="2813176" y="997527"/>
              <a:chExt cx="1442674" cy="1828800"/>
            </a:xfrm>
            <a:solidFill>
              <a:schemeClr val="tx1"/>
            </a:solidFill>
          </p:grpSpPr>
          <p:sp>
            <p:nvSpPr>
              <p:cNvPr id="46" name="Freeform 565"/>
              <p:cNvSpPr>
                <a:spLocks noEditPoints="1"/>
              </p:cNvSpPr>
              <p:nvPr/>
            </p:nvSpPr>
            <p:spPr bwMode="auto">
              <a:xfrm>
                <a:off x="2813176" y="997527"/>
                <a:ext cx="1442674" cy="1828800"/>
              </a:xfrm>
              <a:custGeom>
                <a:avLst/>
                <a:gdLst>
                  <a:gd name="T0" fmla="*/ 638 w 1277"/>
                  <a:gd name="T1" fmla="*/ 0 h 1635"/>
                  <a:gd name="T2" fmla="*/ 0 w 1277"/>
                  <a:gd name="T3" fmla="*/ 638 h 1635"/>
                  <a:gd name="T4" fmla="*/ 129 w 1277"/>
                  <a:gd name="T5" fmla="*/ 1023 h 1635"/>
                  <a:gd name="T6" fmla="*/ 410 w 1277"/>
                  <a:gd name="T7" fmla="*/ 1234 h 1635"/>
                  <a:gd name="T8" fmla="*/ 410 w 1277"/>
                  <a:gd name="T9" fmla="*/ 1406 h 1635"/>
                  <a:gd name="T10" fmla="*/ 514 w 1277"/>
                  <a:gd name="T11" fmla="*/ 1531 h 1635"/>
                  <a:gd name="T12" fmla="*/ 638 w 1277"/>
                  <a:gd name="T13" fmla="*/ 1635 h 1635"/>
                  <a:gd name="T14" fmla="*/ 763 w 1277"/>
                  <a:gd name="T15" fmla="*/ 1531 h 1635"/>
                  <a:gd name="T16" fmla="*/ 867 w 1277"/>
                  <a:gd name="T17" fmla="*/ 1406 h 1635"/>
                  <a:gd name="T18" fmla="*/ 867 w 1277"/>
                  <a:gd name="T19" fmla="*/ 1235 h 1635"/>
                  <a:gd name="T20" fmla="*/ 1148 w 1277"/>
                  <a:gd name="T21" fmla="*/ 1023 h 1635"/>
                  <a:gd name="T22" fmla="*/ 1277 w 1277"/>
                  <a:gd name="T23" fmla="*/ 638 h 1635"/>
                  <a:gd name="T24" fmla="*/ 638 w 1277"/>
                  <a:gd name="T25" fmla="*/ 0 h 1635"/>
                  <a:gd name="T26" fmla="*/ 638 w 1277"/>
                  <a:gd name="T27" fmla="*/ 1587 h 1635"/>
                  <a:gd name="T28" fmla="*/ 564 w 1277"/>
                  <a:gd name="T29" fmla="*/ 1533 h 1635"/>
                  <a:gd name="T30" fmla="*/ 713 w 1277"/>
                  <a:gd name="T31" fmla="*/ 1533 h 1635"/>
                  <a:gd name="T32" fmla="*/ 638 w 1277"/>
                  <a:gd name="T33" fmla="*/ 1587 h 1635"/>
                  <a:gd name="T34" fmla="*/ 741 w 1277"/>
                  <a:gd name="T35" fmla="*/ 1485 h 1635"/>
                  <a:gd name="T36" fmla="*/ 536 w 1277"/>
                  <a:gd name="T37" fmla="*/ 1485 h 1635"/>
                  <a:gd name="T38" fmla="*/ 458 w 1277"/>
                  <a:gd name="T39" fmla="*/ 1406 h 1635"/>
                  <a:gd name="T40" fmla="*/ 458 w 1277"/>
                  <a:gd name="T41" fmla="*/ 1354 h 1635"/>
                  <a:gd name="T42" fmla="*/ 664 w 1277"/>
                  <a:gd name="T43" fmla="*/ 1354 h 1635"/>
                  <a:gd name="T44" fmla="*/ 688 w 1277"/>
                  <a:gd name="T45" fmla="*/ 1330 h 1635"/>
                  <a:gd name="T46" fmla="*/ 664 w 1277"/>
                  <a:gd name="T47" fmla="*/ 1306 h 1635"/>
                  <a:gd name="T48" fmla="*/ 458 w 1277"/>
                  <a:gd name="T49" fmla="*/ 1306 h 1635"/>
                  <a:gd name="T50" fmla="*/ 458 w 1277"/>
                  <a:gd name="T51" fmla="*/ 1251 h 1635"/>
                  <a:gd name="T52" fmla="*/ 814 w 1277"/>
                  <a:gd name="T53" fmla="*/ 1251 h 1635"/>
                  <a:gd name="T54" fmla="*/ 814 w 1277"/>
                  <a:gd name="T55" fmla="*/ 1251 h 1635"/>
                  <a:gd name="T56" fmla="*/ 815 w 1277"/>
                  <a:gd name="T57" fmla="*/ 1251 h 1635"/>
                  <a:gd name="T58" fmla="*/ 819 w 1277"/>
                  <a:gd name="T59" fmla="*/ 1251 h 1635"/>
                  <a:gd name="T60" fmla="*/ 819 w 1277"/>
                  <a:gd name="T61" fmla="*/ 1306 h 1635"/>
                  <a:gd name="T62" fmla="*/ 766 w 1277"/>
                  <a:gd name="T63" fmla="*/ 1306 h 1635"/>
                  <a:gd name="T64" fmla="*/ 742 w 1277"/>
                  <a:gd name="T65" fmla="*/ 1330 h 1635"/>
                  <a:gd name="T66" fmla="*/ 766 w 1277"/>
                  <a:gd name="T67" fmla="*/ 1354 h 1635"/>
                  <a:gd name="T68" fmla="*/ 819 w 1277"/>
                  <a:gd name="T69" fmla="*/ 1354 h 1635"/>
                  <a:gd name="T70" fmla="*/ 819 w 1277"/>
                  <a:gd name="T71" fmla="*/ 1406 h 1635"/>
                  <a:gd name="T72" fmla="*/ 741 w 1277"/>
                  <a:gd name="T73" fmla="*/ 1485 h 1635"/>
                  <a:gd name="T74" fmla="*/ 1110 w 1277"/>
                  <a:gd name="T75" fmla="*/ 994 h 1635"/>
                  <a:gd name="T76" fmla="*/ 811 w 1277"/>
                  <a:gd name="T77" fmla="*/ 1203 h 1635"/>
                  <a:gd name="T78" fmla="*/ 466 w 1277"/>
                  <a:gd name="T79" fmla="*/ 1203 h 1635"/>
                  <a:gd name="T80" fmla="*/ 167 w 1277"/>
                  <a:gd name="T81" fmla="*/ 994 h 1635"/>
                  <a:gd name="T82" fmla="*/ 48 w 1277"/>
                  <a:gd name="T83" fmla="*/ 638 h 1635"/>
                  <a:gd name="T84" fmla="*/ 638 w 1277"/>
                  <a:gd name="T85" fmla="*/ 48 h 1635"/>
                  <a:gd name="T86" fmla="*/ 1229 w 1277"/>
                  <a:gd name="T87" fmla="*/ 638 h 1635"/>
                  <a:gd name="T88" fmla="*/ 1110 w 1277"/>
                  <a:gd name="T89" fmla="*/ 994 h 1635"/>
                  <a:gd name="T90" fmla="*/ 1110 w 1277"/>
                  <a:gd name="T91" fmla="*/ 994 h 1635"/>
                  <a:gd name="T92" fmla="*/ 1110 w 1277"/>
                  <a:gd name="T93" fmla="*/ 994 h 16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1277" h="1634">
                    <a:moveTo>
                      <a:pt x="638" y="0"/>
                    </a:moveTo>
                    <a:cubicBezTo>
                      <a:pt x="286" y="0"/>
                      <a:pt x="0" y="286"/>
                      <a:pt x="0" y="638"/>
                    </a:cubicBezTo>
                    <a:cubicBezTo>
                      <a:pt x="0" y="779"/>
                      <a:pt x="45" y="912"/>
                      <a:pt x="129" y="1023"/>
                    </a:cubicBezTo>
                    <a:cubicBezTo>
                      <a:pt x="201" y="1118"/>
                      <a:pt x="299" y="1192"/>
                      <a:pt x="410" y="1234"/>
                    </a:cubicBezTo>
                    <a:cubicBezTo>
                      <a:pt x="410" y="1406"/>
                      <a:pt x="410" y="1406"/>
                      <a:pt x="410" y="1406"/>
                    </a:cubicBezTo>
                    <a:cubicBezTo>
                      <a:pt x="410" y="1469"/>
                      <a:pt x="455" y="1520"/>
                      <a:pt x="514" y="1531"/>
                    </a:cubicBezTo>
                    <a:cubicBezTo>
                      <a:pt x="524" y="1590"/>
                      <a:pt x="576" y="1635"/>
                      <a:pt x="638" y="1635"/>
                    </a:cubicBezTo>
                    <a:cubicBezTo>
                      <a:pt x="701" y="1635"/>
                      <a:pt x="752" y="1590"/>
                      <a:pt x="763" y="1531"/>
                    </a:cubicBezTo>
                    <a:cubicBezTo>
                      <a:pt x="822" y="1520"/>
                      <a:pt x="867" y="1469"/>
                      <a:pt x="867" y="1406"/>
                    </a:cubicBezTo>
                    <a:cubicBezTo>
                      <a:pt x="867" y="1235"/>
                      <a:pt x="867" y="1235"/>
                      <a:pt x="867" y="1235"/>
                    </a:cubicBezTo>
                    <a:cubicBezTo>
                      <a:pt x="978" y="1192"/>
                      <a:pt x="1076" y="1118"/>
                      <a:pt x="1148" y="1023"/>
                    </a:cubicBezTo>
                    <a:cubicBezTo>
                      <a:pt x="1232" y="912"/>
                      <a:pt x="1277" y="779"/>
                      <a:pt x="1277" y="638"/>
                    </a:cubicBezTo>
                    <a:cubicBezTo>
                      <a:pt x="1277" y="286"/>
                      <a:pt x="990" y="0"/>
                      <a:pt x="638" y="0"/>
                    </a:cubicBezTo>
                    <a:close/>
                    <a:moveTo>
                      <a:pt x="638" y="1587"/>
                    </a:moveTo>
                    <a:cubicBezTo>
                      <a:pt x="604" y="1587"/>
                      <a:pt x="574" y="1564"/>
                      <a:pt x="564" y="1533"/>
                    </a:cubicBezTo>
                    <a:cubicBezTo>
                      <a:pt x="713" y="1533"/>
                      <a:pt x="713" y="1533"/>
                      <a:pt x="713" y="1533"/>
                    </a:cubicBezTo>
                    <a:cubicBezTo>
                      <a:pt x="703" y="1564"/>
                      <a:pt x="673" y="1587"/>
                      <a:pt x="638" y="1587"/>
                    </a:cubicBezTo>
                    <a:close/>
                    <a:moveTo>
                      <a:pt x="741" y="1485"/>
                    </a:moveTo>
                    <a:cubicBezTo>
                      <a:pt x="536" y="1485"/>
                      <a:pt x="536" y="1485"/>
                      <a:pt x="536" y="1485"/>
                    </a:cubicBezTo>
                    <a:cubicBezTo>
                      <a:pt x="493" y="1485"/>
                      <a:pt x="458" y="1450"/>
                      <a:pt x="458" y="1406"/>
                    </a:cubicBezTo>
                    <a:cubicBezTo>
                      <a:pt x="458" y="1354"/>
                      <a:pt x="458" y="1354"/>
                      <a:pt x="458" y="1354"/>
                    </a:cubicBezTo>
                    <a:cubicBezTo>
                      <a:pt x="664" y="1354"/>
                      <a:pt x="664" y="1354"/>
                      <a:pt x="664" y="1354"/>
                    </a:cubicBezTo>
                    <a:cubicBezTo>
                      <a:pt x="677" y="1354"/>
                      <a:pt x="688" y="1343"/>
                      <a:pt x="688" y="1330"/>
                    </a:cubicBezTo>
                    <a:cubicBezTo>
                      <a:pt x="688" y="1316"/>
                      <a:pt x="677" y="1306"/>
                      <a:pt x="664" y="1306"/>
                    </a:cubicBezTo>
                    <a:cubicBezTo>
                      <a:pt x="458" y="1306"/>
                      <a:pt x="458" y="1306"/>
                      <a:pt x="458" y="1306"/>
                    </a:cubicBezTo>
                    <a:cubicBezTo>
                      <a:pt x="458" y="1251"/>
                      <a:pt x="458" y="1251"/>
                      <a:pt x="458" y="1251"/>
                    </a:cubicBezTo>
                    <a:cubicBezTo>
                      <a:pt x="814" y="1251"/>
                      <a:pt x="814" y="1251"/>
                      <a:pt x="814" y="1251"/>
                    </a:cubicBezTo>
                    <a:cubicBezTo>
                      <a:pt x="814" y="1251"/>
                      <a:pt x="814" y="1251"/>
                      <a:pt x="814" y="1251"/>
                    </a:cubicBezTo>
                    <a:cubicBezTo>
                      <a:pt x="815" y="1251"/>
                      <a:pt x="815" y="1251"/>
                      <a:pt x="815" y="1251"/>
                    </a:cubicBezTo>
                    <a:cubicBezTo>
                      <a:pt x="819" y="1251"/>
                      <a:pt x="819" y="1251"/>
                      <a:pt x="819" y="1251"/>
                    </a:cubicBezTo>
                    <a:cubicBezTo>
                      <a:pt x="819" y="1306"/>
                      <a:pt x="819" y="1306"/>
                      <a:pt x="819" y="1306"/>
                    </a:cubicBezTo>
                    <a:cubicBezTo>
                      <a:pt x="766" y="1306"/>
                      <a:pt x="766" y="1306"/>
                      <a:pt x="766" y="1306"/>
                    </a:cubicBezTo>
                    <a:cubicBezTo>
                      <a:pt x="753" y="1306"/>
                      <a:pt x="742" y="1316"/>
                      <a:pt x="742" y="1330"/>
                    </a:cubicBezTo>
                    <a:cubicBezTo>
                      <a:pt x="742" y="1343"/>
                      <a:pt x="753" y="1354"/>
                      <a:pt x="766" y="1354"/>
                    </a:cubicBezTo>
                    <a:cubicBezTo>
                      <a:pt x="819" y="1354"/>
                      <a:pt x="819" y="1354"/>
                      <a:pt x="819" y="1354"/>
                    </a:cubicBezTo>
                    <a:cubicBezTo>
                      <a:pt x="819" y="1406"/>
                      <a:pt x="819" y="1406"/>
                      <a:pt x="819" y="1406"/>
                    </a:cubicBezTo>
                    <a:cubicBezTo>
                      <a:pt x="819" y="1450"/>
                      <a:pt x="784" y="1485"/>
                      <a:pt x="741" y="1485"/>
                    </a:cubicBezTo>
                    <a:close/>
                    <a:moveTo>
                      <a:pt x="1110" y="994"/>
                    </a:moveTo>
                    <a:cubicBezTo>
                      <a:pt x="1035" y="1093"/>
                      <a:pt x="929" y="1167"/>
                      <a:pt x="811" y="1203"/>
                    </a:cubicBezTo>
                    <a:cubicBezTo>
                      <a:pt x="466" y="1203"/>
                      <a:pt x="466" y="1203"/>
                      <a:pt x="466" y="1203"/>
                    </a:cubicBezTo>
                    <a:cubicBezTo>
                      <a:pt x="348" y="1167"/>
                      <a:pt x="242" y="1093"/>
                      <a:pt x="167" y="994"/>
                    </a:cubicBezTo>
                    <a:cubicBezTo>
                      <a:pt x="89" y="891"/>
                      <a:pt x="48" y="768"/>
                      <a:pt x="48" y="638"/>
                    </a:cubicBezTo>
                    <a:cubicBezTo>
                      <a:pt x="48" y="313"/>
                      <a:pt x="313" y="48"/>
                      <a:pt x="638" y="48"/>
                    </a:cubicBezTo>
                    <a:cubicBezTo>
                      <a:pt x="964" y="48"/>
                      <a:pt x="1229" y="313"/>
                      <a:pt x="1229" y="638"/>
                    </a:cubicBezTo>
                    <a:cubicBezTo>
                      <a:pt x="1229" y="768"/>
                      <a:pt x="1188" y="891"/>
                      <a:pt x="1110" y="994"/>
                    </a:cubicBezTo>
                    <a:close/>
                    <a:moveTo>
                      <a:pt x="1110" y="994"/>
                    </a:moveTo>
                    <a:cubicBezTo>
                      <a:pt x="1110" y="994"/>
                      <a:pt x="1110" y="994"/>
                      <a:pt x="1110" y="994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60960" tIns="30480" rIns="60960" bIns="30480" numCol="1" anchor="t" anchorCtr="0" compatLnSpc="1"/>
              <a:lstStyle/>
              <a:p>
                <a:endParaRPr lang="ko-KR" altLang="en-US" sz="1200">
                  <a:latin typeface="Arial" panose="020B0604020202020204" pitchFamily="34" charset="0"/>
                  <a:cs typeface="思源黑体 CN Regular" panose="020B0500000000000000" charset="-122"/>
                  <a:sym typeface="Arial" panose="020B0604020202020204" pitchFamily="34" charset="0"/>
                </a:endParaRPr>
              </a:p>
            </p:txBody>
          </p:sp>
          <p:sp>
            <p:nvSpPr>
              <p:cNvPr id="47" name="Freeform 566"/>
              <p:cNvSpPr>
                <a:spLocks noEditPoints="1"/>
              </p:cNvSpPr>
              <p:nvPr/>
            </p:nvSpPr>
            <p:spPr bwMode="auto">
              <a:xfrm>
                <a:off x="3649248" y="1127192"/>
                <a:ext cx="146844" cy="86306"/>
              </a:xfrm>
              <a:custGeom>
                <a:avLst/>
                <a:gdLst>
                  <a:gd name="T0" fmla="*/ 20 w 130"/>
                  <a:gd name="T1" fmla="*/ 50 h 77"/>
                  <a:gd name="T2" fmla="*/ 94 w 130"/>
                  <a:gd name="T3" fmla="*/ 75 h 77"/>
                  <a:gd name="T4" fmla="*/ 103 w 130"/>
                  <a:gd name="T5" fmla="*/ 77 h 77"/>
                  <a:gd name="T6" fmla="*/ 125 w 130"/>
                  <a:gd name="T7" fmla="*/ 63 h 77"/>
                  <a:gd name="T8" fmla="*/ 113 w 130"/>
                  <a:gd name="T9" fmla="*/ 31 h 77"/>
                  <a:gd name="T10" fmla="*/ 32 w 130"/>
                  <a:gd name="T11" fmla="*/ 3 h 77"/>
                  <a:gd name="T12" fmla="*/ 3 w 130"/>
                  <a:gd name="T13" fmla="*/ 21 h 77"/>
                  <a:gd name="T14" fmla="*/ 20 w 130"/>
                  <a:gd name="T15" fmla="*/ 50 h 77"/>
                  <a:gd name="T16" fmla="*/ 20 w 130"/>
                  <a:gd name="T17" fmla="*/ 50 h 77"/>
                  <a:gd name="T18" fmla="*/ 20 w 130"/>
                  <a:gd name="T19" fmla="*/ 50 h 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30" h="77">
                    <a:moveTo>
                      <a:pt x="20" y="50"/>
                    </a:moveTo>
                    <a:cubicBezTo>
                      <a:pt x="45" y="56"/>
                      <a:pt x="70" y="65"/>
                      <a:pt x="94" y="75"/>
                    </a:cubicBezTo>
                    <a:cubicBezTo>
                      <a:pt x="97" y="76"/>
                      <a:pt x="100" y="77"/>
                      <a:pt x="103" y="77"/>
                    </a:cubicBezTo>
                    <a:cubicBezTo>
                      <a:pt x="112" y="77"/>
                      <a:pt x="121" y="72"/>
                      <a:pt x="125" y="63"/>
                    </a:cubicBezTo>
                    <a:cubicBezTo>
                      <a:pt x="130" y="50"/>
                      <a:pt x="125" y="36"/>
                      <a:pt x="113" y="31"/>
                    </a:cubicBezTo>
                    <a:cubicBezTo>
                      <a:pt x="87" y="20"/>
                      <a:pt x="60" y="10"/>
                      <a:pt x="32" y="3"/>
                    </a:cubicBezTo>
                    <a:cubicBezTo>
                      <a:pt x="20" y="0"/>
                      <a:pt x="6" y="8"/>
                      <a:pt x="3" y="21"/>
                    </a:cubicBezTo>
                    <a:cubicBezTo>
                      <a:pt x="0" y="33"/>
                      <a:pt x="8" y="46"/>
                      <a:pt x="20" y="50"/>
                    </a:cubicBezTo>
                    <a:close/>
                    <a:moveTo>
                      <a:pt x="20" y="50"/>
                    </a:moveTo>
                    <a:cubicBezTo>
                      <a:pt x="20" y="50"/>
                      <a:pt x="20" y="50"/>
                      <a:pt x="20" y="5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60960" tIns="30480" rIns="60960" bIns="30480" numCol="1" anchor="t" anchorCtr="0" compatLnSpc="1"/>
              <a:lstStyle/>
              <a:p>
                <a:endParaRPr lang="ko-KR" altLang="en-US" sz="1200">
                  <a:latin typeface="Arial" panose="020B0604020202020204" pitchFamily="34" charset="0"/>
                  <a:cs typeface="思源黑体 CN Regular" panose="020B0500000000000000" charset="-122"/>
                  <a:sym typeface="Arial" panose="020B0604020202020204" pitchFamily="34" charset="0"/>
                </a:endParaRPr>
              </a:p>
            </p:txBody>
          </p:sp>
          <p:sp>
            <p:nvSpPr>
              <p:cNvPr id="48" name="Freeform 567"/>
              <p:cNvSpPr>
                <a:spLocks noEditPoints="1"/>
              </p:cNvSpPr>
              <p:nvPr/>
            </p:nvSpPr>
            <p:spPr bwMode="auto">
              <a:xfrm>
                <a:off x="3850494" y="1223315"/>
                <a:ext cx="197565" cy="200428"/>
              </a:xfrm>
              <a:custGeom>
                <a:avLst/>
                <a:gdLst>
                  <a:gd name="T0" fmla="*/ 42 w 175"/>
                  <a:gd name="T1" fmla="*/ 8 h 179"/>
                  <a:gd name="T2" fmla="*/ 8 w 175"/>
                  <a:gd name="T3" fmla="*/ 12 h 179"/>
                  <a:gd name="T4" fmla="*/ 13 w 175"/>
                  <a:gd name="T5" fmla="*/ 46 h 179"/>
                  <a:gd name="T6" fmla="*/ 128 w 175"/>
                  <a:gd name="T7" fmla="*/ 168 h 179"/>
                  <a:gd name="T8" fmla="*/ 148 w 175"/>
                  <a:gd name="T9" fmla="*/ 179 h 179"/>
                  <a:gd name="T10" fmla="*/ 161 w 175"/>
                  <a:gd name="T11" fmla="*/ 175 h 179"/>
                  <a:gd name="T12" fmla="*/ 168 w 175"/>
                  <a:gd name="T13" fmla="*/ 142 h 179"/>
                  <a:gd name="T14" fmla="*/ 42 w 175"/>
                  <a:gd name="T15" fmla="*/ 8 h 179"/>
                  <a:gd name="T16" fmla="*/ 42 w 175"/>
                  <a:gd name="T17" fmla="*/ 8 h 179"/>
                  <a:gd name="T18" fmla="*/ 42 w 175"/>
                  <a:gd name="T19" fmla="*/ 8 h 1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75" h="179">
                    <a:moveTo>
                      <a:pt x="42" y="8"/>
                    </a:moveTo>
                    <a:cubicBezTo>
                      <a:pt x="31" y="0"/>
                      <a:pt x="16" y="2"/>
                      <a:pt x="8" y="12"/>
                    </a:cubicBezTo>
                    <a:cubicBezTo>
                      <a:pt x="0" y="23"/>
                      <a:pt x="3" y="38"/>
                      <a:pt x="13" y="46"/>
                    </a:cubicBezTo>
                    <a:cubicBezTo>
                      <a:pt x="58" y="80"/>
                      <a:pt x="97" y="121"/>
                      <a:pt x="128" y="168"/>
                    </a:cubicBezTo>
                    <a:cubicBezTo>
                      <a:pt x="133" y="175"/>
                      <a:pt x="140" y="179"/>
                      <a:pt x="148" y="179"/>
                    </a:cubicBezTo>
                    <a:cubicBezTo>
                      <a:pt x="153" y="179"/>
                      <a:pt x="157" y="178"/>
                      <a:pt x="161" y="175"/>
                    </a:cubicBezTo>
                    <a:cubicBezTo>
                      <a:pt x="172" y="168"/>
                      <a:pt x="175" y="153"/>
                      <a:pt x="168" y="142"/>
                    </a:cubicBezTo>
                    <a:cubicBezTo>
                      <a:pt x="134" y="90"/>
                      <a:pt x="92" y="45"/>
                      <a:pt x="42" y="8"/>
                    </a:cubicBezTo>
                    <a:close/>
                    <a:moveTo>
                      <a:pt x="42" y="8"/>
                    </a:moveTo>
                    <a:cubicBezTo>
                      <a:pt x="42" y="8"/>
                      <a:pt x="42" y="8"/>
                      <a:pt x="42" y="8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60960" tIns="30480" rIns="60960" bIns="30480" numCol="1" anchor="t" anchorCtr="0" compatLnSpc="1"/>
              <a:lstStyle/>
              <a:p>
                <a:endParaRPr lang="ko-KR" altLang="en-US" sz="1200">
                  <a:latin typeface="Arial" panose="020B0604020202020204" pitchFamily="34" charset="0"/>
                  <a:cs typeface="思源黑体 CN Regular" panose="020B0500000000000000" charset="-122"/>
                  <a:sym typeface="Arial" panose="020B0604020202020204" pitchFamily="34" charset="0"/>
                </a:endParaRPr>
              </a:p>
            </p:txBody>
          </p:sp>
          <p:sp>
            <p:nvSpPr>
              <p:cNvPr id="49" name="Freeform 568"/>
              <p:cNvSpPr>
                <a:spLocks noEditPoints="1"/>
              </p:cNvSpPr>
              <p:nvPr/>
            </p:nvSpPr>
            <p:spPr bwMode="auto">
              <a:xfrm>
                <a:off x="3234688" y="1223315"/>
                <a:ext cx="611511" cy="917059"/>
              </a:xfrm>
              <a:custGeom>
                <a:avLst/>
                <a:gdLst>
                  <a:gd name="T0" fmla="*/ 485 w 541"/>
                  <a:gd name="T1" fmla="*/ 311 h 820"/>
                  <a:gd name="T2" fmla="*/ 300 w 541"/>
                  <a:gd name="T3" fmla="*/ 311 h 820"/>
                  <a:gd name="T4" fmla="*/ 332 w 541"/>
                  <a:gd name="T5" fmla="*/ 54 h 820"/>
                  <a:gd name="T6" fmla="*/ 314 w 541"/>
                  <a:gd name="T7" fmla="*/ 6 h 820"/>
                  <a:gd name="T8" fmla="*/ 268 w 541"/>
                  <a:gd name="T9" fmla="*/ 29 h 820"/>
                  <a:gd name="T10" fmla="*/ 15 w 541"/>
                  <a:gd name="T11" fmla="*/ 383 h 820"/>
                  <a:gd name="T12" fmla="*/ 8 w 541"/>
                  <a:gd name="T13" fmla="*/ 437 h 820"/>
                  <a:gd name="T14" fmla="*/ 56 w 541"/>
                  <a:gd name="T15" fmla="*/ 462 h 820"/>
                  <a:gd name="T16" fmla="*/ 213 w 541"/>
                  <a:gd name="T17" fmla="*/ 462 h 820"/>
                  <a:gd name="T18" fmla="*/ 179 w 541"/>
                  <a:gd name="T19" fmla="*/ 770 h 820"/>
                  <a:gd name="T20" fmla="*/ 197 w 541"/>
                  <a:gd name="T21" fmla="*/ 818 h 820"/>
                  <a:gd name="T22" fmla="*/ 207 w 541"/>
                  <a:gd name="T23" fmla="*/ 820 h 820"/>
                  <a:gd name="T24" fmla="*/ 243 w 541"/>
                  <a:gd name="T25" fmla="*/ 795 h 820"/>
                  <a:gd name="T26" fmla="*/ 526 w 541"/>
                  <a:gd name="T27" fmla="*/ 390 h 820"/>
                  <a:gd name="T28" fmla="*/ 533 w 541"/>
                  <a:gd name="T29" fmla="*/ 336 h 820"/>
                  <a:gd name="T30" fmla="*/ 485 w 541"/>
                  <a:gd name="T31" fmla="*/ 311 h 820"/>
                  <a:gd name="T32" fmla="*/ 486 w 541"/>
                  <a:gd name="T33" fmla="*/ 362 h 820"/>
                  <a:gd name="T34" fmla="*/ 232 w 541"/>
                  <a:gd name="T35" fmla="*/ 727 h 820"/>
                  <a:gd name="T36" fmla="*/ 264 w 541"/>
                  <a:gd name="T37" fmla="*/ 440 h 820"/>
                  <a:gd name="T38" fmla="*/ 258 w 541"/>
                  <a:gd name="T39" fmla="*/ 422 h 820"/>
                  <a:gd name="T40" fmla="*/ 240 w 541"/>
                  <a:gd name="T41" fmla="*/ 414 h 820"/>
                  <a:gd name="T42" fmla="*/ 56 w 541"/>
                  <a:gd name="T43" fmla="*/ 414 h 820"/>
                  <a:gd name="T44" fmla="*/ 52 w 541"/>
                  <a:gd name="T45" fmla="*/ 413 h 820"/>
                  <a:gd name="T46" fmla="*/ 54 w 541"/>
                  <a:gd name="T47" fmla="*/ 411 h 820"/>
                  <a:gd name="T48" fmla="*/ 278 w 541"/>
                  <a:gd name="T49" fmla="*/ 96 h 820"/>
                  <a:gd name="T50" fmla="*/ 249 w 541"/>
                  <a:gd name="T51" fmla="*/ 332 h 820"/>
                  <a:gd name="T52" fmla="*/ 255 w 541"/>
                  <a:gd name="T53" fmla="*/ 351 h 820"/>
                  <a:gd name="T54" fmla="*/ 273 w 541"/>
                  <a:gd name="T55" fmla="*/ 359 h 820"/>
                  <a:gd name="T56" fmla="*/ 485 w 541"/>
                  <a:gd name="T57" fmla="*/ 359 h 820"/>
                  <a:gd name="T58" fmla="*/ 488 w 541"/>
                  <a:gd name="T59" fmla="*/ 359 h 820"/>
                  <a:gd name="T60" fmla="*/ 486 w 541"/>
                  <a:gd name="T61" fmla="*/ 362 h 820"/>
                  <a:gd name="T62" fmla="*/ 486 w 541"/>
                  <a:gd name="T63" fmla="*/ 362 h 820"/>
                  <a:gd name="T64" fmla="*/ 486 w 541"/>
                  <a:gd name="T65" fmla="*/ 362 h 8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541" h="820">
                    <a:moveTo>
                      <a:pt x="485" y="311"/>
                    </a:moveTo>
                    <a:cubicBezTo>
                      <a:pt x="300" y="311"/>
                      <a:pt x="300" y="311"/>
                      <a:pt x="300" y="311"/>
                    </a:cubicBezTo>
                    <a:cubicBezTo>
                      <a:pt x="332" y="54"/>
                      <a:pt x="332" y="54"/>
                      <a:pt x="332" y="54"/>
                    </a:cubicBezTo>
                    <a:cubicBezTo>
                      <a:pt x="336" y="29"/>
                      <a:pt x="330" y="12"/>
                      <a:pt x="314" y="6"/>
                    </a:cubicBezTo>
                    <a:cubicBezTo>
                      <a:pt x="298" y="0"/>
                      <a:pt x="282" y="7"/>
                      <a:pt x="268" y="29"/>
                    </a:cubicBezTo>
                    <a:cubicBezTo>
                      <a:pt x="15" y="383"/>
                      <a:pt x="15" y="383"/>
                      <a:pt x="15" y="383"/>
                    </a:cubicBezTo>
                    <a:cubicBezTo>
                      <a:pt x="2" y="401"/>
                      <a:pt x="0" y="421"/>
                      <a:pt x="8" y="437"/>
                    </a:cubicBezTo>
                    <a:cubicBezTo>
                      <a:pt x="16" y="453"/>
                      <a:pt x="34" y="462"/>
                      <a:pt x="56" y="462"/>
                    </a:cubicBezTo>
                    <a:cubicBezTo>
                      <a:pt x="213" y="462"/>
                      <a:pt x="213" y="462"/>
                      <a:pt x="213" y="462"/>
                    </a:cubicBezTo>
                    <a:cubicBezTo>
                      <a:pt x="179" y="770"/>
                      <a:pt x="179" y="770"/>
                      <a:pt x="179" y="770"/>
                    </a:cubicBezTo>
                    <a:cubicBezTo>
                      <a:pt x="175" y="796"/>
                      <a:pt x="181" y="812"/>
                      <a:pt x="197" y="818"/>
                    </a:cubicBezTo>
                    <a:cubicBezTo>
                      <a:pt x="200" y="819"/>
                      <a:pt x="204" y="820"/>
                      <a:pt x="207" y="820"/>
                    </a:cubicBezTo>
                    <a:cubicBezTo>
                      <a:pt x="219" y="820"/>
                      <a:pt x="231" y="812"/>
                      <a:pt x="243" y="795"/>
                    </a:cubicBezTo>
                    <a:cubicBezTo>
                      <a:pt x="526" y="390"/>
                      <a:pt x="526" y="390"/>
                      <a:pt x="526" y="390"/>
                    </a:cubicBezTo>
                    <a:cubicBezTo>
                      <a:pt x="538" y="371"/>
                      <a:pt x="541" y="352"/>
                      <a:pt x="533" y="336"/>
                    </a:cubicBezTo>
                    <a:cubicBezTo>
                      <a:pt x="524" y="320"/>
                      <a:pt x="507" y="311"/>
                      <a:pt x="485" y="311"/>
                    </a:cubicBezTo>
                    <a:close/>
                    <a:moveTo>
                      <a:pt x="486" y="362"/>
                    </a:moveTo>
                    <a:cubicBezTo>
                      <a:pt x="232" y="727"/>
                      <a:pt x="232" y="727"/>
                      <a:pt x="232" y="727"/>
                    </a:cubicBezTo>
                    <a:cubicBezTo>
                      <a:pt x="264" y="440"/>
                      <a:pt x="264" y="440"/>
                      <a:pt x="264" y="440"/>
                    </a:cubicBezTo>
                    <a:cubicBezTo>
                      <a:pt x="265" y="433"/>
                      <a:pt x="263" y="427"/>
                      <a:pt x="258" y="422"/>
                    </a:cubicBezTo>
                    <a:cubicBezTo>
                      <a:pt x="254" y="417"/>
                      <a:pt x="247" y="414"/>
                      <a:pt x="240" y="414"/>
                    </a:cubicBezTo>
                    <a:cubicBezTo>
                      <a:pt x="56" y="414"/>
                      <a:pt x="56" y="414"/>
                      <a:pt x="56" y="414"/>
                    </a:cubicBezTo>
                    <a:cubicBezTo>
                      <a:pt x="54" y="414"/>
                      <a:pt x="53" y="414"/>
                      <a:pt x="52" y="413"/>
                    </a:cubicBezTo>
                    <a:cubicBezTo>
                      <a:pt x="53" y="413"/>
                      <a:pt x="53" y="412"/>
                      <a:pt x="54" y="411"/>
                    </a:cubicBezTo>
                    <a:cubicBezTo>
                      <a:pt x="278" y="96"/>
                      <a:pt x="278" y="96"/>
                      <a:pt x="278" y="96"/>
                    </a:cubicBezTo>
                    <a:cubicBezTo>
                      <a:pt x="249" y="332"/>
                      <a:pt x="249" y="332"/>
                      <a:pt x="249" y="332"/>
                    </a:cubicBezTo>
                    <a:cubicBezTo>
                      <a:pt x="248" y="339"/>
                      <a:pt x="250" y="346"/>
                      <a:pt x="255" y="351"/>
                    </a:cubicBezTo>
                    <a:cubicBezTo>
                      <a:pt x="260" y="356"/>
                      <a:pt x="266" y="359"/>
                      <a:pt x="273" y="359"/>
                    </a:cubicBezTo>
                    <a:cubicBezTo>
                      <a:pt x="485" y="359"/>
                      <a:pt x="485" y="359"/>
                      <a:pt x="485" y="359"/>
                    </a:cubicBezTo>
                    <a:cubicBezTo>
                      <a:pt x="486" y="359"/>
                      <a:pt x="487" y="359"/>
                      <a:pt x="488" y="359"/>
                    </a:cubicBezTo>
                    <a:cubicBezTo>
                      <a:pt x="488" y="360"/>
                      <a:pt x="487" y="361"/>
                      <a:pt x="486" y="362"/>
                    </a:cubicBezTo>
                    <a:close/>
                    <a:moveTo>
                      <a:pt x="486" y="362"/>
                    </a:moveTo>
                    <a:cubicBezTo>
                      <a:pt x="486" y="362"/>
                      <a:pt x="486" y="362"/>
                      <a:pt x="486" y="362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60960" tIns="30480" rIns="60960" bIns="30480" numCol="1" anchor="t" anchorCtr="0" compatLnSpc="1"/>
              <a:lstStyle/>
              <a:p>
                <a:endParaRPr lang="ko-KR" altLang="en-US" sz="1200">
                  <a:latin typeface="Arial" panose="020B0604020202020204" pitchFamily="34" charset="0"/>
                  <a:cs typeface="思源黑体 CN Regular" panose="020B0500000000000000" charset="-122"/>
                  <a:sym typeface="Arial" panose="020B0604020202020204" pitchFamily="34" charset="0"/>
                </a:endParaRPr>
              </a:p>
            </p:txBody>
          </p:sp>
        </p:grpSp>
      </p:grpSp>
      <p:grpSp>
        <p:nvGrpSpPr>
          <p:cNvPr id="50" name="Group 49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GrpSpPr/>
          <p:nvPr/>
        </p:nvGrpSpPr>
        <p:grpSpPr>
          <a:xfrm>
            <a:off x="9410544" y="4218591"/>
            <a:ext cx="587465" cy="587465"/>
            <a:chOff x="7380514" y="7388993"/>
            <a:chExt cx="881198" cy="881198"/>
          </a:xfrm>
        </p:grpSpPr>
        <p:sp>
          <p:nvSpPr>
            <p:cNvPr id="51" name="Oval 50"/>
            <p:cNvSpPr/>
            <p:nvPr/>
          </p:nvSpPr>
          <p:spPr>
            <a:xfrm>
              <a:off x="7380514" y="7388993"/>
              <a:ext cx="881198" cy="881198"/>
            </a:xfrm>
            <a:prstGeom prst="ellipse">
              <a:avLst/>
            </a:prstGeom>
            <a:solidFill>
              <a:schemeClr val="bg1"/>
            </a:solidFill>
            <a:ln w="25400" cap="rnd">
              <a:noFill/>
              <a:round/>
            </a:ln>
            <a:effectLst>
              <a:outerShdw blurRad="495300" dist="342900" dir="2700000" algn="tl" rotWithShape="0">
                <a:prstClr val="black">
                  <a:alpha val="9000"/>
                </a:prst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200"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endParaRPr>
            </a:p>
          </p:txBody>
        </p:sp>
        <p:grpSp>
          <p:nvGrpSpPr>
            <p:cNvPr id="52" name="Group 51"/>
            <p:cNvGrpSpPr>
              <a:grpSpLocks noChangeAspect="1"/>
            </p:cNvGrpSpPr>
            <p:nvPr/>
          </p:nvGrpSpPr>
          <p:grpSpPr>
            <a:xfrm>
              <a:off x="7731936" y="7691721"/>
              <a:ext cx="178354" cy="274320"/>
              <a:chOff x="8105941" y="1256468"/>
              <a:chExt cx="1189023" cy="1828800"/>
            </a:xfrm>
            <a:solidFill>
              <a:schemeClr val="tx1"/>
            </a:solidFill>
          </p:grpSpPr>
          <p:sp>
            <p:nvSpPr>
              <p:cNvPr id="53" name="Freeform 235"/>
              <p:cNvSpPr>
                <a:spLocks noEditPoints="1"/>
              </p:cNvSpPr>
              <p:nvPr/>
            </p:nvSpPr>
            <p:spPr bwMode="auto">
              <a:xfrm>
                <a:off x="8105941" y="1256468"/>
                <a:ext cx="1189023" cy="1828800"/>
              </a:xfrm>
              <a:custGeom>
                <a:avLst/>
                <a:gdLst>
                  <a:gd name="T0" fmla="*/ 912 w 912"/>
                  <a:gd name="T1" fmla="*/ 120 h 1418"/>
                  <a:gd name="T2" fmla="*/ 912 w 912"/>
                  <a:gd name="T3" fmla="*/ 1298 h 1418"/>
                  <a:gd name="T4" fmla="*/ 792 w 912"/>
                  <a:gd name="T5" fmla="*/ 1418 h 1418"/>
                  <a:gd name="T6" fmla="*/ 120 w 912"/>
                  <a:gd name="T7" fmla="*/ 1418 h 1418"/>
                  <a:gd name="T8" fmla="*/ 0 w 912"/>
                  <a:gd name="T9" fmla="*/ 1298 h 1418"/>
                  <a:gd name="T10" fmla="*/ 0 w 912"/>
                  <a:gd name="T11" fmla="*/ 120 h 1418"/>
                  <a:gd name="T12" fmla="*/ 120 w 912"/>
                  <a:gd name="T13" fmla="*/ 0 h 1418"/>
                  <a:gd name="T14" fmla="*/ 792 w 912"/>
                  <a:gd name="T15" fmla="*/ 0 h 1418"/>
                  <a:gd name="T16" fmla="*/ 912 w 912"/>
                  <a:gd name="T17" fmla="*/ 120 h 1418"/>
                  <a:gd name="T18" fmla="*/ 864 w 912"/>
                  <a:gd name="T19" fmla="*/ 1298 h 1418"/>
                  <a:gd name="T20" fmla="*/ 864 w 912"/>
                  <a:gd name="T21" fmla="*/ 1200 h 1418"/>
                  <a:gd name="T22" fmla="*/ 48 w 912"/>
                  <a:gd name="T23" fmla="*/ 1200 h 1418"/>
                  <a:gd name="T24" fmla="*/ 48 w 912"/>
                  <a:gd name="T25" fmla="*/ 1298 h 1418"/>
                  <a:gd name="T26" fmla="*/ 120 w 912"/>
                  <a:gd name="T27" fmla="*/ 1370 h 1418"/>
                  <a:gd name="T28" fmla="*/ 792 w 912"/>
                  <a:gd name="T29" fmla="*/ 1370 h 1418"/>
                  <a:gd name="T30" fmla="*/ 864 w 912"/>
                  <a:gd name="T31" fmla="*/ 1298 h 1418"/>
                  <a:gd name="T32" fmla="*/ 864 w 912"/>
                  <a:gd name="T33" fmla="*/ 1152 h 1418"/>
                  <a:gd name="T34" fmla="*/ 864 w 912"/>
                  <a:gd name="T35" fmla="*/ 266 h 1418"/>
                  <a:gd name="T36" fmla="*/ 48 w 912"/>
                  <a:gd name="T37" fmla="*/ 266 h 1418"/>
                  <a:gd name="T38" fmla="*/ 48 w 912"/>
                  <a:gd name="T39" fmla="*/ 1152 h 1418"/>
                  <a:gd name="T40" fmla="*/ 864 w 912"/>
                  <a:gd name="T41" fmla="*/ 1152 h 1418"/>
                  <a:gd name="T42" fmla="*/ 864 w 912"/>
                  <a:gd name="T43" fmla="*/ 218 h 1418"/>
                  <a:gd name="T44" fmla="*/ 864 w 912"/>
                  <a:gd name="T45" fmla="*/ 120 h 1418"/>
                  <a:gd name="T46" fmla="*/ 792 w 912"/>
                  <a:gd name="T47" fmla="*/ 48 h 1418"/>
                  <a:gd name="T48" fmla="*/ 120 w 912"/>
                  <a:gd name="T49" fmla="*/ 48 h 1418"/>
                  <a:gd name="T50" fmla="*/ 48 w 912"/>
                  <a:gd name="T51" fmla="*/ 120 h 1418"/>
                  <a:gd name="T52" fmla="*/ 48 w 912"/>
                  <a:gd name="T53" fmla="*/ 218 h 1418"/>
                  <a:gd name="T54" fmla="*/ 864 w 912"/>
                  <a:gd name="T55" fmla="*/ 218 h 1418"/>
                  <a:gd name="T56" fmla="*/ 864 w 912"/>
                  <a:gd name="T57" fmla="*/ 218 h 1418"/>
                  <a:gd name="T58" fmla="*/ 864 w 912"/>
                  <a:gd name="T59" fmla="*/ 218 h 14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912" h="1418">
                    <a:moveTo>
                      <a:pt x="912" y="120"/>
                    </a:moveTo>
                    <a:cubicBezTo>
                      <a:pt x="912" y="1298"/>
                      <a:pt x="912" y="1298"/>
                      <a:pt x="912" y="1298"/>
                    </a:cubicBezTo>
                    <a:cubicBezTo>
                      <a:pt x="912" y="1364"/>
                      <a:pt x="858" y="1418"/>
                      <a:pt x="792" y="1418"/>
                    </a:cubicBezTo>
                    <a:cubicBezTo>
                      <a:pt x="120" y="1418"/>
                      <a:pt x="120" y="1418"/>
                      <a:pt x="120" y="1418"/>
                    </a:cubicBezTo>
                    <a:cubicBezTo>
                      <a:pt x="54" y="1418"/>
                      <a:pt x="0" y="1364"/>
                      <a:pt x="0" y="1298"/>
                    </a:cubicBezTo>
                    <a:cubicBezTo>
                      <a:pt x="0" y="120"/>
                      <a:pt x="0" y="120"/>
                      <a:pt x="0" y="120"/>
                    </a:cubicBezTo>
                    <a:cubicBezTo>
                      <a:pt x="0" y="54"/>
                      <a:pt x="54" y="0"/>
                      <a:pt x="120" y="0"/>
                    </a:cubicBezTo>
                    <a:cubicBezTo>
                      <a:pt x="792" y="0"/>
                      <a:pt x="792" y="0"/>
                      <a:pt x="792" y="0"/>
                    </a:cubicBezTo>
                    <a:cubicBezTo>
                      <a:pt x="858" y="0"/>
                      <a:pt x="912" y="54"/>
                      <a:pt x="912" y="120"/>
                    </a:cubicBezTo>
                    <a:close/>
                    <a:moveTo>
                      <a:pt x="864" y="1298"/>
                    </a:moveTo>
                    <a:cubicBezTo>
                      <a:pt x="864" y="1200"/>
                      <a:pt x="864" y="1200"/>
                      <a:pt x="864" y="1200"/>
                    </a:cubicBezTo>
                    <a:cubicBezTo>
                      <a:pt x="48" y="1200"/>
                      <a:pt x="48" y="1200"/>
                      <a:pt x="48" y="1200"/>
                    </a:cubicBezTo>
                    <a:cubicBezTo>
                      <a:pt x="48" y="1298"/>
                      <a:pt x="48" y="1298"/>
                      <a:pt x="48" y="1298"/>
                    </a:cubicBezTo>
                    <a:cubicBezTo>
                      <a:pt x="48" y="1338"/>
                      <a:pt x="80" y="1370"/>
                      <a:pt x="120" y="1370"/>
                    </a:cubicBezTo>
                    <a:cubicBezTo>
                      <a:pt x="792" y="1370"/>
                      <a:pt x="792" y="1370"/>
                      <a:pt x="792" y="1370"/>
                    </a:cubicBezTo>
                    <a:cubicBezTo>
                      <a:pt x="832" y="1370"/>
                      <a:pt x="864" y="1338"/>
                      <a:pt x="864" y="1298"/>
                    </a:cubicBezTo>
                    <a:close/>
                    <a:moveTo>
                      <a:pt x="864" y="1152"/>
                    </a:moveTo>
                    <a:cubicBezTo>
                      <a:pt x="864" y="266"/>
                      <a:pt x="864" y="266"/>
                      <a:pt x="864" y="266"/>
                    </a:cubicBezTo>
                    <a:cubicBezTo>
                      <a:pt x="48" y="266"/>
                      <a:pt x="48" y="266"/>
                      <a:pt x="48" y="266"/>
                    </a:cubicBezTo>
                    <a:cubicBezTo>
                      <a:pt x="48" y="1152"/>
                      <a:pt x="48" y="1152"/>
                      <a:pt x="48" y="1152"/>
                    </a:cubicBezTo>
                    <a:lnTo>
                      <a:pt x="864" y="1152"/>
                    </a:lnTo>
                    <a:close/>
                    <a:moveTo>
                      <a:pt x="864" y="218"/>
                    </a:moveTo>
                    <a:cubicBezTo>
                      <a:pt x="864" y="120"/>
                      <a:pt x="864" y="120"/>
                      <a:pt x="864" y="120"/>
                    </a:cubicBezTo>
                    <a:cubicBezTo>
                      <a:pt x="864" y="80"/>
                      <a:pt x="832" y="48"/>
                      <a:pt x="792" y="48"/>
                    </a:cubicBezTo>
                    <a:cubicBezTo>
                      <a:pt x="120" y="48"/>
                      <a:pt x="120" y="48"/>
                      <a:pt x="120" y="48"/>
                    </a:cubicBezTo>
                    <a:cubicBezTo>
                      <a:pt x="80" y="48"/>
                      <a:pt x="48" y="80"/>
                      <a:pt x="48" y="120"/>
                    </a:cubicBezTo>
                    <a:cubicBezTo>
                      <a:pt x="48" y="218"/>
                      <a:pt x="48" y="218"/>
                      <a:pt x="48" y="218"/>
                    </a:cubicBezTo>
                    <a:lnTo>
                      <a:pt x="864" y="218"/>
                    </a:lnTo>
                    <a:close/>
                    <a:moveTo>
                      <a:pt x="864" y="218"/>
                    </a:moveTo>
                    <a:cubicBezTo>
                      <a:pt x="864" y="218"/>
                      <a:pt x="864" y="218"/>
                      <a:pt x="864" y="218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60960" tIns="30480" rIns="60960" bIns="30480" numCol="1" anchor="t" anchorCtr="0" compatLnSpc="1"/>
              <a:lstStyle/>
              <a:p>
                <a:endParaRPr lang="ko-KR" altLang="en-US" sz="1200">
                  <a:latin typeface="Arial" panose="020B0604020202020204" pitchFamily="34" charset="0"/>
                  <a:cs typeface="思源黑体 CN Regular" panose="020B0500000000000000" charset="-122"/>
                  <a:sym typeface="Arial" panose="020B0604020202020204" pitchFamily="34" charset="0"/>
                </a:endParaRPr>
              </a:p>
            </p:txBody>
          </p:sp>
          <p:sp>
            <p:nvSpPr>
              <p:cNvPr id="54" name="Freeform 241"/>
              <p:cNvSpPr>
                <a:spLocks noEditPoints="1"/>
              </p:cNvSpPr>
              <p:nvPr/>
            </p:nvSpPr>
            <p:spPr bwMode="auto">
              <a:xfrm>
                <a:off x="8535913" y="1396963"/>
                <a:ext cx="328608" cy="62233"/>
              </a:xfrm>
              <a:custGeom>
                <a:avLst/>
                <a:gdLst>
                  <a:gd name="T0" fmla="*/ 228 w 252"/>
                  <a:gd name="T1" fmla="*/ 0 h 48"/>
                  <a:gd name="T2" fmla="*/ 252 w 252"/>
                  <a:gd name="T3" fmla="*/ 24 h 48"/>
                  <a:gd name="T4" fmla="*/ 228 w 252"/>
                  <a:gd name="T5" fmla="*/ 48 h 48"/>
                  <a:gd name="T6" fmla="*/ 24 w 252"/>
                  <a:gd name="T7" fmla="*/ 48 h 48"/>
                  <a:gd name="T8" fmla="*/ 0 w 252"/>
                  <a:gd name="T9" fmla="*/ 24 h 48"/>
                  <a:gd name="T10" fmla="*/ 24 w 252"/>
                  <a:gd name="T11" fmla="*/ 0 h 48"/>
                  <a:gd name="T12" fmla="*/ 228 w 252"/>
                  <a:gd name="T13" fmla="*/ 0 h 48"/>
                  <a:gd name="T14" fmla="*/ 228 w 252"/>
                  <a:gd name="T15" fmla="*/ 0 h 48"/>
                  <a:gd name="T16" fmla="*/ 228 w 252"/>
                  <a:gd name="T17" fmla="*/ 0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51" h="48">
                    <a:moveTo>
                      <a:pt x="228" y="0"/>
                    </a:moveTo>
                    <a:cubicBezTo>
                      <a:pt x="242" y="0"/>
                      <a:pt x="252" y="11"/>
                      <a:pt x="252" y="24"/>
                    </a:cubicBezTo>
                    <a:cubicBezTo>
                      <a:pt x="252" y="37"/>
                      <a:pt x="242" y="48"/>
                      <a:pt x="228" y="48"/>
                    </a:cubicBezTo>
                    <a:cubicBezTo>
                      <a:pt x="24" y="48"/>
                      <a:pt x="24" y="48"/>
                      <a:pt x="24" y="48"/>
                    </a:cubicBezTo>
                    <a:cubicBezTo>
                      <a:pt x="10" y="48"/>
                      <a:pt x="0" y="37"/>
                      <a:pt x="0" y="24"/>
                    </a:cubicBezTo>
                    <a:cubicBezTo>
                      <a:pt x="0" y="11"/>
                      <a:pt x="10" y="0"/>
                      <a:pt x="24" y="0"/>
                    </a:cubicBezTo>
                    <a:lnTo>
                      <a:pt x="228" y="0"/>
                    </a:lnTo>
                    <a:close/>
                    <a:moveTo>
                      <a:pt x="228" y="0"/>
                    </a:moveTo>
                    <a:cubicBezTo>
                      <a:pt x="228" y="0"/>
                      <a:pt x="228" y="0"/>
                      <a:pt x="228" y="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60960" tIns="30480" rIns="60960" bIns="30480" numCol="1" anchor="t" anchorCtr="0" compatLnSpc="1"/>
              <a:lstStyle/>
              <a:p>
                <a:endParaRPr lang="ko-KR" altLang="en-US" sz="1200">
                  <a:latin typeface="Arial" panose="020B0604020202020204" pitchFamily="34" charset="0"/>
                  <a:cs typeface="思源黑体 CN Regular" panose="020B0500000000000000" charset="-122"/>
                  <a:sym typeface="Arial" panose="020B0604020202020204" pitchFamily="34" charset="0"/>
                </a:endParaRPr>
              </a:p>
            </p:txBody>
          </p:sp>
          <p:sp>
            <p:nvSpPr>
              <p:cNvPr id="55" name="Freeform 243"/>
              <p:cNvSpPr>
                <a:spLocks noEditPoints="1"/>
              </p:cNvSpPr>
              <p:nvPr/>
            </p:nvSpPr>
            <p:spPr bwMode="auto">
              <a:xfrm>
                <a:off x="8606632" y="2819835"/>
                <a:ext cx="187641" cy="185756"/>
              </a:xfrm>
              <a:custGeom>
                <a:avLst/>
                <a:gdLst>
                  <a:gd name="T0" fmla="*/ 72 w 144"/>
                  <a:gd name="T1" fmla="*/ 0 h 144"/>
                  <a:gd name="T2" fmla="*/ 144 w 144"/>
                  <a:gd name="T3" fmla="*/ 72 h 144"/>
                  <a:gd name="T4" fmla="*/ 72 w 144"/>
                  <a:gd name="T5" fmla="*/ 144 h 144"/>
                  <a:gd name="T6" fmla="*/ 0 w 144"/>
                  <a:gd name="T7" fmla="*/ 72 h 144"/>
                  <a:gd name="T8" fmla="*/ 72 w 144"/>
                  <a:gd name="T9" fmla="*/ 0 h 144"/>
                  <a:gd name="T10" fmla="*/ 96 w 144"/>
                  <a:gd name="T11" fmla="*/ 72 h 144"/>
                  <a:gd name="T12" fmla="*/ 72 w 144"/>
                  <a:gd name="T13" fmla="*/ 48 h 144"/>
                  <a:gd name="T14" fmla="*/ 48 w 144"/>
                  <a:gd name="T15" fmla="*/ 72 h 144"/>
                  <a:gd name="T16" fmla="*/ 72 w 144"/>
                  <a:gd name="T17" fmla="*/ 96 h 144"/>
                  <a:gd name="T18" fmla="*/ 96 w 144"/>
                  <a:gd name="T19" fmla="*/ 72 h 144"/>
                  <a:gd name="T20" fmla="*/ 96 w 144"/>
                  <a:gd name="T21" fmla="*/ 72 h 144"/>
                  <a:gd name="T22" fmla="*/ 96 w 144"/>
                  <a:gd name="T23" fmla="*/ 72 h 1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44" h="144">
                    <a:moveTo>
                      <a:pt x="72" y="0"/>
                    </a:moveTo>
                    <a:cubicBezTo>
                      <a:pt x="112" y="0"/>
                      <a:pt x="144" y="32"/>
                      <a:pt x="144" y="72"/>
                    </a:cubicBezTo>
                    <a:cubicBezTo>
                      <a:pt x="144" y="111"/>
                      <a:pt x="112" y="144"/>
                      <a:pt x="72" y="144"/>
                    </a:cubicBezTo>
                    <a:cubicBezTo>
                      <a:pt x="32" y="144"/>
                      <a:pt x="0" y="111"/>
                      <a:pt x="0" y="72"/>
                    </a:cubicBezTo>
                    <a:cubicBezTo>
                      <a:pt x="0" y="32"/>
                      <a:pt x="32" y="0"/>
                      <a:pt x="72" y="0"/>
                    </a:cubicBezTo>
                    <a:close/>
                    <a:moveTo>
                      <a:pt x="96" y="72"/>
                    </a:moveTo>
                    <a:cubicBezTo>
                      <a:pt x="96" y="59"/>
                      <a:pt x="85" y="48"/>
                      <a:pt x="72" y="48"/>
                    </a:cubicBezTo>
                    <a:cubicBezTo>
                      <a:pt x="59" y="48"/>
                      <a:pt x="48" y="59"/>
                      <a:pt x="48" y="72"/>
                    </a:cubicBezTo>
                    <a:cubicBezTo>
                      <a:pt x="48" y="85"/>
                      <a:pt x="59" y="96"/>
                      <a:pt x="72" y="96"/>
                    </a:cubicBezTo>
                    <a:cubicBezTo>
                      <a:pt x="85" y="96"/>
                      <a:pt x="96" y="85"/>
                      <a:pt x="96" y="72"/>
                    </a:cubicBezTo>
                    <a:close/>
                    <a:moveTo>
                      <a:pt x="96" y="72"/>
                    </a:moveTo>
                    <a:cubicBezTo>
                      <a:pt x="96" y="72"/>
                      <a:pt x="96" y="72"/>
                      <a:pt x="96" y="72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60960" tIns="30480" rIns="60960" bIns="30480" numCol="1" anchor="t" anchorCtr="0" compatLnSpc="1"/>
              <a:lstStyle/>
              <a:p>
                <a:endParaRPr lang="ko-KR" altLang="en-US" sz="1200">
                  <a:latin typeface="Arial" panose="020B0604020202020204" pitchFamily="34" charset="0"/>
                  <a:cs typeface="思源黑体 CN Regular" panose="020B0500000000000000" charset="-122"/>
                  <a:sym typeface="Arial" panose="020B0604020202020204" pitchFamily="34" charset="0"/>
                </a:endParaRPr>
              </a:p>
            </p:txBody>
          </p:sp>
        </p:grpSp>
      </p:grpSp>
      <p:sp>
        <p:nvSpPr>
          <p:cNvPr id="56" name="Freeform: Shape 55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SpPr/>
          <p:nvPr/>
        </p:nvSpPr>
        <p:spPr>
          <a:xfrm flipH="1">
            <a:off x="7830178" y="3300091"/>
            <a:ext cx="2368238" cy="136071"/>
          </a:xfrm>
          <a:custGeom>
            <a:avLst/>
            <a:gdLst>
              <a:gd name="connsiteX0" fmla="*/ 0 w 3552357"/>
              <a:gd name="connsiteY0" fmla="*/ 176674 h 204106"/>
              <a:gd name="connsiteX1" fmla="*/ 2651760 w 3552357"/>
              <a:gd name="connsiteY1" fmla="*/ 176674 h 204106"/>
              <a:gd name="connsiteX2" fmla="*/ 2651760 w 3552357"/>
              <a:gd name="connsiteY2" fmla="*/ 204106 h 204106"/>
              <a:gd name="connsiteX3" fmla="*/ 0 w 3552357"/>
              <a:gd name="connsiteY3" fmla="*/ 204106 h 204106"/>
              <a:gd name="connsiteX4" fmla="*/ 3328132 w 3552357"/>
              <a:gd name="connsiteY4" fmla="*/ 0 h 204106"/>
              <a:gd name="connsiteX5" fmla="*/ 3552357 w 3552357"/>
              <a:gd name="connsiteY5" fmla="*/ 204106 h 204106"/>
              <a:gd name="connsiteX6" fmla="*/ 3328132 w 3552357"/>
              <a:gd name="connsiteY6" fmla="*/ 204106 h 2041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552357" h="204101">
                <a:moveTo>
                  <a:pt x="0" y="176674"/>
                </a:moveTo>
                <a:lnTo>
                  <a:pt x="2651760" y="176674"/>
                </a:lnTo>
                <a:lnTo>
                  <a:pt x="2651760" y="204106"/>
                </a:lnTo>
                <a:lnTo>
                  <a:pt x="0" y="204106"/>
                </a:lnTo>
                <a:close/>
                <a:moveTo>
                  <a:pt x="3328132" y="0"/>
                </a:moveTo>
                <a:lnTo>
                  <a:pt x="3552357" y="204106"/>
                </a:lnTo>
                <a:lnTo>
                  <a:pt x="3328132" y="204106"/>
                </a:lnTo>
                <a:close/>
              </a:path>
            </a:pathLst>
          </a:custGeom>
          <a:solidFill>
            <a:schemeClr val="accent2"/>
          </a:solidFill>
          <a:ln w="25400" cap="rnd">
            <a:noFill/>
            <a:round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1200">
              <a:latin typeface="Arial" panose="020B0604020202020204" pitchFamily="34" charset="0"/>
              <a:ea typeface="微软雅黑" panose="020B0503020204020204" pitchFamily="34" charset="-122"/>
              <a:cs typeface="思源黑体 CN Regular" panose="020B0500000000000000" charset="-122"/>
              <a:sym typeface="Arial" panose="020B0604020202020204" pitchFamily="34" charset="0"/>
            </a:endParaRPr>
          </a:p>
        </p:txBody>
      </p:sp>
      <p:pic>
        <p:nvPicPr>
          <p:cNvPr id="2" name="图片占位符 1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PicPr>
            <a:picLocks noGrp="1" noChangeAspect="1"/>
          </p:cNvPicPr>
          <p:nvPr>
            <p:ph type="pic" sz="quarter" idx="24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solidFill>
            <a:schemeClr val="bg1"/>
          </a:solidFill>
        </p:spPr>
      </p:pic>
      <p:sp>
        <p:nvSpPr>
          <p:cNvPr id="70" name="Rectangle 39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SpPr/>
          <p:nvPr/>
        </p:nvSpPr>
        <p:spPr>
          <a:xfrm>
            <a:off x="2304289" y="1628982"/>
            <a:ext cx="2359151" cy="10697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30000"/>
              </a:lnSpc>
            </a:pPr>
            <a:r>
              <a:rPr lang="en-US" sz="1400"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rPr>
              <a:t>Marketing Business Online Support</a:t>
            </a:r>
          </a:p>
          <a:p>
            <a:pPr>
              <a:lnSpc>
                <a:spcPct val="130000"/>
              </a:lnSpc>
            </a:pPr>
            <a:r>
              <a:rPr lang="en-US" sz="110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rPr>
              <a:t>Objectively disintermediate leveraged manufactured products</a:t>
            </a:r>
          </a:p>
        </p:txBody>
      </p:sp>
      <p:sp>
        <p:nvSpPr>
          <p:cNvPr id="71" name="TextBox 43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SpPr txBox="1"/>
          <p:nvPr/>
        </p:nvSpPr>
        <p:spPr>
          <a:xfrm>
            <a:off x="8176316" y="1097280"/>
            <a:ext cx="4342622" cy="2123658"/>
          </a:xfrm>
          <a:prstGeom prst="rect">
            <a:avLst/>
          </a:prstGeom>
          <a:noFill/>
          <a:ln>
            <a:noFill/>
          </a:ln>
        </p:spPr>
        <p:txBody>
          <a:bodyPr wrap="square" rtlCol="0" anchor="ctr">
            <a:spAutoFit/>
          </a:bodyPr>
          <a:lstStyle>
            <a:defPPr>
              <a:defRPr lang="zh-CN"/>
            </a:defPPr>
            <a:lvl1pPr algn="r">
              <a:defRPr sz="4400" b="1">
                <a:ln w="9525">
                  <a:noFill/>
                </a:ln>
                <a:latin typeface="+mj-ea"/>
                <a:ea typeface="+mj-ea"/>
              </a:defRPr>
            </a:lvl1pPr>
          </a:lstStyle>
          <a:p>
            <a:pPr algn="l"/>
            <a:r>
              <a:rPr lang="en-US"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rPr>
              <a:t>Essential Service Marketing</a:t>
            </a:r>
          </a:p>
        </p:txBody>
      </p:sp>
      <p:sp>
        <p:nvSpPr>
          <p:cNvPr id="72" name="Rectangle 44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SpPr/>
          <p:nvPr/>
        </p:nvSpPr>
        <p:spPr>
          <a:xfrm>
            <a:off x="8284465" y="4960620"/>
            <a:ext cx="3163824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rPr>
              <a:t>Click here to add content, content to match the title. . </a:t>
            </a:r>
            <a:endParaRPr lang="en-US" sz="700" dirty="0">
              <a:latin typeface="Arial" panose="020B0604020202020204" pitchFamily="34" charset="0"/>
              <a:ea typeface="微软雅黑" panose="020B0503020204020204" pitchFamily="34" charset="-122"/>
              <a:cs typeface="思源黑体 CN Regular" panose="020B0500000000000000" charset="-122"/>
              <a:sym typeface="Arial" panose="020B0604020202020204" pitchFamily="34" charset="0"/>
            </a:endParaRPr>
          </a:p>
        </p:txBody>
      </p:sp>
      <p:sp>
        <p:nvSpPr>
          <p:cNvPr id="75" name="TextBox 55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SpPr txBox="1"/>
          <p:nvPr/>
        </p:nvSpPr>
        <p:spPr>
          <a:xfrm>
            <a:off x="8564995" y="3710425"/>
            <a:ext cx="579005" cy="3877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92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rPr>
              <a:t>85</a:t>
            </a:r>
            <a:r>
              <a:rPr lang="en-US" sz="96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rPr>
              <a:t>%</a:t>
            </a:r>
          </a:p>
        </p:txBody>
      </p:sp>
      <p:sp>
        <p:nvSpPr>
          <p:cNvPr id="76" name="TextBox 56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SpPr txBox="1"/>
          <p:nvPr/>
        </p:nvSpPr>
        <p:spPr>
          <a:xfrm>
            <a:off x="9463684" y="3710425"/>
            <a:ext cx="579005" cy="3877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92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rPr>
              <a:t>15</a:t>
            </a:r>
            <a:r>
              <a:rPr lang="en-US" sz="96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rPr>
              <a:t>%</a:t>
            </a:r>
          </a:p>
        </p:txBody>
      </p:sp>
      <p:sp>
        <p:nvSpPr>
          <p:cNvPr id="77" name="TextBox 56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SpPr txBox="1"/>
          <p:nvPr/>
        </p:nvSpPr>
        <p:spPr>
          <a:xfrm>
            <a:off x="10362373" y="3710425"/>
            <a:ext cx="579005" cy="3877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92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rPr>
              <a:t>30</a:t>
            </a:r>
            <a:r>
              <a:rPr lang="en-US" sz="96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rPr>
              <a:t>%</a:t>
            </a:r>
          </a:p>
        </p:txBody>
      </p:sp>
      <p:sp>
        <p:nvSpPr>
          <p:cNvPr id="78" name="矩形 77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SpPr/>
          <p:nvPr/>
        </p:nvSpPr>
        <p:spPr>
          <a:xfrm>
            <a:off x="537464" y="0"/>
            <a:ext cx="596900" cy="723900"/>
          </a:xfrm>
          <a:prstGeom prst="rect">
            <a:avLst/>
          </a:prstGeom>
          <a:solidFill>
            <a:srgbClr val="002BF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latin typeface="Arial" panose="020B0604020202020204" pitchFamily="34" charset="0"/>
              <a:ea typeface="微软雅黑" panose="020B0503020204020204" pitchFamily="34" charset="-122"/>
              <a:cs typeface="思源黑体 CN Regular" panose="020B0500000000000000" charset="-122"/>
              <a:sym typeface="Arial" panose="020B0604020202020204" pitchFamily="34" charset="0"/>
            </a:endParaRPr>
          </a:p>
        </p:txBody>
      </p:sp>
      <p:sp>
        <p:nvSpPr>
          <p:cNvPr id="79" name="Shape 3891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SpPr/>
          <p:nvPr/>
        </p:nvSpPr>
        <p:spPr>
          <a:xfrm>
            <a:off x="698957" y="162829"/>
            <a:ext cx="279033" cy="279033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8429" y="14128"/>
                </a:moveTo>
                <a:cubicBezTo>
                  <a:pt x="17041" y="13430"/>
                  <a:pt x="15777" y="12523"/>
                  <a:pt x="14684" y="11440"/>
                </a:cubicBezTo>
                <a:cubicBezTo>
                  <a:pt x="15214" y="10618"/>
                  <a:pt x="15664" y="9739"/>
                  <a:pt x="16034" y="8820"/>
                </a:cubicBezTo>
                <a:cubicBezTo>
                  <a:pt x="16089" y="8826"/>
                  <a:pt x="16143" y="8836"/>
                  <a:pt x="16200" y="8836"/>
                </a:cubicBezTo>
                <a:cubicBezTo>
                  <a:pt x="17013" y="8836"/>
                  <a:pt x="17673" y="8178"/>
                  <a:pt x="17673" y="7364"/>
                </a:cubicBezTo>
                <a:cubicBezTo>
                  <a:pt x="17673" y="6787"/>
                  <a:pt x="17339" y="6295"/>
                  <a:pt x="16856" y="6052"/>
                </a:cubicBezTo>
                <a:cubicBezTo>
                  <a:pt x="17033" y="5170"/>
                  <a:pt x="17144" y="4264"/>
                  <a:pt x="17167" y="3336"/>
                </a:cubicBezTo>
                <a:cubicBezTo>
                  <a:pt x="19277" y="5136"/>
                  <a:pt x="20618" y="7809"/>
                  <a:pt x="20618" y="10800"/>
                </a:cubicBezTo>
                <a:cubicBezTo>
                  <a:pt x="20618" y="11764"/>
                  <a:pt x="20469" y="12690"/>
                  <a:pt x="20209" y="13568"/>
                </a:cubicBezTo>
                <a:cubicBezTo>
                  <a:pt x="19628" y="13783"/>
                  <a:pt x="19034" y="13971"/>
                  <a:pt x="18429" y="14128"/>
                </a:cubicBezTo>
                <a:moveTo>
                  <a:pt x="10800" y="20618"/>
                </a:moveTo>
                <a:cubicBezTo>
                  <a:pt x="8406" y="20618"/>
                  <a:pt x="6213" y="19759"/>
                  <a:pt x="4509" y="18335"/>
                </a:cubicBezTo>
                <a:cubicBezTo>
                  <a:pt x="6552" y="17934"/>
                  <a:pt x="8450" y="17135"/>
                  <a:pt x="10128" y="16031"/>
                </a:cubicBezTo>
                <a:cubicBezTo>
                  <a:pt x="10330" y="16136"/>
                  <a:pt x="10556" y="16200"/>
                  <a:pt x="10800" y="16200"/>
                </a:cubicBezTo>
                <a:cubicBezTo>
                  <a:pt x="11273" y="16200"/>
                  <a:pt x="11689" y="15974"/>
                  <a:pt x="11959" y="15627"/>
                </a:cubicBezTo>
                <a:cubicBezTo>
                  <a:pt x="12547" y="15680"/>
                  <a:pt x="13142" y="15709"/>
                  <a:pt x="13745" y="15709"/>
                </a:cubicBezTo>
                <a:cubicBezTo>
                  <a:pt x="15323" y="15709"/>
                  <a:pt x="16852" y="15508"/>
                  <a:pt x="18322" y="15156"/>
                </a:cubicBezTo>
                <a:cubicBezTo>
                  <a:pt x="18660" y="15317"/>
                  <a:pt x="18998" y="15480"/>
                  <a:pt x="19350" y="15618"/>
                </a:cubicBezTo>
                <a:cubicBezTo>
                  <a:pt x="17665" y="18601"/>
                  <a:pt x="14470" y="20618"/>
                  <a:pt x="10800" y="20618"/>
                </a:cubicBezTo>
                <a:moveTo>
                  <a:pt x="3539" y="17393"/>
                </a:moveTo>
                <a:cubicBezTo>
                  <a:pt x="3476" y="16840"/>
                  <a:pt x="3436" y="16280"/>
                  <a:pt x="3436" y="15709"/>
                </a:cubicBezTo>
                <a:cubicBezTo>
                  <a:pt x="3436" y="14764"/>
                  <a:pt x="3536" y="13842"/>
                  <a:pt x="3707" y="12946"/>
                </a:cubicBezTo>
                <a:cubicBezTo>
                  <a:pt x="5455" y="13988"/>
                  <a:pt x="7377" y="14767"/>
                  <a:pt x="9421" y="15227"/>
                </a:cubicBezTo>
                <a:cubicBezTo>
                  <a:pt x="9431" y="15254"/>
                  <a:pt x="9436" y="15282"/>
                  <a:pt x="9447" y="15308"/>
                </a:cubicBezTo>
                <a:cubicBezTo>
                  <a:pt x="7724" y="16421"/>
                  <a:pt x="5761" y="17193"/>
                  <a:pt x="3643" y="17507"/>
                </a:cubicBezTo>
                <a:cubicBezTo>
                  <a:pt x="3608" y="17469"/>
                  <a:pt x="3573" y="17430"/>
                  <a:pt x="3539" y="17393"/>
                </a:cubicBezTo>
                <a:moveTo>
                  <a:pt x="3075" y="11369"/>
                </a:moveTo>
                <a:cubicBezTo>
                  <a:pt x="2361" y="10869"/>
                  <a:pt x="1683" y="10322"/>
                  <a:pt x="1046" y="9729"/>
                </a:cubicBezTo>
                <a:cubicBezTo>
                  <a:pt x="1528" y="5299"/>
                  <a:pt x="4955" y="1762"/>
                  <a:pt x="9331" y="1104"/>
                </a:cubicBezTo>
                <a:cubicBezTo>
                  <a:pt x="9335" y="1629"/>
                  <a:pt x="9363" y="2148"/>
                  <a:pt x="9417" y="2660"/>
                </a:cubicBezTo>
                <a:cubicBezTo>
                  <a:pt x="8572" y="3227"/>
                  <a:pt x="7787" y="3879"/>
                  <a:pt x="7069" y="4597"/>
                </a:cubicBezTo>
                <a:cubicBezTo>
                  <a:pt x="6863" y="4486"/>
                  <a:pt x="6632" y="4418"/>
                  <a:pt x="6382" y="4418"/>
                </a:cubicBezTo>
                <a:cubicBezTo>
                  <a:pt x="5569" y="4418"/>
                  <a:pt x="4909" y="5078"/>
                  <a:pt x="4909" y="5891"/>
                </a:cubicBezTo>
                <a:cubicBezTo>
                  <a:pt x="4909" y="6236"/>
                  <a:pt x="5033" y="6549"/>
                  <a:pt x="5231" y="6800"/>
                </a:cubicBezTo>
                <a:cubicBezTo>
                  <a:pt x="4279" y="8179"/>
                  <a:pt x="3550" y="9719"/>
                  <a:pt x="3075" y="11369"/>
                </a:cubicBezTo>
                <a:moveTo>
                  <a:pt x="2466" y="15973"/>
                </a:moveTo>
                <a:cubicBezTo>
                  <a:pt x="1563" y="14521"/>
                  <a:pt x="1025" y="12821"/>
                  <a:pt x="989" y="10995"/>
                </a:cubicBezTo>
                <a:cubicBezTo>
                  <a:pt x="1570" y="11492"/>
                  <a:pt x="2180" y="11955"/>
                  <a:pt x="2817" y="12383"/>
                </a:cubicBezTo>
                <a:cubicBezTo>
                  <a:pt x="2585" y="13456"/>
                  <a:pt x="2455" y="14567"/>
                  <a:pt x="2455" y="15709"/>
                </a:cubicBezTo>
                <a:cubicBezTo>
                  <a:pt x="2455" y="15798"/>
                  <a:pt x="2464" y="15885"/>
                  <a:pt x="2466" y="15973"/>
                </a:cubicBezTo>
                <a:moveTo>
                  <a:pt x="13428" y="11540"/>
                </a:moveTo>
                <a:cubicBezTo>
                  <a:pt x="12907" y="12264"/>
                  <a:pt x="12315" y="12931"/>
                  <a:pt x="11674" y="13548"/>
                </a:cubicBezTo>
                <a:cubicBezTo>
                  <a:pt x="11429" y="13366"/>
                  <a:pt x="11129" y="13255"/>
                  <a:pt x="10800" y="13255"/>
                </a:cubicBezTo>
                <a:cubicBezTo>
                  <a:pt x="10166" y="13255"/>
                  <a:pt x="9631" y="13657"/>
                  <a:pt x="9423" y="14218"/>
                </a:cubicBezTo>
                <a:cubicBezTo>
                  <a:pt x="7455" y="13751"/>
                  <a:pt x="5607" y="12974"/>
                  <a:pt x="3936" y="11937"/>
                </a:cubicBezTo>
                <a:cubicBezTo>
                  <a:pt x="4379" y="10266"/>
                  <a:pt x="5100" y="8709"/>
                  <a:pt x="6060" y="7326"/>
                </a:cubicBezTo>
                <a:cubicBezTo>
                  <a:pt x="6164" y="7349"/>
                  <a:pt x="6271" y="7364"/>
                  <a:pt x="6382" y="7364"/>
                </a:cubicBezTo>
                <a:cubicBezTo>
                  <a:pt x="7195" y="7364"/>
                  <a:pt x="7855" y="6705"/>
                  <a:pt x="7855" y="5891"/>
                </a:cubicBezTo>
                <a:cubicBezTo>
                  <a:pt x="7855" y="5688"/>
                  <a:pt x="7813" y="5494"/>
                  <a:pt x="7739" y="5318"/>
                </a:cubicBezTo>
                <a:cubicBezTo>
                  <a:pt x="8307" y="4747"/>
                  <a:pt x="8920" y="4221"/>
                  <a:pt x="9575" y="3749"/>
                </a:cubicBezTo>
                <a:cubicBezTo>
                  <a:pt x="10104" y="6723"/>
                  <a:pt x="11479" y="9397"/>
                  <a:pt x="13428" y="11540"/>
                </a:cubicBezTo>
                <a:moveTo>
                  <a:pt x="10800" y="982"/>
                </a:moveTo>
                <a:cubicBezTo>
                  <a:pt x="11347" y="982"/>
                  <a:pt x="11881" y="1038"/>
                  <a:pt x="12403" y="1125"/>
                </a:cubicBezTo>
                <a:cubicBezTo>
                  <a:pt x="11696" y="1401"/>
                  <a:pt x="11005" y="1708"/>
                  <a:pt x="10354" y="2082"/>
                </a:cubicBezTo>
                <a:cubicBezTo>
                  <a:pt x="10328" y="1726"/>
                  <a:pt x="10311" y="1368"/>
                  <a:pt x="10310" y="1007"/>
                </a:cubicBezTo>
                <a:cubicBezTo>
                  <a:pt x="10474" y="999"/>
                  <a:pt x="10635" y="982"/>
                  <a:pt x="10800" y="982"/>
                </a:cubicBezTo>
                <a:moveTo>
                  <a:pt x="14120" y="12262"/>
                </a:moveTo>
                <a:cubicBezTo>
                  <a:pt x="14982" y="13097"/>
                  <a:pt x="15950" y="13819"/>
                  <a:pt x="16986" y="14440"/>
                </a:cubicBezTo>
                <a:cubicBezTo>
                  <a:pt x="15933" y="14626"/>
                  <a:pt x="14852" y="14727"/>
                  <a:pt x="13745" y="14727"/>
                </a:cubicBezTo>
                <a:cubicBezTo>
                  <a:pt x="13246" y="14727"/>
                  <a:pt x="12754" y="14702"/>
                  <a:pt x="12265" y="14664"/>
                </a:cubicBezTo>
                <a:cubicBezTo>
                  <a:pt x="12259" y="14569"/>
                  <a:pt x="12250" y="14475"/>
                  <a:pt x="12229" y="14386"/>
                </a:cubicBezTo>
                <a:cubicBezTo>
                  <a:pt x="12921" y="13737"/>
                  <a:pt x="13555" y="13027"/>
                  <a:pt x="14120" y="12262"/>
                </a:cubicBezTo>
                <a:moveTo>
                  <a:pt x="16188" y="2597"/>
                </a:moveTo>
                <a:cubicBezTo>
                  <a:pt x="16191" y="2713"/>
                  <a:pt x="16200" y="2828"/>
                  <a:pt x="16200" y="2945"/>
                </a:cubicBezTo>
                <a:cubicBezTo>
                  <a:pt x="16200" y="3967"/>
                  <a:pt x="16092" y="4962"/>
                  <a:pt x="15894" y="5924"/>
                </a:cubicBezTo>
                <a:cubicBezTo>
                  <a:pt x="15227" y="6065"/>
                  <a:pt x="14727" y="6656"/>
                  <a:pt x="14727" y="7364"/>
                </a:cubicBezTo>
                <a:cubicBezTo>
                  <a:pt x="14727" y="7765"/>
                  <a:pt x="14888" y="8128"/>
                  <a:pt x="15149" y="8393"/>
                </a:cubicBezTo>
                <a:cubicBezTo>
                  <a:pt x="14827" y="9199"/>
                  <a:pt x="14443" y="9974"/>
                  <a:pt x="13991" y="10701"/>
                </a:cubicBezTo>
                <a:cubicBezTo>
                  <a:pt x="12159" y="8620"/>
                  <a:pt x="10894" y="6025"/>
                  <a:pt x="10469" y="3152"/>
                </a:cubicBezTo>
                <a:cubicBezTo>
                  <a:pt x="11590" y="2463"/>
                  <a:pt x="12813" y="1934"/>
                  <a:pt x="14106" y="1565"/>
                </a:cubicBezTo>
                <a:cubicBezTo>
                  <a:pt x="14844" y="1829"/>
                  <a:pt x="15544" y="2174"/>
                  <a:pt x="16188" y="2597"/>
                </a:cubicBezTo>
                <a:moveTo>
                  <a:pt x="10800" y="0"/>
                </a:moveTo>
                <a:cubicBezTo>
                  <a:pt x="4835" y="0"/>
                  <a:pt x="0" y="4835"/>
                  <a:pt x="0" y="10800"/>
                </a:cubicBezTo>
                <a:cubicBezTo>
                  <a:pt x="0" y="16765"/>
                  <a:pt x="4835" y="21600"/>
                  <a:pt x="10800" y="21600"/>
                </a:cubicBezTo>
                <a:cubicBezTo>
                  <a:pt x="16765" y="21600"/>
                  <a:pt x="21600" y="16765"/>
                  <a:pt x="21600" y="10800"/>
                </a:cubicBezTo>
                <a:cubicBezTo>
                  <a:pt x="21600" y="4835"/>
                  <a:pt x="16765" y="0"/>
                  <a:pt x="10800" y="0"/>
                </a:cubicBezTo>
              </a:path>
            </a:pathLst>
          </a:custGeom>
          <a:solidFill>
            <a:schemeClr val="bg1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endParaRPr>
              <a:solidFill>
                <a:prstClr val="black"/>
              </a:solidFill>
              <a:latin typeface="Arial" panose="020B0604020202020204" pitchFamily="34" charset="0"/>
              <a:ea typeface="微软雅黑" panose="020B0503020204020204" pitchFamily="34" charset="-122"/>
              <a:cs typeface="思源黑体 CN Regular" panose="020B0500000000000000" charset="-122"/>
              <a:sym typeface="Arial" panose="020B0604020202020204" pitchFamily="34" charset="0"/>
            </a:endParaRPr>
          </a:p>
        </p:txBody>
      </p:sp>
      <p:sp>
        <p:nvSpPr>
          <p:cNvPr id="80" name="文本框 79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SpPr txBox="1"/>
          <p:nvPr/>
        </p:nvSpPr>
        <p:spPr>
          <a:xfrm>
            <a:off x="554398" y="448734"/>
            <a:ext cx="572593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1050">
                <a:solidFill>
                  <a:schemeClr val="bg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rPr>
              <a:t>LOGO</a:t>
            </a:r>
            <a:endParaRPr lang="zh-CN" altLang="en-US" sz="1050">
              <a:solidFill>
                <a:schemeClr val="bg1"/>
              </a:solidFill>
              <a:latin typeface="Arial" panose="020B0604020202020204" pitchFamily="34" charset="0"/>
              <a:ea typeface="微软雅黑" panose="020B0503020204020204" pitchFamily="34" charset="-122"/>
              <a:cs typeface="思源黑体 CN Regular" panose="020B0500000000000000" charset="-122"/>
              <a:sym typeface="Arial" panose="020B0604020202020204" pitchFamily="34" charset="0"/>
            </a:endParaRPr>
          </a:p>
        </p:txBody>
      </p:sp>
      <p:sp>
        <p:nvSpPr>
          <p:cNvPr id="4" name="e7d195523061f1c0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 hidden="1"/>
          <p:cNvSpPr txBox="1"/>
          <p:nvPr/>
        </p:nvSpPr>
        <p:spPr>
          <a:xfrm>
            <a:off x="-355600" y="1803400"/>
            <a:ext cx="284693" cy="1016000"/>
          </a:xfrm>
          <a:prstGeom prst="rect">
            <a:avLst/>
          </a:prstGeom>
          <a:noFill/>
        </p:spPr>
        <p:txBody>
          <a:bodyPr vert="wordArtVert" rtlCol="0">
            <a:spAutoFit/>
          </a:bodyPr>
          <a:lstStyle/>
          <a:p>
            <a:r>
              <a:rPr lang="en-US" altLang="zh-CN" sz="100"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rPr>
              <a:t>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</a:t>
            </a:r>
            <a:endParaRPr lang="zh-CN" altLang="en-US" sz="100">
              <a:latin typeface="Arial" panose="020B0604020202020204" pitchFamily="34" charset="0"/>
              <a:ea typeface="微软雅黑" panose="020B0503020204020204" pitchFamily="34" charset="-122"/>
              <a:cs typeface="思源黑体 CN Regular" panose="020B0500000000000000" charset="-122"/>
              <a:sym typeface="Arial" panose="020B0604020202020204" pitchFamily="34" charset="0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random/>
      </p:transition>
    </mc:Choice>
    <mc:Fallback xmlns:p159="http://schemas.microsoft.com/office/powerpoint/2015/09/main" xmlns:p15="http://schemas.microsoft.com/office/powerpoint/2012/main" xmlns:a14="http://schemas.microsoft.com/office/drawing/2010/main" xmlns:wp="http://schemas.openxmlformats.org/drawingml/2006/wordprocessingDrawing" xmlns:w="http://schemas.openxmlformats.org/wordprocessingml/2006/main" xmlns:m="http://schemas.openxmlformats.org/officeDocument/2006/math" xmlns="">
      <p:transition spd="slow">
        <p:random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dur="5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dur="5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7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7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 nodeType="clickPar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" presetClass="entr" presetSubtype="4" dur="5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9" presetID="2" presetClass="entr" presetSubtype="4" dur="5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1" dur="5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2" dur="5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3" presetID="2" presetClass="entr" presetSubtype="4" dur="5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5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5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7" presetID="2" presetClass="entr" presetSubtype="4" dur="5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9" dur="500" fill="hold"/>
                                        <p:tgtEl>
                                          <p:spTgt spid="5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0" dur="500" fill="hold"/>
                                        <p:tgtEl>
                                          <p:spTgt spid="5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1" presetID="2" presetClass="entr" presetSubtype="4" dur="5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3" dur="500" fill="hold"/>
                                        <p:tgtEl>
                                          <p:spTgt spid="7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4" dur="500" fill="hold"/>
                                        <p:tgtEl>
                                          <p:spTgt spid="7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5" presetID="2" presetClass="entr" presetSubtype="4" dur="5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7" dur="500" fill="hold"/>
                                        <p:tgtEl>
                                          <p:spTgt spid="7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8" dur="500" fill="hold"/>
                                        <p:tgtEl>
                                          <p:spTgt spid="7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9" presetID="2" presetClass="entr" presetSubtype="4" dur="5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1" dur="500" fill="hold"/>
                                        <p:tgtEl>
                                          <p:spTgt spid="7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2" dur="500" fill="hold"/>
                                        <p:tgtEl>
                                          <p:spTgt spid="7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3" presetID="2" presetClass="entr" presetSubtype="4" dur="5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5" dur="500" fill="hold"/>
                                        <p:tgtEl>
                                          <p:spTgt spid="7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6" dur="500" fill="hold"/>
                                        <p:tgtEl>
                                          <p:spTgt spid="7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7" presetID="2" presetClass="entr" presetSubtype="4" dur="5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9" dur="500" fill="hold"/>
                                        <p:tgtEl>
                                          <p:spTgt spid="7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0" dur="500" fill="hold"/>
                                        <p:tgtEl>
                                          <p:spTgt spid="7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6" grpId="0" animBg="1"/>
      <p:bldP spid="70" grpId="0"/>
      <p:bldP spid="71" grpId="0"/>
      <p:bldP spid="72" grpId="0"/>
      <p:bldP spid="75" grpId="0"/>
      <p:bldP spid="76" grpId="0"/>
      <p:bldP spid="77" grpId="0"/>
    </p:bld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Прямоугольник 25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SpPr/>
          <p:nvPr/>
        </p:nvSpPr>
        <p:spPr>
          <a:xfrm>
            <a:off x="0" y="0"/>
            <a:ext cx="45719" cy="3429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rial" panose="020B0604020202020204" pitchFamily="34" charset="0"/>
              <a:ea typeface="微软雅黑" panose="020B0503020204020204" pitchFamily="34" charset="-122"/>
              <a:cs typeface="思源黑体 CN Regular" panose="020B0500000000000000" charset="-122"/>
              <a:sym typeface="Arial" panose="020B0604020202020204" pitchFamily="34" charset="0"/>
            </a:endParaRPr>
          </a:p>
        </p:txBody>
      </p:sp>
      <p:pic>
        <p:nvPicPr>
          <p:cNvPr id="4" name="图片占位符 3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PicPr>
            <a:picLocks noGrp="1" noChangeAspect="1"/>
          </p:cNvPicPr>
          <p:nvPr>
            <p:ph type="pic" sz="quarter" idx="39"/>
          </p:nvPr>
        </p:nvPicPr>
        <p:blipFill>
          <a:blip r:embed="rId3"/>
          <a:stretch>
            <a:fillRect/>
          </a:stretch>
        </p:blipFill>
        <p:spPr/>
      </p:pic>
      <p:sp>
        <p:nvSpPr>
          <p:cNvPr id="14" name="TextBox 40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SpPr txBox="1"/>
          <p:nvPr/>
        </p:nvSpPr>
        <p:spPr>
          <a:xfrm>
            <a:off x="386588" y="991421"/>
            <a:ext cx="9080500" cy="769441"/>
          </a:xfrm>
          <a:prstGeom prst="rect">
            <a:avLst/>
          </a:prstGeom>
          <a:noFill/>
          <a:ln>
            <a:noFill/>
          </a:ln>
        </p:spPr>
        <p:txBody>
          <a:bodyPr wrap="square" rtlCol="0" anchor="ctr">
            <a:spAutoFit/>
          </a:bodyPr>
          <a:lstStyle/>
          <a:p>
            <a:r>
              <a:rPr lang="en-US" altLang="ko-KR" sz="4400" b="1">
                <a:ln w="9525">
                  <a:noFill/>
                </a:ln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rPr>
              <a:t>DEVICE MOCKUPS</a:t>
            </a:r>
          </a:p>
        </p:txBody>
      </p:sp>
      <p:sp>
        <p:nvSpPr>
          <p:cNvPr id="15" name="Rectangle 39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SpPr/>
          <p:nvPr/>
        </p:nvSpPr>
        <p:spPr>
          <a:xfrm>
            <a:off x="441452" y="1702134"/>
            <a:ext cx="4151376" cy="62664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30000"/>
              </a:lnSpc>
            </a:pPr>
            <a:r>
              <a:rPr lang="en-US" sz="1400"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rPr>
              <a:t>Objectively disintermediate leveraged manufactured products</a:t>
            </a:r>
          </a:p>
        </p:txBody>
      </p:sp>
      <p:sp>
        <p:nvSpPr>
          <p:cNvPr id="16" name="矩形 15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SpPr/>
          <p:nvPr/>
        </p:nvSpPr>
        <p:spPr>
          <a:xfrm>
            <a:off x="537464" y="0"/>
            <a:ext cx="596900" cy="723900"/>
          </a:xfrm>
          <a:prstGeom prst="rect">
            <a:avLst/>
          </a:prstGeom>
          <a:solidFill>
            <a:srgbClr val="002BF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latin typeface="Arial" panose="020B0604020202020204" pitchFamily="34" charset="0"/>
              <a:ea typeface="微软雅黑" panose="020B0503020204020204" pitchFamily="34" charset="-122"/>
              <a:cs typeface="思源黑体 CN Regular" panose="020B0500000000000000" charset="-122"/>
              <a:sym typeface="Arial" panose="020B0604020202020204" pitchFamily="34" charset="0"/>
            </a:endParaRPr>
          </a:p>
        </p:txBody>
      </p:sp>
      <p:sp>
        <p:nvSpPr>
          <p:cNvPr id="17" name="Shape 3891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SpPr/>
          <p:nvPr/>
        </p:nvSpPr>
        <p:spPr>
          <a:xfrm>
            <a:off x="698957" y="162829"/>
            <a:ext cx="279033" cy="279033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8429" y="14128"/>
                </a:moveTo>
                <a:cubicBezTo>
                  <a:pt x="17041" y="13430"/>
                  <a:pt x="15777" y="12523"/>
                  <a:pt x="14684" y="11440"/>
                </a:cubicBezTo>
                <a:cubicBezTo>
                  <a:pt x="15214" y="10618"/>
                  <a:pt x="15664" y="9739"/>
                  <a:pt x="16034" y="8820"/>
                </a:cubicBezTo>
                <a:cubicBezTo>
                  <a:pt x="16089" y="8826"/>
                  <a:pt x="16143" y="8836"/>
                  <a:pt x="16200" y="8836"/>
                </a:cubicBezTo>
                <a:cubicBezTo>
                  <a:pt x="17013" y="8836"/>
                  <a:pt x="17673" y="8178"/>
                  <a:pt x="17673" y="7364"/>
                </a:cubicBezTo>
                <a:cubicBezTo>
                  <a:pt x="17673" y="6787"/>
                  <a:pt x="17339" y="6295"/>
                  <a:pt x="16856" y="6052"/>
                </a:cubicBezTo>
                <a:cubicBezTo>
                  <a:pt x="17033" y="5170"/>
                  <a:pt x="17144" y="4264"/>
                  <a:pt x="17167" y="3336"/>
                </a:cubicBezTo>
                <a:cubicBezTo>
                  <a:pt x="19277" y="5136"/>
                  <a:pt x="20618" y="7809"/>
                  <a:pt x="20618" y="10800"/>
                </a:cubicBezTo>
                <a:cubicBezTo>
                  <a:pt x="20618" y="11764"/>
                  <a:pt x="20469" y="12690"/>
                  <a:pt x="20209" y="13568"/>
                </a:cubicBezTo>
                <a:cubicBezTo>
                  <a:pt x="19628" y="13783"/>
                  <a:pt x="19034" y="13971"/>
                  <a:pt x="18429" y="14128"/>
                </a:cubicBezTo>
                <a:moveTo>
                  <a:pt x="10800" y="20618"/>
                </a:moveTo>
                <a:cubicBezTo>
                  <a:pt x="8406" y="20618"/>
                  <a:pt x="6213" y="19759"/>
                  <a:pt x="4509" y="18335"/>
                </a:cubicBezTo>
                <a:cubicBezTo>
                  <a:pt x="6552" y="17934"/>
                  <a:pt x="8450" y="17135"/>
                  <a:pt x="10128" y="16031"/>
                </a:cubicBezTo>
                <a:cubicBezTo>
                  <a:pt x="10330" y="16136"/>
                  <a:pt x="10556" y="16200"/>
                  <a:pt x="10800" y="16200"/>
                </a:cubicBezTo>
                <a:cubicBezTo>
                  <a:pt x="11273" y="16200"/>
                  <a:pt x="11689" y="15974"/>
                  <a:pt x="11959" y="15627"/>
                </a:cubicBezTo>
                <a:cubicBezTo>
                  <a:pt x="12547" y="15680"/>
                  <a:pt x="13142" y="15709"/>
                  <a:pt x="13745" y="15709"/>
                </a:cubicBezTo>
                <a:cubicBezTo>
                  <a:pt x="15323" y="15709"/>
                  <a:pt x="16852" y="15508"/>
                  <a:pt x="18322" y="15156"/>
                </a:cubicBezTo>
                <a:cubicBezTo>
                  <a:pt x="18660" y="15317"/>
                  <a:pt x="18998" y="15480"/>
                  <a:pt x="19350" y="15618"/>
                </a:cubicBezTo>
                <a:cubicBezTo>
                  <a:pt x="17665" y="18601"/>
                  <a:pt x="14470" y="20618"/>
                  <a:pt x="10800" y="20618"/>
                </a:cubicBezTo>
                <a:moveTo>
                  <a:pt x="3539" y="17393"/>
                </a:moveTo>
                <a:cubicBezTo>
                  <a:pt x="3476" y="16840"/>
                  <a:pt x="3436" y="16280"/>
                  <a:pt x="3436" y="15709"/>
                </a:cubicBezTo>
                <a:cubicBezTo>
                  <a:pt x="3436" y="14764"/>
                  <a:pt x="3536" y="13842"/>
                  <a:pt x="3707" y="12946"/>
                </a:cubicBezTo>
                <a:cubicBezTo>
                  <a:pt x="5455" y="13988"/>
                  <a:pt x="7377" y="14767"/>
                  <a:pt x="9421" y="15227"/>
                </a:cubicBezTo>
                <a:cubicBezTo>
                  <a:pt x="9431" y="15254"/>
                  <a:pt x="9436" y="15282"/>
                  <a:pt x="9447" y="15308"/>
                </a:cubicBezTo>
                <a:cubicBezTo>
                  <a:pt x="7724" y="16421"/>
                  <a:pt x="5761" y="17193"/>
                  <a:pt x="3643" y="17507"/>
                </a:cubicBezTo>
                <a:cubicBezTo>
                  <a:pt x="3608" y="17469"/>
                  <a:pt x="3573" y="17430"/>
                  <a:pt x="3539" y="17393"/>
                </a:cubicBezTo>
                <a:moveTo>
                  <a:pt x="3075" y="11369"/>
                </a:moveTo>
                <a:cubicBezTo>
                  <a:pt x="2361" y="10869"/>
                  <a:pt x="1683" y="10322"/>
                  <a:pt x="1046" y="9729"/>
                </a:cubicBezTo>
                <a:cubicBezTo>
                  <a:pt x="1528" y="5299"/>
                  <a:pt x="4955" y="1762"/>
                  <a:pt x="9331" y="1104"/>
                </a:cubicBezTo>
                <a:cubicBezTo>
                  <a:pt x="9335" y="1629"/>
                  <a:pt x="9363" y="2148"/>
                  <a:pt x="9417" y="2660"/>
                </a:cubicBezTo>
                <a:cubicBezTo>
                  <a:pt x="8572" y="3227"/>
                  <a:pt x="7787" y="3879"/>
                  <a:pt x="7069" y="4597"/>
                </a:cubicBezTo>
                <a:cubicBezTo>
                  <a:pt x="6863" y="4486"/>
                  <a:pt x="6632" y="4418"/>
                  <a:pt x="6382" y="4418"/>
                </a:cubicBezTo>
                <a:cubicBezTo>
                  <a:pt x="5569" y="4418"/>
                  <a:pt x="4909" y="5078"/>
                  <a:pt x="4909" y="5891"/>
                </a:cubicBezTo>
                <a:cubicBezTo>
                  <a:pt x="4909" y="6236"/>
                  <a:pt x="5033" y="6549"/>
                  <a:pt x="5231" y="6800"/>
                </a:cubicBezTo>
                <a:cubicBezTo>
                  <a:pt x="4279" y="8179"/>
                  <a:pt x="3550" y="9719"/>
                  <a:pt x="3075" y="11369"/>
                </a:cubicBezTo>
                <a:moveTo>
                  <a:pt x="2466" y="15973"/>
                </a:moveTo>
                <a:cubicBezTo>
                  <a:pt x="1563" y="14521"/>
                  <a:pt x="1025" y="12821"/>
                  <a:pt x="989" y="10995"/>
                </a:cubicBezTo>
                <a:cubicBezTo>
                  <a:pt x="1570" y="11492"/>
                  <a:pt x="2180" y="11955"/>
                  <a:pt x="2817" y="12383"/>
                </a:cubicBezTo>
                <a:cubicBezTo>
                  <a:pt x="2585" y="13456"/>
                  <a:pt x="2455" y="14567"/>
                  <a:pt x="2455" y="15709"/>
                </a:cubicBezTo>
                <a:cubicBezTo>
                  <a:pt x="2455" y="15798"/>
                  <a:pt x="2464" y="15885"/>
                  <a:pt x="2466" y="15973"/>
                </a:cubicBezTo>
                <a:moveTo>
                  <a:pt x="13428" y="11540"/>
                </a:moveTo>
                <a:cubicBezTo>
                  <a:pt x="12907" y="12264"/>
                  <a:pt x="12315" y="12931"/>
                  <a:pt x="11674" y="13548"/>
                </a:cubicBezTo>
                <a:cubicBezTo>
                  <a:pt x="11429" y="13366"/>
                  <a:pt x="11129" y="13255"/>
                  <a:pt x="10800" y="13255"/>
                </a:cubicBezTo>
                <a:cubicBezTo>
                  <a:pt x="10166" y="13255"/>
                  <a:pt x="9631" y="13657"/>
                  <a:pt x="9423" y="14218"/>
                </a:cubicBezTo>
                <a:cubicBezTo>
                  <a:pt x="7455" y="13751"/>
                  <a:pt x="5607" y="12974"/>
                  <a:pt x="3936" y="11937"/>
                </a:cubicBezTo>
                <a:cubicBezTo>
                  <a:pt x="4379" y="10266"/>
                  <a:pt x="5100" y="8709"/>
                  <a:pt x="6060" y="7326"/>
                </a:cubicBezTo>
                <a:cubicBezTo>
                  <a:pt x="6164" y="7349"/>
                  <a:pt x="6271" y="7364"/>
                  <a:pt x="6382" y="7364"/>
                </a:cubicBezTo>
                <a:cubicBezTo>
                  <a:pt x="7195" y="7364"/>
                  <a:pt x="7855" y="6705"/>
                  <a:pt x="7855" y="5891"/>
                </a:cubicBezTo>
                <a:cubicBezTo>
                  <a:pt x="7855" y="5688"/>
                  <a:pt x="7813" y="5494"/>
                  <a:pt x="7739" y="5318"/>
                </a:cubicBezTo>
                <a:cubicBezTo>
                  <a:pt x="8307" y="4747"/>
                  <a:pt x="8920" y="4221"/>
                  <a:pt x="9575" y="3749"/>
                </a:cubicBezTo>
                <a:cubicBezTo>
                  <a:pt x="10104" y="6723"/>
                  <a:pt x="11479" y="9397"/>
                  <a:pt x="13428" y="11540"/>
                </a:cubicBezTo>
                <a:moveTo>
                  <a:pt x="10800" y="982"/>
                </a:moveTo>
                <a:cubicBezTo>
                  <a:pt x="11347" y="982"/>
                  <a:pt x="11881" y="1038"/>
                  <a:pt x="12403" y="1125"/>
                </a:cubicBezTo>
                <a:cubicBezTo>
                  <a:pt x="11696" y="1401"/>
                  <a:pt x="11005" y="1708"/>
                  <a:pt x="10354" y="2082"/>
                </a:cubicBezTo>
                <a:cubicBezTo>
                  <a:pt x="10328" y="1726"/>
                  <a:pt x="10311" y="1368"/>
                  <a:pt x="10310" y="1007"/>
                </a:cubicBezTo>
                <a:cubicBezTo>
                  <a:pt x="10474" y="999"/>
                  <a:pt x="10635" y="982"/>
                  <a:pt x="10800" y="982"/>
                </a:cubicBezTo>
                <a:moveTo>
                  <a:pt x="14120" y="12262"/>
                </a:moveTo>
                <a:cubicBezTo>
                  <a:pt x="14982" y="13097"/>
                  <a:pt x="15950" y="13819"/>
                  <a:pt x="16986" y="14440"/>
                </a:cubicBezTo>
                <a:cubicBezTo>
                  <a:pt x="15933" y="14626"/>
                  <a:pt x="14852" y="14727"/>
                  <a:pt x="13745" y="14727"/>
                </a:cubicBezTo>
                <a:cubicBezTo>
                  <a:pt x="13246" y="14727"/>
                  <a:pt x="12754" y="14702"/>
                  <a:pt x="12265" y="14664"/>
                </a:cubicBezTo>
                <a:cubicBezTo>
                  <a:pt x="12259" y="14569"/>
                  <a:pt x="12250" y="14475"/>
                  <a:pt x="12229" y="14386"/>
                </a:cubicBezTo>
                <a:cubicBezTo>
                  <a:pt x="12921" y="13737"/>
                  <a:pt x="13555" y="13027"/>
                  <a:pt x="14120" y="12262"/>
                </a:cubicBezTo>
                <a:moveTo>
                  <a:pt x="16188" y="2597"/>
                </a:moveTo>
                <a:cubicBezTo>
                  <a:pt x="16191" y="2713"/>
                  <a:pt x="16200" y="2828"/>
                  <a:pt x="16200" y="2945"/>
                </a:cubicBezTo>
                <a:cubicBezTo>
                  <a:pt x="16200" y="3967"/>
                  <a:pt x="16092" y="4962"/>
                  <a:pt x="15894" y="5924"/>
                </a:cubicBezTo>
                <a:cubicBezTo>
                  <a:pt x="15227" y="6065"/>
                  <a:pt x="14727" y="6656"/>
                  <a:pt x="14727" y="7364"/>
                </a:cubicBezTo>
                <a:cubicBezTo>
                  <a:pt x="14727" y="7765"/>
                  <a:pt x="14888" y="8128"/>
                  <a:pt x="15149" y="8393"/>
                </a:cubicBezTo>
                <a:cubicBezTo>
                  <a:pt x="14827" y="9199"/>
                  <a:pt x="14443" y="9974"/>
                  <a:pt x="13991" y="10701"/>
                </a:cubicBezTo>
                <a:cubicBezTo>
                  <a:pt x="12159" y="8620"/>
                  <a:pt x="10894" y="6025"/>
                  <a:pt x="10469" y="3152"/>
                </a:cubicBezTo>
                <a:cubicBezTo>
                  <a:pt x="11590" y="2463"/>
                  <a:pt x="12813" y="1934"/>
                  <a:pt x="14106" y="1565"/>
                </a:cubicBezTo>
                <a:cubicBezTo>
                  <a:pt x="14844" y="1829"/>
                  <a:pt x="15544" y="2174"/>
                  <a:pt x="16188" y="2597"/>
                </a:cubicBezTo>
                <a:moveTo>
                  <a:pt x="10800" y="0"/>
                </a:moveTo>
                <a:cubicBezTo>
                  <a:pt x="4835" y="0"/>
                  <a:pt x="0" y="4835"/>
                  <a:pt x="0" y="10800"/>
                </a:cubicBezTo>
                <a:cubicBezTo>
                  <a:pt x="0" y="16765"/>
                  <a:pt x="4835" y="21600"/>
                  <a:pt x="10800" y="21600"/>
                </a:cubicBezTo>
                <a:cubicBezTo>
                  <a:pt x="16765" y="21600"/>
                  <a:pt x="21600" y="16765"/>
                  <a:pt x="21600" y="10800"/>
                </a:cubicBezTo>
                <a:cubicBezTo>
                  <a:pt x="21600" y="4835"/>
                  <a:pt x="16765" y="0"/>
                  <a:pt x="10800" y="0"/>
                </a:cubicBezTo>
              </a:path>
            </a:pathLst>
          </a:custGeom>
          <a:solidFill>
            <a:schemeClr val="bg1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endParaRPr>
              <a:solidFill>
                <a:prstClr val="black"/>
              </a:solidFill>
              <a:latin typeface="Arial" panose="020B0604020202020204" pitchFamily="34" charset="0"/>
              <a:ea typeface="微软雅黑" panose="020B0503020204020204" pitchFamily="34" charset="-122"/>
              <a:cs typeface="思源黑体 CN Regular" panose="020B0500000000000000" charset="-122"/>
              <a:sym typeface="Arial" panose="020B0604020202020204" pitchFamily="34" charset="0"/>
            </a:endParaRPr>
          </a:p>
        </p:txBody>
      </p:sp>
      <p:sp>
        <p:nvSpPr>
          <p:cNvPr id="18" name="文本框 17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SpPr txBox="1"/>
          <p:nvPr/>
        </p:nvSpPr>
        <p:spPr>
          <a:xfrm>
            <a:off x="554398" y="448734"/>
            <a:ext cx="572593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1050">
                <a:solidFill>
                  <a:schemeClr val="bg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rPr>
              <a:t>LOGO</a:t>
            </a:r>
            <a:endParaRPr lang="zh-CN" altLang="en-US" sz="1050">
              <a:solidFill>
                <a:schemeClr val="bg1"/>
              </a:solidFill>
              <a:latin typeface="Arial" panose="020B0604020202020204" pitchFamily="34" charset="0"/>
              <a:ea typeface="微软雅黑" panose="020B0503020204020204" pitchFamily="34" charset="-122"/>
              <a:cs typeface="思源黑体 CN Regular" panose="020B0500000000000000" charset="-122"/>
              <a:sym typeface="Arial" panose="020B0604020202020204" pitchFamily="34" charset="0"/>
            </a:endParaRPr>
          </a:p>
        </p:txBody>
      </p:sp>
      <p:graphicFrame>
        <p:nvGraphicFramePr>
          <p:cNvPr id="27" name="Table 5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70688211"/>
              </p:ext>
            </p:extLst>
          </p:nvPr>
        </p:nvGraphicFramePr>
        <p:xfrm>
          <a:off x="234215" y="4410163"/>
          <a:ext cx="2588855" cy="1826204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89782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9102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456551">
                <a:tc>
                  <a:txBody>
                    <a:bodyPr/>
                    <a:lstStyle/>
                    <a:p>
                      <a:pPr marL="285750" indent="-285750">
                        <a:buFont typeface="思源黑体 CN Regular" panose="020B0500000000000000" charset="-122"/>
                        <a:buChar char="•"/>
                      </a:pPr>
                      <a:r>
                        <a:rPr lang="en-US" sz="100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Arial" panose="020B0604020202020204" pitchFamily="34" charset="0"/>
                          <a:ea typeface="微软雅黑" panose="020B0503020204020204" pitchFamily="34" charset="-122"/>
                          <a:cs typeface="思源黑体 CN Regular" panose="020B0500000000000000" charset="-122"/>
                          <a:sym typeface="Arial" panose="020B0604020202020204" pitchFamily="34" charset="0"/>
                        </a:rPr>
                        <a:t>Cloud Space</a:t>
                      </a:r>
                    </a:p>
                  </a:txBody>
                  <a:tcPr marL="48768" marR="48768" marT="24384" marB="24384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4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00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Arial" panose="020B0604020202020204" pitchFamily="34" charset="0"/>
                          <a:ea typeface="微软雅黑" panose="020B0503020204020204" pitchFamily="34" charset="-122"/>
                          <a:cs typeface="思源黑体 CN Regular" panose="020B0500000000000000" charset="-122"/>
                          <a:sym typeface="Arial" panose="020B0604020202020204" pitchFamily="34" charset="0"/>
                        </a:rPr>
                        <a:t>2GB</a:t>
                      </a:r>
                    </a:p>
                  </a:txBody>
                  <a:tcPr marL="48768" marR="48768" marT="24384" marB="24384" anchor="ctr">
                    <a:lnL w="6350" cap="flat" cmpd="sng" algn="ctr">
                      <a:solidFill>
                        <a:schemeClr val="accent4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56551">
                <a:tc>
                  <a:txBody>
                    <a:bodyPr/>
                    <a:lstStyle/>
                    <a:p>
                      <a:pPr marL="285750" indent="-285750">
                        <a:buFont typeface="思源黑体 CN Regular" panose="020B0500000000000000" charset="-122"/>
                        <a:buChar char="•"/>
                      </a:pPr>
                      <a:r>
                        <a:rPr lang="en-US" sz="100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Arial" panose="020B0604020202020204" pitchFamily="34" charset="0"/>
                          <a:ea typeface="微软雅黑" panose="020B0503020204020204" pitchFamily="34" charset="-122"/>
                          <a:cs typeface="思源黑体 CN Regular" panose="020B0500000000000000" charset="-122"/>
                          <a:sym typeface="Arial" panose="020B0604020202020204" pitchFamily="34" charset="0"/>
                        </a:rPr>
                        <a:t>Space Storage</a:t>
                      </a:r>
                    </a:p>
                  </a:txBody>
                  <a:tcPr marL="48768" marR="48768" marT="24384" marB="24384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4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00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Arial" panose="020B0604020202020204" pitchFamily="34" charset="0"/>
                          <a:ea typeface="微软雅黑" panose="020B0503020204020204" pitchFamily="34" charset="-122"/>
                          <a:cs typeface="思源黑体 CN Regular" panose="020B0500000000000000" charset="-122"/>
                          <a:sym typeface="Arial" panose="020B0604020202020204" pitchFamily="34" charset="0"/>
                        </a:rPr>
                        <a:t>500TB</a:t>
                      </a:r>
                    </a:p>
                  </a:txBody>
                  <a:tcPr marL="48768" marR="48768" marT="24384" marB="24384" anchor="ctr">
                    <a:lnL w="6350" cap="flat" cmpd="sng" algn="ctr">
                      <a:solidFill>
                        <a:schemeClr val="accent4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56551">
                <a:tc>
                  <a:txBody>
                    <a:bodyPr/>
                    <a:lstStyle/>
                    <a:p>
                      <a:pPr marL="285750" indent="-285750">
                        <a:buFont typeface="思源黑体 CN Regular" panose="020B0500000000000000" charset="-122"/>
                        <a:buChar char="•"/>
                      </a:pPr>
                      <a:r>
                        <a:rPr lang="en-US" sz="100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Arial" panose="020B0604020202020204" pitchFamily="34" charset="0"/>
                          <a:ea typeface="微软雅黑" panose="020B0503020204020204" pitchFamily="34" charset="-122"/>
                          <a:cs typeface="思源黑体 CN Regular" panose="020B0500000000000000" charset="-122"/>
                          <a:sym typeface="Arial" panose="020B0604020202020204" pitchFamily="34" charset="0"/>
                        </a:rPr>
                        <a:t>Email Accounts</a:t>
                      </a:r>
                    </a:p>
                  </a:txBody>
                  <a:tcPr marL="48768" marR="48768" marT="24384" marB="24384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4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00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Arial" panose="020B0604020202020204" pitchFamily="34" charset="0"/>
                          <a:ea typeface="微软雅黑" panose="020B0503020204020204" pitchFamily="34" charset="-122"/>
                          <a:cs typeface="思源黑体 CN Regular" panose="020B0500000000000000" charset="-122"/>
                          <a:sym typeface="Arial" panose="020B0604020202020204" pitchFamily="34" charset="0"/>
                        </a:rPr>
                        <a:t>150</a:t>
                      </a:r>
                    </a:p>
                  </a:txBody>
                  <a:tcPr marL="48768" marR="48768" marT="24384" marB="24384" anchor="ctr">
                    <a:lnL w="6350" cap="flat" cmpd="sng" algn="ctr">
                      <a:solidFill>
                        <a:schemeClr val="accent4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56551">
                <a:tc>
                  <a:txBody>
                    <a:bodyPr/>
                    <a:lstStyle/>
                    <a:p>
                      <a:pPr marL="285750" indent="-285750">
                        <a:buFont typeface="思源黑体 CN Regular" panose="020B0500000000000000" charset="-122"/>
                        <a:buChar char="•"/>
                      </a:pPr>
                      <a:r>
                        <a:rPr lang="en-US" sz="100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Arial" panose="020B0604020202020204" pitchFamily="34" charset="0"/>
                          <a:ea typeface="微软雅黑" panose="020B0503020204020204" pitchFamily="34" charset="-122"/>
                          <a:cs typeface="思源黑体 CN Regular" panose="020B0500000000000000" charset="-122"/>
                          <a:sym typeface="Arial" panose="020B0604020202020204" pitchFamily="34" charset="0"/>
                        </a:rPr>
                        <a:t>Support Service</a:t>
                      </a:r>
                    </a:p>
                  </a:txBody>
                  <a:tcPr marL="48768" marR="48768" marT="24384" marB="24384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4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00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Arial" panose="020B0604020202020204" pitchFamily="34" charset="0"/>
                          <a:ea typeface="微软雅黑" panose="020B0503020204020204" pitchFamily="34" charset="-122"/>
                          <a:cs typeface="思源黑体 CN Regular" panose="020B0500000000000000" charset="-122"/>
                          <a:sym typeface="Arial" panose="020B0604020202020204" pitchFamily="34" charset="0"/>
                        </a:rPr>
                        <a:t>24</a:t>
                      </a:r>
                    </a:p>
                  </a:txBody>
                  <a:tcPr marL="48768" marR="48768" marT="24384" marB="24384" anchor="ctr">
                    <a:lnL w="6350" cap="flat" cmpd="sng" algn="ctr">
                      <a:solidFill>
                        <a:schemeClr val="accent4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graphicFrame>
        <p:nvGraphicFramePr>
          <p:cNvPr id="28" name="Table 14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39382429"/>
              </p:ext>
            </p:extLst>
          </p:nvPr>
        </p:nvGraphicFramePr>
        <p:xfrm>
          <a:off x="3115807" y="4391875"/>
          <a:ext cx="2077985" cy="1935772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52332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5466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483943">
                <a:tc>
                  <a:txBody>
                    <a:bodyPr/>
                    <a:lstStyle/>
                    <a:p>
                      <a:pPr marL="285750" indent="-285750">
                        <a:buFont typeface="思源黑体 CN Regular" panose="020B0500000000000000" charset="-122"/>
                        <a:buChar char="•"/>
                      </a:pPr>
                      <a:r>
                        <a:rPr lang="en-US" sz="100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Arial" panose="020B0604020202020204" pitchFamily="34" charset="0"/>
                          <a:ea typeface="微软雅黑" panose="020B0503020204020204" pitchFamily="34" charset="-122"/>
                          <a:cs typeface="思源黑体 CN Regular" panose="020B0500000000000000" charset="-122"/>
                          <a:sym typeface="Arial" panose="020B0604020202020204" pitchFamily="34" charset="0"/>
                        </a:rPr>
                        <a:t>Cloud Space</a:t>
                      </a:r>
                    </a:p>
                  </a:txBody>
                  <a:tcPr marL="48768" marR="48768" marT="24384" marB="24384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4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00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Arial" panose="020B0604020202020204" pitchFamily="34" charset="0"/>
                          <a:ea typeface="微软雅黑" panose="020B0503020204020204" pitchFamily="34" charset="-122"/>
                          <a:cs typeface="思源黑体 CN Regular" panose="020B0500000000000000" charset="-122"/>
                          <a:sym typeface="Arial" panose="020B0604020202020204" pitchFamily="34" charset="0"/>
                        </a:rPr>
                        <a:t>2GB</a:t>
                      </a:r>
                    </a:p>
                  </a:txBody>
                  <a:tcPr marL="48768" marR="48768" marT="24384" marB="24384" anchor="ctr">
                    <a:lnL w="6350" cap="flat" cmpd="sng" algn="ctr">
                      <a:solidFill>
                        <a:schemeClr val="accent4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83943">
                <a:tc>
                  <a:txBody>
                    <a:bodyPr/>
                    <a:lstStyle/>
                    <a:p>
                      <a:pPr marL="285750" indent="-285750">
                        <a:buFont typeface="思源黑体 CN Regular" panose="020B0500000000000000" charset="-122"/>
                        <a:buChar char="•"/>
                      </a:pPr>
                      <a:r>
                        <a:rPr lang="en-US" sz="100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Arial" panose="020B0604020202020204" pitchFamily="34" charset="0"/>
                          <a:ea typeface="微软雅黑" panose="020B0503020204020204" pitchFamily="34" charset="-122"/>
                          <a:cs typeface="思源黑体 CN Regular" panose="020B0500000000000000" charset="-122"/>
                          <a:sym typeface="Arial" panose="020B0604020202020204" pitchFamily="34" charset="0"/>
                        </a:rPr>
                        <a:t>Space Storage</a:t>
                      </a:r>
                    </a:p>
                  </a:txBody>
                  <a:tcPr marL="48768" marR="48768" marT="24384" marB="24384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4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00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Arial" panose="020B0604020202020204" pitchFamily="34" charset="0"/>
                          <a:ea typeface="微软雅黑" panose="020B0503020204020204" pitchFamily="34" charset="-122"/>
                          <a:cs typeface="思源黑体 CN Regular" panose="020B0500000000000000" charset="-122"/>
                          <a:sym typeface="Arial" panose="020B0604020202020204" pitchFamily="34" charset="0"/>
                        </a:rPr>
                        <a:t>500TB</a:t>
                      </a:r>
                    </a:p>
                  </a:txBody>
                  <a:tcPr marL="48768" marR="48768" marT="24384" marB="24384" anchor="ctr">
                    <a:lnL w="6350" cap="flat" cmpd="sng" algn="ctr">
                      <a:solidFill>
                        <a:schemeClr val="accent4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83943">
                <a:tc>
                  <a:txBody>
                    <a:bodyPr/>
                    <a:lstStyle/>
                    <a:p>
                      <a:pPr marL="285750" indent="-285750">
                        <a:buFont typeface="思源黑体 CN Regular" panose="020B0500000000000000" charset="-122"/>
                        <a:buChar char="•"/>
                      </a:pPr>
                      <a:r>
                        <a:rPr lang="en-US" sz="100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Arial" panose="020B0604020202020204" pitchFamily="34" charset="0"/>
                          <a:ea typeface="微软雅黑" panose="020B0503020204020204" pitchFamily="34" charset="-122"/>
                          <a:cs typeface="思源黑体 CN Regular" panose="020B0500000000000000" charset="-122"/>
                          <a:sym typeface="Arial" panose="020B0604020202020204" pitchFamily="34" charset="0"/>
                        </a:rPr>
                        <a:t>Email Accounts</a:t>
                      </a:r>
                    </a:p>
                  </a:txBody>
                  <a:tcPr marL="48768" marR="48768" marT="24384" marB="24384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4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00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Arial" panose="020B0604020202020204" pitchFamily="34" charset="0"/>
                          <a:ea typeface="微软雅黑" panose="020B0503020204020204" pitchFamily="34" charset="-122"/>
                          <a:cs typeface="思源黑体 CN Regular" panose="020B0500000000000000" charset="-122"/>
                          <a:sym typeface="Arial" panose="020B0604020202020204" pitchFamily="34" charset="0"/>
                        </a:rPr>
                        <a:t>150</a:t>
                      </a:r>
                    </a:p>
                  </a:txBody>
                  <a:tcPr marL="48768" marR="48768" marT="24384" marB="24384" anchor="ctr">
                    <a:lnL w="6350" cap="flat" cmpd="sng" algn="ctr">
                      <a:solidFill>
                        <a:schemeClr val="accent4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83943">
                <a:tc>
                  <a:txBody>
                    <a:bodyPr/>
                    <a:lstStyle/>
                    <a:p>
                      <a:pPr marL="285750" indent="-285750">
                        <a:buFont typeface="思源黑体 CN Regular" panose="020B0500000000000000" charset="-122"/>
                        <a:buChar char="•"/>
                      </a:pPr>
                      <a:r>
                        <a:rPr lang="en-US" sz="100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Arial" panose="020B0604020202020204" pitchFamily="34" charset="0"/>
                          <a:ea typeface="微软雅黑" panose="020B0503020204020204" pitchFamily="34" charset="-122"/>
                          <a:cs typeface="思源黑体 CN Regular" panose="020B0500000000000000" charset="-122"/>
                          <a:sym typeface="Arial" panose="020B0604020202020204" pitchFamily="34" charset="0"/>
                        </a:rPr>
                        <a:t>Support Service</a:t>
                      </a:r>
                    </a:p>
                  </a:txBody>
                  <a:tcPr marL="48768" marR="48768" marT="24384" marB="24384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4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00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Arial" panose="020B0604020202020204" pitchFamily="34" charset="0"/>
                          <a:ea typeface="微软雅黑" panose="020B0503020204020204" pitchFamily="34" charset="-122"/>
                          <a:cs typeface="思源黑体 CN Regular" panose="020B0500000000000000" charset="-122"/>
                          <a:sym typeface="Arial" panose="020B0604020202020204" pitchFamily="34" charset="0"/>
                        </a:rPr>
                        <a:t>24</a:t>
                      </a:r>
                    </a:p>
                  </a:txBody>
                  <a:tcPr marL="48768" marR="48768" marT="24384" marB="24384" anchor="ctr">
                    <a:lnL w="6350" cap="flat" cmpd="sng" algn="ctr">
                      <a:solidFill>
                        <a:schemeClr val="accent4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grpSp>
        <p:nvGrpSpPr>
          <p:cNvPr id="29" name="组合 28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GrpSpPr/>
          <p:nvPr/>
        </p:nvGrpSpPr>
        <p:grpSpPr>
          <a:xfrm>
            <a:off x="0" y="2911085"/>
            <a:ext cx="5760720" cy="1091751"/>
            <a:chOff x="0" y="2911085"/>
            <a:chExt cx="5708158" cy="1091751"/>
          </a:xfrm>
        </p:grpSpPr>
        <p:sp>
          <p:nvSpPr>
            <p:cNvPr id="30" name="Rectangle 34"/>
            <p:cNvSpPr/>
            <p:nvPr/>
          </p:nvSpPr>
          <p:spPr>
            <a:xfrm>
              <a:off x="3721122" y="3201697"/>
              <a:ext cx="1987036" cy="35279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r"/>
              <a:r>
                <a:rPr lang="en-US" sz="960">
                  <a:solidFill>
                    <a:schemeClr val="bg2"/>
                  </a:solidFill>
                  <a:latin typeface="Arial" panose="020B0604020202020204" pitchFamily="34" charset="0"/>
                  <a:ea typeface="微软雅黑" panose="020B0503020204020204" pitchFamily="34" charset="-122"/>
                  <a:cs typeface="思源黑体 CN Regular" panose="020B0500000000000000" charset="-122"/>
                  <a:sym typeface="Arial" panose="020B0604020202020204" pitchFamily="34" charset="0"/>
                </a:rPr>
                <a:t>10,650,250$</a:t>
              </a:r>
            </a:p>
          </p:txBody>
        </p:sp>
        <p:sp>
          <p:nvSpPr>
            <p:cNvPr id="31" name="Rectangle 33"/>
            <p:cNvSpPr/>
            <p:nvPr/>
          </p:nvSpPr>
          <p:spPr>
            <a:xfrm>
              <a:off x="2210757" y="3201698"/>
              <a:ext cx="1894283" cy="352790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r"/>
              <a:r>
                <a:rPr lang="en-US" sz="960">
                  <a:solidFill>
                    <a:schemeClr val="bg2"/>
                  </a:solidFill>
                  <a:latin typeface="Arial" panose="020B0604020202020204" pitchFamily="34" charset="0"/>
                  <a:ea typeface="微软雅黑" panose="020B0503020204020204" pitchFamily="34" charset="-122"/>
                  <a:cs typeface="思源黑体 CN Regular" panose="020B0500000000000000" charset="-122"/>
                  <a:sym typeface="Arial" panose="020B0604020202020204" pitchFamily="34" charset="0"/>
                </a:rPr>
                <a:t>8,500,250$</a:t>
              </a:r>
            </a:p>
          </p:txBody>
        </p:sp>
        <p:sp>
          <p:nvSpPr>
            <p:cNvPr id="32" name="Rectangle 32"/>
            <p:cNvSpPr/>
            <p:nvPr/>
          </p:nvSpPr>
          <p:spPr>
            <a:xfrm>
              <a:off x="0" y="3201698"/>
              <a:ext cx="2782079" cy="352790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r"/>
              <a:r>
                <a:rPr lang="en-US" sz="960">
                  <a:solidFill>
                    <a:schemeClr val="bg2"/>
                  </a:solidFill>
                  <a:latin typeface="Arial" panose="020B0604020202020204" pitchFamily="34" charset="0"/>
                  <a:ea typeface="微软雅黑" panose="020B0503020204020204" pitchFamily="34" charset="-122"/>
                  <a:cs typeface="思源黑体 CN Regular" panose="020B0500000000000000" charset="-122"/>
                  <a:sym typeface="Arial" panose="020B0604020202020204" pitchFamily="34" charset="0"/>
                </a:rPr>
                <a:t>15,850,000$</a:t>
              </a:r>
            </a:p>
          </p:txBody>
        </p:sp>
        <p:sp>
          <p:nvSpPr>
            <p:cNvPr id="33" name="TextBox 35"/>
            <p:cNvSpPr txBox="1"/>
            <p:nvPr/>
          </p:nvSpPr>
          <p:spPr>
            <a:xfrm>
              <a:off x="313923" y="2911085"/>
              <a:ext cx="1301198" cy="24006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96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anose="020B0604020202020204" pitchFamily="34" charset="0"/>
                  <a:ea typeface="微软雅黑" panose="020B0503020204020204" pitchFamily="34" charset="-122"/>
                  <a:cs typeface="思源黑体 CN Regular" panose="020B0500000000000000" charset="-122"/>
                  <a:sym typeface="Arial" panose="020B0604020202020204" pitchFamily="34" charset="0"/>
                </a:rPr>
                <a:t>Business Options 01</a:t>
              </a:r>
            </a:p>
          </p:txBody>
        </p:sp>
        <p:sp>
          <p:nvSpPr>
            <p:cNvPr id="34" name="TextBox 36"/>
            <p:cNvSpPr txBox="1"/>
            <p:nvPr/>
          </p:nvSpPr>
          <p:spPr>
            <a:xfrm>
              <a:off x="2731357" y="2911085"/>
              <a:ext cx="1010526" cy="24006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96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anose="020B0604020202020204" pitchFamily="34" charset="0"/>
                  <a:ea typeface="微软雅黑" panose="020B0503020204020204" pitchFamily="34" charset="-122"/>
                  <a:cs typeface="思源黑体 CN Regular" panose="020B0500000000000000" charset="-122"/>
                  <a:sym typeface="Arial" panose="020B0604020202020204" pitchFamily="34" charset="0"/>
                </a:rPr>
                <a:t>Design Plan 02</a:t>
              </a:r>
            </a:p>
          </p:txBody>
        </p:sp>
        <p:sp>
          <p:nvSpPr>
            <p:cNvPr id="35" name="TextBox 37"/>
            <p:cNvSpPr txBox="1"/>
            <p:nvPr/>
          </p:nvSpPr>
          <p:spPr>
            <a:xfrm>
              <a:off x="4042646" y="2911085"/>
              <a:ext cx="929518" cy="24006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96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anose="020B0604020202020204" pitchFamily="34" charset="0"/>
                  <a:ea typeface="微软雅黑" panose="020B0503020204020204" pitchFamily="34" charset="-122"/>
                  <a:cs typeface="思源黑体 CN Regular" panose="020B0500000000000000" charset="-122"/>
                  <a:sym typeface="Arial" panose="020B0604020202020204" pitchFamily="34" charset="0"/>
                </a:rPr>
                <a:t>Consulting 03</a:t>
              </a:r>
            </a:p>
          </p:txBody>
        </p:sp>
        <p:sp>
          <p:nvSpPr>
            <p:cNvPr id="36" name="TextBox 39"/>
            <p:cNvSpPr txBox="1"/>
            <p:nvPr/>
          </p:nvSpPr>
          <p:spPr>
            <a:xfrm>
              <a:off x="313923" y="3648124"/>
              <a:ext cx="545131" cy="35471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705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anose="020B0604020202020204" pitchFamily="34" charset="0"/>
                  <a:ea typeface="微软雅黑" panose="020B0503020204020204" pitchFamily="34" charset="-122"/>
                  <a:cs typeface="思源黑体 CN Regular" panose="020B0500000000000000" charset="-122"/>
                  <a:sym typeface="Arial" panose="020B0604020202020204" pitchFamily="34" charset="0"/>
                </a:rPr>
                <a:t>60</a:t>
              </a:r>
              <a:r>
                <a:rPr lang="en-US" sz="96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anose="020B0604020202020204" pitchFamily="34" charset="0"/>
                  <a:ea typeface="微软雅黑" panose="020B0503020204020204" pitchFamily="34" charset="-122"/>
                  <a:cs typeface="思源黑体 CN Regular" panose="020B0500000000000000" charset="-122"/>
                  <a:sym typeface="Arial" panose="020B0604020202020204" pitchFamily="34" charset="0"/>
                </a:rPr>
                <a:t>%</a:t>
              </a:r>
            </a:p>
          </p:txBody>
        </p:sp>
        <p:sp>
          <p:nvSpPr>
            <p:cNvPr id="37" name="TextBox 40"/>
            <p:cNvSpPr txBox="1"/>
            <p:nvPr/>
          </p:nvSpPr>
          <p:spPr>
            <a:xfrm>
              <a:off x="2731357" y="3648124"/>
              <a:ext cx="545131" cy="35471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705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anose="020B0604020202020204" pitchFamily="34" charset="0"/>
                  <a:ea typeface="微软雅黑" panose="020B0503020204020204" pitchFamily="34" charset="-122"/>
                  <a:cs typeface="思源黑体 CN Regular" panose="020B0500000000000000" charset="-122"/>
                  <a:sym typeface="Arial" panose="020B0604020202020204" pitchFamily="34" charset="0"/>
                </a:rPr>
                <a:t>18</a:t>
              </a:r>
              <a:r>
                <a:rPr lang="en-US" sz="96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anose="020B0604020202020204" pitchFamily="34" charset="0"/>
                  <a:ea typeface="微软雅黑" panose="020B0503020204020204" pitchFamily="34" charset="-122"/>
                  <a:cs typeface="思源黑体 CN Regular" panose="020B0500000000000000" charset="-122"/>
                  <a:sym typeface="Arial" panose="020B0604020202020204" pitchFamily="34" charset="0"/>
                </a:rPr>
                <a:t>%</a:t>
              </a:r>
            </a:p>
          </p:txBody>
        </p:sp>
        <p:sp>
          <p:nvSpPr>
            <p:cNvPr id="38" name="TextBox 41"/>
            <p:cNvSpPr txBox="1"/>
            <p:nvPr/>
          </p:nvSpPr>
          <p:spPr>
            <a:xfrm>
              <a:off x="4040981" y="3648124"/>
              <a:ext cx="545131" cy="35471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705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anose="020B0604020202020204" pitchFamily="34" charset="0"/>
                  <a:ea typeface="微软雅黑" panose="020B0503020204020204" pitchFamily="34" charset="-122"/>
                  <a:cs typeface="思源黑体 CN Regular" panose="020B0500000000000000" charset="-122"/>
                  <a:sym typeface="Arial" panose="020B0604020202020204" pitchFamily="34" charset="0"/>
                </a:rPr>
                <a:t>22</a:t>
              </a:r>
              <a:r>
                <a:rPr lang="en-US" sz="96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anose="020B0604020202020204" pitchFamily="34" charset="0"/>
                  <a:ea typeface="微软雅黑" panose="020B0503020204020204" pitchFamily="34" charset="-122"/>
                  <a:cs typeface="思源黑体 CN Regular" panose="020B0500000000000000" charset="-122"/>
                  <a:sym typeface="Arial" panose="020B0604020202020204" pitchFamily="34" charset="0"/>
                </a:rPr>
                <a:t>%</a:t>
              </a:r>
            </a:p>
          </p:txBody>
        </p:sp>
      </p:grpSp>
      <p:sp>
        <p:nvSpPr>
          <p:cNvPr id="5" name="e7d195523061f1c0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 hidden="1"/>
          <p:cNvSpPr txBox="1"/>
          <p:nvPr/>
        </p:nvSpPr>
        <p:spPr>
          <a:xfrm>
            <a:off x="-355600" y="1803400"/>
            <a:ext cx="284693" cy="1016000"/>
          </a:xfrm>
          <a:prstGeom prst="rect">
            <a:avLst/>
          </a:prstGeom>
          <a:noFill/>
        </p:spPr>
        <p:txBody>
          <a:bodyPr vert="wordArtVert" rtlCol="0">
            <a:spAutoFit/>
          </a:bodyPr>
          <a:lstStyle/>
          <a:p>
            <a:r>
              <a:rPr lang="en-US" altLang="zh-CN" sz="100"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rPr>
              <a:t>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</a:t>
            </a:r>
            <a:endParaRPr lang="zh-CN" altLang="en-US" sz="100">
              <a:latin typeface="Arial" panose="020B0604020202020204" pitchFamily="34" charset="0"/>
              <a:ea typeface="微软雅黑" panose="020B0503020204020204" pitchFamily="34" charset="-122"/>
              <a:cs typeface="思源黑体 CN Regular" panose="020B0500000000000000" charset="-122"/>
              <a:sym typeface="Arial" panose="020B0604020202020204" pitchFamily="34" charset="0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random/>
      </p:transition>
    </mc:Choice>
    <mc:Fallback xmlns:p159="http://schemas.microsoft.com/office/powerpoint/2015/09/main" xmlns:p15="http://schemas.microsoft.com/office/powerpoint/2012/main" xmlns:a14="http://schemas.microsoft.com/office/drawing/2010/main" xmlns:wp="http://schemas.openxmlformats.org/drawingml/2006/wordprocessingDrawing" xmlns:w="http://schemas.openxmlformats.org/wordprocessingml/2006/main" xmlns:m="http://schemas.openxmlformats.org/officeDocument/2006/math" xmlns="">
      <p:transition spd="slow">
        <p:random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dur="5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 nodeType="clickPar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4" dur="50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2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22" presetClass="entr" presetSubtype="4" dur="5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5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22" presetClass="entr" presetSubtype="4" dur="5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8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22" presetClass="entr" presetSubtype="4" dur="5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1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22" presetClass="entr" presetSubtype="4" dur="5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4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22" presetClass="entr" presetSubtype="4" dur="5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7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22" presetClass="entr" presetSubtype="4" dur="5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0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22" presetClass="entr" presetSubtype="4" dur="5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3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22" presetClass="entr" presetSubtype="4" dur="5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6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6" grpId="0" animBg="1"/>
      <p:bldP spid="14" grpId="0"/>
      <p:bldP spid="15" grpId="0"/>
      <p:bldP spid="16" grpId="0" animBg="1"/>
      <p:bldP spid="17" grpId="0" animBg="1"/>
      <p:bldP spid="18" grpId="0"/>
    </p:bld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3" name="TextBox 112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SpPr txBox="1"/>
          <p:nvPr/>
        </p:nvSpPr>
        <p:spPr>
          <a:xfrm>
            <a:off x="1422445" y="6281406"/>
            <a:ext cx="115929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b="1">
                <a:solidFill>
                  <a:schemeClr val="tx2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rPr>
              <a:t>PlayStation</a:t>
            </a:r>
            <a:endParaRPr lang="id-ID" sz="1400" b="1">
              <a:solidFill>
                <a:schemeClr val="tx2"/>
              </a:solidFill>
              <a:latin typeface="Arial" panose="020B0604020202020204" pitchFamily="34" charset="0"/>
              <a:ea typeface="微软雅黑" panose="020B0503020204020204" pitchFamily="34" charset="-122"/>
              <a:cs typeface="思源黑体 CN Regular" panose="020B0500000000000000" charset="-122"/>
              <a:sym typeface="Arial" panose="020B0604020202020204" pitchFamily="34" charset="0"/>
            </a:endParaRPr>
          </a:p>
        </p:txBody>
      </p:sp>
      <p:sp>
        <p:nvSpPr>
          <p:cNvPr id="114" name="TextBox 113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SpPr txBox="1"/>
          <p:nvPr/>
        </p:nvSpPr>
        <p:spPr>
          <a:xfrm>
            <a:off x="2596549" y="6281406"/>
            <a:ext cx="67524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b="1">
                <a:solidFill>
                  <a:schemeClr val="tx2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rPr>
              <a:t>Truck</a:t>
            </a:r>
            <a:endParaRPr lang="id-ID" sz="1400" b="1">
              <a:solidFill>
                <a:schemeClr val="tx2"/>
              </a:solidFill>
              <a:latin typeface="Arial" panose="020B0604020202020204" pitchFamily="34" charset="0"/>
              <a:ea typeface="微软雅黑" panose="020B0503020204020204" pitchFamily="34" charset="-122"/>
              <a:cs typeface="思源黑体 CN Regular" panose="020B0500000000000000" charset="-122"/>
              <a:sym typeface="Arial" panose="020B0604020202020204" pitchFamily="34" charset="0"/>
            </a:endParaRPr>
          </a:p>
        </p:txBody>
      </p:sp>
      <p:sp>
        <p:nvSpPr>
          <p:cNvPr id="115" name="TextBox 114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SpPr txBox="1"/>
          <p:nvPr/>
        </p:nvSpPr>
        <p:spPr>
          <a:xfrm>
            <a:off x="3390003" y="6281406"/>
            <a:ext cx="95250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b="1">
                <a:solidFill>
                  <a:schemeClr val="tx2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rPr>
              <a:t>Umbrella</a:t>
            </a:r>
            <a:endParaRPr lang="id-ID" sz="1400" b="1">
              <a:solidFill>
                <a:schemeClr val="tx2"/>
              </a:solidFill>
              <a:latin typeface="Arial" panose="020B0604020202020204" pitchFamily="34" charset="0"/>
              <a:ea typeface="微软雅黑" panose="020B0503020204020204" pitchFamily="34" charset="-122"/>
              <a:cs typeface="思源黑体 CN Regular" panose="020B0500000000000000" charset="-122"/>
              <a:sym typeface="Arial" panose="020B0604020202020204" pitchFamily="34" charset="0"/>
            </a:endParaRPr>
          </a:p>
        </p:txBody>
      </p:sp>
      <p:sp>
        <p:nvSpPr>
          <p:cNvPr id="116" name="TextBox 115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SpPr txBox="1"/>
          <p:nvPr/>
        </p:nvSpPr>
        <p:spPr>
          <a:xfrm>
            <a:off x="4385086" y="6281406"/>
            <a:ext cx="798873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b="1">
                <a:solidFill>
                  <a:schemeClr val="tx2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rPr>
              <a:t>Rocket</a:t>
            </a:r>
            <a:endParaRPr lang="id-ID" sz="1400" b="1">
              <a:solidFill>
                <a:schemeClr val="tx2"/>
              </a:solidFill>
              <a:latin typeface="Arial" panose="020B0604020202020204" pitchFamily="34" charset="0"/>
              <a:ea typeface="微软雅黑" panose="020B0503020204020204" pitchFamily="34" charset="-122"/>
              <a:cs typeface="思源黑体 CN Regular" panose="020B0500000000000000" charset="-122"/>
              <a:sym typeface="Arial" panose="020B0604020202020204" pitchFamily="34" charset="0"/>
            </a:endParaRPr>
          </a:p>
        </p:txBody>
      </p:sp>
      <p:grpSp>
        <p:nvGrpSpPr>
          <p:cNvPr id="6" name="Group 5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GrpSpPr/>
          <p:nvPr/>
        </p:nvGrpSpPr>
        <p:grpSpPr>
          <a:xfrm>
            <a:off x="909360" y="2736971"/>
            <a:ext cx="4190501" cy="3514455"/>
            <a:chOff x="1580306" y="2642926"/>
            <a:chExt cx="4190501" cy="3514455"/>
          </a:xfrm>
        </p:grpSpPr>
        <p:sp>
          <p:nvSpPr>
            <p:cNvPr id="7" name="Rectangle 5"/>
            <p:cNvSpPr>
              <a:spLocks noChangeArrowheads="1"/>
            </p:cNvSpPr>
            <p:nvPr/>
          </p:nvSpPr>
          <p:spPr bwMode="auto">
            <a:xfrm>
              <a:off x="2383260" y="5149775"/>
              <a:ext cx="596827" cy="779191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endParaRPr>
            </a:p>
          </p:txBody>
        </p:sp>
        <p:sp>
          <p:nvSpPr>
            <p:cNvPr id="8" name="Rectangle 6"/>
            <p:cNvSpPr>
              <a:spLocks noChangeArrowheads="1"/>
            </p:cNvSpPr>
            <p:nvPr/>
          </p:nvSpPr>
          <p:spPr bwMode="auto">
            <a:xfrm>
              <a:off x="2383260" y="5149775"/>
              <a:ext cx="596827" cy="77919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endParaRPr>
            </a:p>
          </p:txBody>
        </p:sp>
        <p:sp>
          <p:nvSpPr>
            <p:cNvPr id="9" name="Freeform 7"/>
            <p:cNvSpPr/>
            <p:nvPr/>
          </p:nvSpPr>
          <p:spPr bwMode="auto">
            <a:xfrm>
              <a:off x="2169582" y="4873466"/>
              <a:ext cx="213679" cy="1055500"/>
            </a:xfrm>
            <a:custGeom>
              <a:avLst/>
              <a:gdLst>
                <a:gd name="T0" fmla="*/ 0 w 116"/>
                <a:gd name="T1" fmla="*/ 422 h 573"/>
                <a:gd name="T2" fmla="*/ 116 w 116"/>
                <a:gd name="T3" fmla="*/ 573 h 573"/>
                <a:gd name="T4" fmla="*/ 116 w 116"/>
                <a:gd name="T5" fmla="*/ 150 h 573"/>
                <a:gd name="T6" fmla="*/ 0 w 116"/>
                <a:gd name="T7" fmla="*/ 0 h 573"/>
                <a:gd name="T8" fmla="*/ 0 w 116"/>
                <a:gd name="T9" fmla="*/ 422 h 5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5" h="573">
                  <a:moveTo>
                    <a:pt x="0" y="422"/>
                  </a:moveTo>
                  <a:lnTo>
                    <a:pt x="116" y="573"/>
                  </a:lnTo>
                  <a:lnTo>
                    <a:pt x="116" y="150"/>
                  </a:lnTo>
                  <a:lnTo>
                    <a:pt x="0" y="0"/>
                  </a:lnTo>
                  <a:lnTo>
                    <a:pt x="0" y="422"/>
                  </a:ln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endParaRPr>
            </a:p>
          </p:txBody>
        </p:sp>
        <p:sp>
          <p:nvSpPr>
            <p:cNvPr id="10" name="Freeform 8"/>
            <p:cNvSpPr/>
            <p:nvPr/>
          </p:nvSpPr>
          <p:spPr bwMode="auto">
            <a:xfrm>
              <a:off x="2169582" y="4873466"/>
              <a:ext cx="213679" cy="1055500"/>
            </a:xfrm>
            <a:custGeom>
              <a:avLst/>
              <a:gdLst>
                <a:gd name="T0" fmla="*/ 0 w 116"/>
                <a:gd name="T1" fmla="*/ 422 h 573"/>
                <a:gd name="T2" fmla="*/ 116 w 116"/>
                <a:gd name="T3" fmla="*/ 573 h 573"/>
                <a:gd name="T4" fmla="*/ 116 w 116"/>
                <a:gd name="T5" fmla="*/ 150 h 573"/>
                <a:gd name="T6" fmla="*/ 0 w 116"/>
                <a:gd name="T7" fmla="*/ 0 h 573"/>
                <a:gd name="T8" fmla="*/ 0 w 116"/>
                <a:gd name="T9" fmla="*/ 422 h 5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5" h="573">
                  <a:moveTo>
                    <a:pt x="0" y="422"/>
                  </a:moveTo>
                  <a:lnTo>
                    <a:pt x="116" y="573"/>
                  </a:lnTo>
                  <a:lnTo>
                    <a:pt x="116" y="150"/>
                  </a:lnTo>
                  <a:lnTo>
                    <a:pt x="0" y="0"/>
                  </a:lnTo>
                  <a:lnTo>
                    <a:pt x="0" y="422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endParaRPr>
            </a:p>
          </p:txBody>
        </p:sp>
        <p:sp>
          <p:nvSpPr>
            <p:cNvPr id="11" name="Freeform 9"/>
            <p:cNvSpPr/>
            <p:nvPr/>
          </p:nvSpPr>
          <p:spPr bwMode="auto">
            <a:xfrm>
              <a:off x="2169582" y="4878992"/>
              <a:ext cx="810506" cy="270783"/>
            </a:xfrm>
            <a:custGeom>
              <a:avLst/>
              <a:gdLst>
                <a:gd name="T0" fmla="*/ 324 w 440"/>
                <a:gd name="T1" fmla="*/ 0 h 147"/>
                <a:gd name="T2" fmla="*/ 0 w 440"/>
                <a:gd name="T3" fmla="*/ 0 h 147"/>
                <a:gd name="T4" fmla="*/ 116 w 440"/>
                <a:gd name="T5" fmla="*/ 147 h 147"/>
                <a:gd name="T6" fmla="*/ 440 w 440"/>
                <a:gd name="T7" fmla="*/ 147 h 147"/>
                <a:gd name="T8" fmla="*/ 324 w 440"/>
                <a:gd name="T9" fmla="*/ 0 h 1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40" h="147">
                  <a:moveTo>
                    <a:pt x="324" y="0"/>
                  </a:moveTo>
                  <a:lnTo>
                    <a:pt x="0" y="0"/>
                  </a:lnTo>
                  <a:lnTo>
                    <a:pt x="116" y="147"/>
                  </a:lnTo>
                  <a:lnTo>
                    <a:pt x="440" y="147"/>
                  </a:lnTo>
                  <a:lnTo>
                    <a:pt x="324" y="0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endParaRPr>
            </a:p>
          </p:txBody>
        </p:sp>
        <p:sp>
          <p:nvSpPr>
            <p:cNvPr id="12" name="Freeform 10"/>
            <p:cNvSpPr/>
            <p:nvPr/>
          </p:nvSpPr>
          <p:spPr bwMode="auto">
            <a:xfrm>
              <a:off x="2169582" y="4878992"/>
              <a:ext cx="810506" cy="270783"/>
            </a:xfrm>
            <a:custGeom>
              <a:avLst/>
              <a:gdLst>
                <a:gd name="T0" fmla="*/ 324 w 440"/>
                <a:gd name="T1" fmla="*/ 0 h 147"/>
                <a:gd name="T2" fmla="*/ 0 w 440"/>
                <a:gd name="T3" fmla="*/ 0 h 147"/>
                <a:gd name="T4" fmla="*/ 116 w 440"/>
                <a:gd name="T5" fmla="*/ 147 h 147"/>
                <a:gd name="T6" fmla="*/ 440 w 440"/>
                <a:gd name="T7" fmla="*/ 147 h 147"/>
                <a:gd name="T8" fmla="*/ 324 w 440"/>
                <a:gd name="T9" fmla="*/ 0 h 1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40" h="147">
                  <a:moveTo>
                    <a:pt x="324" y="0"/>
                  </a:moveTo>
                  <a:lnTo>
                    <a:pt x="0" y="0"/>
                  </a:lnTo>
                  <a:lnTo>
                    <a:pt x="116" y="147"/>
                  </a:lnTo>
                  <a:lnTo>
                    <a:pt x="440" y="147"/>
                  </a:lnTo>
                  <a:lnTo>
                    <a:pt x="324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endParaRPr>
            </a:p>
          </p:txBody>
        </p:sp>
        <p:sp>
          <p:nvSpPr>
            <p:cNvPr id="13" name="Rectangle 11"/>
            <p:cNvSpPr>
              <a:spLocks noChangeArrowheads="1"/>
            </p:cNvSpPr>
            <p:nvPr/>
          </p:nvSpPr>
          <p:spPr bwMode="auto">
            <a:xfrm>
              <a:off x="3315342" y="4702155"/>
              <a:ext cx="596827" cy="1226811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endParaRPr>
            </a:p>
          </p:txBody>
        </p:sp>
        <p:sp>
          <p:nvSpPr>
            <p:cNvPr id="14" name="Rectangle 12"/>
            <p:cNvSpPr>
              <a:spLocks noChangeArrowheads="1"/>
            </p:cNvSpPr>
            <p:nvPr/>
          </p:nvSpPr>
          <p:spPr bwMode="auto">
            <a:xfrm>
              <a:off x="3315342" y="4702155"/>
              <a:ext cx="596827" cy="122681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endParaRPr>
            </a:p>
          </p:txBody>
        </p:sp>
        <p:sp>
          <p:nvSpPr>
            <p:cNvPr id="15" name="Freeform 13"/>
            <p:cNvSpPr/>
            <p:nvPr/>
          </p:nvSpPr>
          <p:spPr bwMode="auto">
            <a:xfrm>
              <a:off x="3101663" y="4425846"/>
              <a:ext cx="213679" cy="1503120"/>
            </a:xfrm>
            <a:custGeom>
              <a:avLst/>
              <a:gdLst>
                <a:gd name="T0" fmla="*/ 0 w 116"/>
                <a:gd name="T1" fmla="*/ 665 h 816"/>
                <a:gd name="T2" fmla="*/ 116 w 116"/>
                <a:gd name="T3" fmla="*/ 816 h 816"/>
                <a:gd name="T4" fmla="*/ 116 w 116"/>
                <a:gd name="T5" fmla="*/ 150 h 816"/>
                <a:gd name="T6" fmla="*/ 0 w 116"/>
                <a:gd name="T7" fmla="*/ 0 h 816"/>
                <a:gd name="T8" fmla="*/ 0 w 116"/>
                <a:gd name="T9" fmla="*/ 665 h 8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5" h="816">
                  <a:moveTo>
                    <a:pt x="0" y="665"/>
                  </a:moveTo>
                  <a:lnTo>
                    <a:pt x="116" y="816"/>
                  </a:lnTo>
                  <a:lnTo>
                    <a:pt x="116" y="150"/>
                  </a:lnTo>
                  <a:lnTo>
                    <a:pt x="0" y="0"/>
                  </a:lnTo>
                  <a:lnTo>
                    <a:pt x="0" y="665"/>
                  </a:lnTo>
                  <a:close/>
                </a:path>
              </a:pathLst>
            </a:custGeom>
            <a:solidFill>
              <a:schemeClr val="accent2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endParaRPr>
            </a:p>
          </p:txBody>
        </p:sp>
        <p:sp>
          <p:nvSpPr>
            <p:cNvPr id="16" name="Freeform 14"/>
            <p:cNvSpPr/>
            <p:nvPr/>
          </p:nvSpPr>
          <p:spPr bwMode="auto">
            <a:xfrm>
              <a:off x="3101663" y="4425846"/>
              <a:ext cx="213679" cy="1503120"/>
            </a:xfrm>
            <a:custGeom>
              <a:avLst/>
              <a:gdLst>
                <a:gd name="T0" fmla="*/ 0 w 116"/>
                <a:gd name="T1" fmla="*/ 665 h 816"/>
                <a:gd name="T2" fmla="*/ 116 w 116"/>
                <a:gd name="T3" fmla="*/ 816 h 816"/>
                <a:gd name="T4" fmla="*/ 116 w 116"/>
                <a:gd name="T5" fmla="*/ 150 h 816"/>
                <a:gd name="T6" fmla="*/ 0 w 116"/>
                <a:gd name="T7" fmla="*/ 0 h 816"/>
                <a:gd name="T8" fmla="*/ 0 w 116"/>
                <a:gd name="T9" fmla="*/ 665 h 8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5" h="816">
                  <a:moveTo>
                    <a:pt x="0" y="665"/>
                  </a:moveTo>
                  <a:lnTo>
                    <a:pt x="116" y="816"/>
                  </a:lnTo>
                  <a:lnTo>
                    <a:pt x="116" y="150"/>
                  </a:lnTo>
                  <a:lnTo>
                    <a:pt x="0" y="0"/>
                  </a:lnTo>
                  <a:lnTo>
                    <a:pt x="0" y="665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endParaRPr>
            </a:p>
          </p:txBody>
        </p:sp>
        <p:sp>
          <p:nvSpPr>
            <p:cNvPr id="17" name="Freeform 15"/>
            <p:cNvSpPr/>
            <p:nvPr/>
          </p:nvSpPr>
          <p:spPr bwMode="auto">
            <a:xfrm>
              <a:off x="3101663" y="4431372"/>
              <a:ext cx="810506" cy="270783"/>
            </a:xfrm>
            <a:custGeom>
              <a:avLst/>
              <a:gdLst>
                <a:gd name="T0" fmla="*/ 324 w 440"/>
                <a:gd name="T1" fmla="*/ 0 h 147"/>
                <a:gd name="T2" fmla="*/ 0 w 440"/>
                <a:gd name="T3" fmla="*/ 0 h 147"/>
                <a:gd name="T4" fmla="*/ 116 w 440"/>
                <a:gd name="T5" fmla="*/ 147 h 147"/>
                <a:gd name="T6" fmla="*/ 440 w 440"/>
                <a:gd name="T7" fmla="*/ 147 h 147"/>
                <a:gd name="T8" fmla="*/ 324 w 440"/>
                <a:gd name="T9" fmla="*/ 0 h 1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40" h="147">
                  <a:moveTo>
                    <a:pt x="324" y="0"/>
                  </a:moveTo>
                  <a:lnTo>
                    <a:pt x="0" y="0"/>
                  </a:lnTo>
                  <a:lnTo>
                    <a:pt x="116" y="147"/>
                  </a:lnTo>
                  <a:lnTo>
                    <a:pt x="440" y="147"/>
                  </a:lnTo>
                  <a:lnTo>
                    <a:pt x="324" y="0"/>
                  </a:lnTo>
                  <a:close/>
                </a:path>
              </a:pathLst>
            </a:custGeom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endParaRPr>
            </a:p>
          </p:txBody>
        </p:sp>
        <p:sp>
          <p:nvSpPr>
            <p:cNvPr id="18" name="Freeform 16"/>
            <p:cNvSpPr/>
            <p:nvPr/>
          </p:nvSpPr>
          <p:spPr bwMode="auto">
            <a:xfrm>
              <a:off x="3101663" y="4431372"/>
              <a:ext cx="810506" cy="270783"/>
            </a:xfrm>
            <a:custGeom>
              <a:avLst/>
              <a:gdLst>
                <a:gd name="T0" fmla="*/ 324 w 440"/>
                <a:gd name="T1" fmla="*/ 0 h 147"/>
                <a:gd name="T2" fmla="*/ 0 w 440"/>
                <a:gd name="T3" fmla="*/ 0 h 147"/>
                <a:gd name="T4" fmla="*/ 116 w 440"/>
                <a:gd name="T5" fmla="*/ 147 h 147"/>
                <a:gd name="T6" fmla="*/ 440 w 440"/>
                <a:gd name="T7" fmla="*/ 147 h 147"/>
                <a:gd name="T8" fmla="*/ 324 w 440"/>
                <a:gd name="T9" fmla="*/ 0 h 1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40" h="147">
                  <a:moveTo>
                    <a:pt x="324" y="0"/>
                  </a:moveTo>
                  <a:lnTo>
                    <a:pt x="0" y="0"/>
                  </a:lnTo>
                  <a:lnTo>
                    <a:pt x="116" y="147"/>
                  </a:lnTo>
                  <a:lnTo>
                    <a:pt x="440" y="147"/>
                  </a:lnTo>
                  <a:lnTo>
                    <a:pt x="324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endParaRPr>
            </a:p>
          </p:txBody>
        </p:sp>
        <p:sp>
          <p:nvSpPr>
            <p:cNvPr id="19" name="Rectangle 17"/>
            <p:cNvSpPr>
              <a:spLocks noChangeArrowheads="1"/>
            </p:cNvSpPr>
            <p:nvPr/>
          </p:nvSpPr>
          <p:spPr bwMode="auto">
            <a:xfrm>
              <a:off x="4247424" y="4149537"/>
              <a:ext cx="596827" cy="1779429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endParaRPr>
            </a:p>
          </p:txBody>
        </p:sp>
        <p:sp>
          <p:nvSpPr>
            <p:cNvPr id="20" name="Rectangle 18"/>
            <p:cNvSpPr>
              <a:spLocks noChangeArrowheads="1"/>
            </p:cNvSpPr>
            <p:nvPr/>
          </p:nvSpPr>
          <p:spPr bwMode="auto">
            <a:xfrm>
              <a:off x="4247424" y="4149537"/>
              <a:ext cx="596827" cy="177942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endParaRPr>
            </a:p>
          </p:txBody>
        </p:sp>
        <p:sp>
          <p:nvSpPr>
            <p:cNvPr id="21" name="Freeform 19"/>
            <p:cNvSpPr/>
            <p:nvPr/>
          </p:nvSpPr>
          <p:spPr bwMode="auto">
            <a:xfrm>
              <a:off x="4033745" y="3871386"/>
              <a:ext cx="213679" cy="2057580"/>
            </a:xfrm>
            <a:custGeom>
              <a:avLst/>
              <a:gdLst>
                <a:gd name="T0" fmla="*/ 0 w 116"/>
                <a:gd name="T1" fmla="*/ 966 h 1117"/>
                <a:gd name="T2" fmla="*/ 116 w 116"/>
                <a:gd name="T3" fmla="*/ 1117 h 1117"/>
                <a:gd name="T4" fmla="*/ 116 w 116"/>
                <a:gd name="T5" fmla="*/ 151 h 1117"/>
                <a:gd name="T6" fmla="*/ 0 w 116"/>
                <a:gd name="T7" fmla="*/ 0 h 1117"/>
                <a:gd name="T8" fmla="*/ 0 w 116"/>
                <a:gd name="T9" fmla="*/ 966 h 1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5" h="1117">
                  <a:moveTo>
                    <a:pt x="0" y="966"/>
                  </a:moveTo>
                  <a:lnTo>
                    <a:pt x="116" y="1117"/>
                  </a:lnTo>
                  <a:lnTo>
                    <a:pt x="116" y="151"/>
                  </a:lnTo>
                  <a:lnTo>
                    <a:pt x="0" y="0"/>
                  </a:lnTo>
                  <a:lnTo>
                    <a:pt x="0" y="966"/>
                  </a:lnTo>
                  <a:close/>
                </a:path>
              </a:pathLst>
            </a:custGeom>
            <a:solidFill>
              <a:schemeClr val="accent3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endParaRPr>
            </a:p>
          </p:txBody>
        </p:sp>
        <p:sp>
          <p:nvSpPr>
            <p:cNvPr id="22" name="Freeform 20"/>
            <p:cNvSpPr/>
            <p:nvPr/>
          </p:nvSpPr>
          <p:spPr bwMode="auto">
            <a:xfrm>
              <a:off x="4033745" y="3871386"/>
              <a:ext cx="213679" cy="2057580"/>
            </a:xfrm>
            <a:custGeom>
              <a:avLst/>
              <a:gdLst>
                <a:gd name="T0" fmla="*/ 0 w 116"/>
                <a:gd name="T1" fmla="*/ 966 h 1117"/>
                <a:gd name="T2" fmla="*/ 116 w 116"/>
                <a:gd name="T3" fmla="*/ 1117 h 1117"/>
                <a:gd name="T4" fmla="*/ 116 w 116"/>
                <a:gd name="T5" fmla="*/ 151 h 1117"/>
                <a:gd name="T6" fmla="*/ 0 w 116"/>
                <a:gd name="T7" fmla="*/ 0 h 1117"/>
                <a:gd name="T8" fmla="*/ 0 w 116"/>
                <a:gd name="T9" fmla="*/ 966 h 1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5" h="1117">
                  <a:moveTo>
                    <a:pt x="0" y="966"/>
                  </a:moveTo>
                  <a:lnTo>
                    <a:pt x="116" y="1117"/>
                  </a:lnTo>
                  <a:lnTo>
                    <a:pt x="116" y="151"/>
                  </a:lnTo>
                  <a:lnTo>
                    <a:pt x="0" y="0"/>
                  </a:lnTo>
                  <a:lnTo>
                    <a:pt x="0" y="966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endParaRPr>
            </a:p>
          </p:txBody>
        </p:sp>
        <p:sp>
          <p:nvSpPr>
            <p:cNvPr id="23" name="Freeform 21"/>
            <p:cNvSpPr/>
            <p:nvPr/>
          </p:nvSpPr>
          <p:spPr bwMode="auto">
            <a:xfrm>
              <a:off x="4033745" y="3876912"/>
              <a:ext cx="810506" cy="272625"/>
            </a:xfrm>
            <a:custGeom>
              <a:avLst/>
              <a:gdLst>
                <a:gd name="T0" fmla="*/ 324 w 440"/>
                <a:gd name="T1" fmla="*/ 0 h 148"/>
                <a:gd name="T2" fmla="*/ 0 w 440"/>
                <a:gd name="T3" fmla="*/ 0 h 148"/>
                <a:gd name="T4" fmla="*/ 116 w 440"/>
                <a:gd name="T5" fmla="*/ 148 h 148"/>
                <a:gd name="T6" fmla="*/ 440 w 440"/>
                <a:gd name="T7" fmla="*/ 148 h 148"/>
                <a:gd name="T8" fmla="*/ 324 w 440"/>
                <a:gd name="T9" fmla="*/ 0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40" h="148">
                  <a:moveTo>
                    <a:pt x="324" y="0"/>
                  </a:moveTo>
                  <a:lnTo>
                    <a:pt x="0" y="0"/>
                  </a:lnTo>
                  <a:lnTo>
                    <a:pt x="116" y="148"/>
                  </a:lnTo>
                  <a:lnTo>
                    <a:pt x="440" y="148"/>
                  </a:lnTo>
                  <a:lnTo>
                    <a:pt x="324" y="0"/>
                  </a:lnTo>
                  <a:close/>
                </a:path>
              </a:pathLst>
            </a:custGeom>
            <a:solidFill>
              <a:schemeClr val="accent3">
                <a:lumMod val="60000"/>
                <a:lumOff val="4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endParaRPr>
            </a:p>
          </p:txBody>
        </p:sp>
        <p:sp>
          <p:nvSpPr>
            <p:cNvPr id="24" name="Freeform 22"/>
            <p:cNvSpPr/>
            <p:nvPr/>
          </p:nvSpPr>
          <p:spPr bwMode="auto">
            <a:xfrm>
              <a:off x="4033745" y="3876912"/>
              <a:ext cx="810506" cy="272625"/>
            </a:xfrm>
            <a:custGeom>
              <a:avLst/>
              <a:gdLst>
                <a:gd name="T0" fmla="*/ 324 w 440"/>
                <a:gd name="T1" fmla="*/ 0 h 148"/>
                <a:gd name="T2" fmla="*/ 0 w 440"/>
                <a:gd name="T3" fmla="*/ 0 h 148"/>
                <a:gd name="T4" fmla="*/ 116 w 440"/>
                <a:gd name="T5" fmla="*/ 148 h 148"/>
                <a:gd name="T6" fmla="*/ 440 w 440"/>
                <a:gd name="T7" fmla="*/ 148 h 148"/>
                <a:gd name="T8" fmla="*/ 324 w 440"/>
                <a:gd name="T9" fmla="*/ 0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40" h="148">
                  <a:moveTo>
                    <a:pt x="324" y="0"/>
                  </a:moveTo>
                  <a:lnTo>
                    <a:pt x="0" y="0"/>
                  </a:lnTo>
                  <a:lnTo>
                    <a:pt x="116" y="148"/>
                  </a:lnTo>
                  <a:lnTo>
                    <a:pt x="440" y="148"/>
                  </a:lnTo>
                  <a:lnTo>
                    <a:pt x="324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endParaRPr>
            </a:p>
          </p:txBody>
        </p:sp>
        <p:sp>
          <p:nvSpPr>
            <p:cNvPr id="25" name="Rectangle 23"/>
            <p:cNvSpPr>
              <a:spLocks noChangeArrowheads="1"/>
            </p:cNvSpPr>
            <p:nvPr/>
          </p:nvSpPr>
          <p:spPr bwMode="auto">
            <a:xfrm>
              <a:off x="5173980" y="3274559"/>
              <a:ext cx="596827" cy="2654407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endParaRPr>
            </a:p>
          </p:txBody>
        </p:sp>
        <p:sp>
          <p:nvSpPr>
            <p:cNvPr id="26" name="Rectangle 24"/>
            <p:cNvSpPr>
              <a:spLocks noChangeArrowheads="1"/>
            </p:cNvSpPr>
            <p:nvPr/>
          </p:nvSpPr>
          <p:spPr bwMode="auto">
            <a:xfrm>
              <a:off x="5173980" y="3274559"/>
              <a:ext cx="596827" cy="265440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endParaRPr>
            </a:p>
          </p:txBody>
        </p:sp>
        <p:sp>
          <p:nvSpPr>
            <p:cNvPr id="27" name="Freeform 25"/>
            <p:cNvSpPr/>
            <p:nvPr/>
          </p:nvSpPr>
          <p:spPr bwMode="auto">
            <a:xfrm>
              <a:off x="4960301" y="2998250"/>
              <a:ext cx="213679" cy="2930715"/>
            </a:xfrm>
            <a:custGeom>
              <a:avLst/>
              <a:gdLst>
                <a:gd name="T0" fmla="*/ 0 w 116"/>
                <a:gd name="T1" fmla="*/ 1440 h 1591"/>
                <a:gd name="T2" fmla="*/ 116 w 116"/>
                <a:gd name="T3" fmla="*/ 1591 h 1591"/>
                <a:gd name="T4" fmla="*/ 116 w 116"/>
                <a:gd name="T5" fmla="*/ 150 h 1591"/>
                <a:gd name="T6" fmla="*/ 0 w 116"/>
                <a:gd name="T7" fmla="*/ 0 h 1591"/>
                <a:gd name="T8" fmla="*/ 0 w 116"/>
                <a:gd name="T9" fmla="*/ 1440 h 15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5" h="1590">
                  <a:moveTo>
                    <a:pt x="0" y="1440"/>
                  </a:moveTo>
                  <a:lnTo>
                    <a:pt x="116" y="1591"/>
                  </a:lnTo>
                  <a:lnTo>
                    <a:pt x="116" y="150"/>
                  </a:lnTo>
                  <a:lnTo>
                    <a:pt x="0" y="0"/>
                  </a:lnTo>
                  <a:lnTo>
                    <a:pt x="0" y="1440"/>
                  </a:ln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endParaRPr>
            </a:p>
          </p:txBody>
        </p:sp>
        <p:sp>
          <p:nvSpPr>
            <p:cNvPr id="28" name="Freeform 26"/>
            <p:cNvSpPr/>
            <p:nvPr/>
          </p:nvSpPr>
          <p:spPr bwMode="auto">
            <a:xfrm>
              <a:off x="4960301" y="2998250"/>
              <a:ext cx="213679" cy="2930715"/>
            </a:xfrm>
            <a:custGeom>
              <a:avLst/>
              <a:gdLst>
                <a:gd name="T0" fmla="*/ 0 w 116"/>
                <a:gd name="T1" fmla="*/ 1440 h 1591"/>
                <a:gd name="T2" fmla="*/ 116 w 116"/>
                <a:gd name="T3" fmla="*/ 1591 h 1591"/>
                <a:gd name="T4" fmla="*/ 116 w 116"/>
                <a:gd name="T5" fmla="*/ 150 h 1591"/>
                <a:gd name="T6" fmla="*/ 0 w 116"/>
                <a:gd name="T7" fmla="*/ 0 h 1591"/>
                <a:gd name="T8" fmla="*/ 0 w 116"/>
                <a:gd name="T9" fmla="*/ 1440 h 15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5" h="1590">
                  <a:moveTo>
                    <a:pt x="0" y="1440"/>
                  </a:moveTo>
                  <a:lnTo>
                    <a:pt x="116" y="1591"/>
                  </a:lnTo>
                  <a:lnTo>
                    <a:pt x="116" y="150"/>
                  </a:lnTo>
                  <a:lnTo>
                    <a:pt x="0" y="0"/>
                  </a:lnTo>
                  <a:lnTo>
                    <a:pt x="0" y="144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endParaRPr>
            </a:p>
          </p:txBody>
        </p:sp>
        <p:sp>
          <p:nvSpPr>
            <p:cNvPr id="29" name="Freeform 27"/>
            <p:cNvSpPr/>
            <p:nvPr/>
          </p:nvSpPr>
          <p:spPr bwMode="auto">
            <a:xfrm>
              <a:off x="4960301" y="3003777"/>
              <a:ext cx="810506" cy="270783"/>
            </a:xfrm>
            <a:custGeom>
              <a:avLst/>
              <a:gdLst>
                <a:gd name="T0" fmla="*/ 324 w 440"/>
                <a:gd name="T1" fmla="*/ 0 h 147"/>
                <a:gd name="T2" fmla="*/ 0 w 440"/>
                <a:gd name="T3" fmla="*/ 0 h 147"/>
                <a:gd name="T4" fmla="*/ 116 w 440"/>
                <a:gd name="T5" fmla="*/ 147 h 147"/>
                <a:gd name="T6" fmla="*/ 440 w 440"/>
                <a:gd name="T7" fmla="*/ 147 h 147"/>
                <a:gd name="T8" fmla="*/ 324 w 440"/>
                <a:gd name="T9" fmla="*/ 0 h 1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40" h="147">
                  <a:moveTo>
                    <a:pt x="324" y="0"/>
                  </a:moveTo>
                  <a:lnTo>
                    <a:pt x="0" y="0"/>
                  </a:lnTo>
                  <a:lnTo>
                    <a:pt x="116" y="147"/>
                  </a:lnTo>
                  <a:lnTo>
                    <a:pt x="440" y="147"/>
                  </a:lnTo>
                  <a:lnTo>
                    <a:pt x="324" y="0"/>
                  </a:lnTo>
                  <a:close/>
                </a:path>
              </a:pathLst>
            </a:custGeom>
            <a:solidFill>
              <a:schemeClr val="accent4">
                <a:lumMod val="60000"/>
                <a:lumOff val="4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endParaRPr>
            </a:p>
          </p:txBody>
        </p:sp>
        <p:sp>
          <p:nvSpPr>
            <p:cNvPr id="30" name="Freeform 28"/>
            <p:cNvSpPr/>
            <p:nvPr/>
          </p:nvSpPr>
          <p:spPr bwMode="auto">
            <a:xfrm>
              <a:off x="4960301" y="3003777"/>
              <a:ext cx="810506" cy="270783"/>
            </a:xfrm>
            <a:custGeom>
              <a:avLst/>
              <a:gdLst>
                <a:gd name="T0" fmla="*/ 324 w 440"/>
                <a:gd name="T1" fmla="*/ 0 h 147"/>
                <a:gd name="T2" fmla="*/ 0 w 440"/>
                <a:gd name="T3" fmla="*/ 0 h 147"/>
                <a:gd name="T4" fmla="*/ 116 w 440"/>
                <a:gd name="T5" fmla="*/ 147 h 147"/>
                <a:gd name="T6" fmla="*/ 440 w 440"/>
                <a:gd name="T7" fmla="*/ 147 h 147"/>
                <a:gd name="T8" fmla="*/ 324 w 440"/>
                <a:gd name="T9" fmla="*/ 0 h 1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40" h="147">
                  <a:moveTo>
                    <a:pt x="324" y="0"/>
                  </a:moveTo>
                  <a:lnTo>
                    <a:pt x="0" y="0"/>
                  </a:lnTo>
                  <a:lnTo>
                    <a:pt x="116" y="147"/>
                  </a:lnTo>
                  <a:lnTo>
                    <a:pt x="440" y="147"/>
                  </a:lnTo>
                  <a:lnTo>
                    <a:pt x="324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endParaRPr>
            </a:p>
          </p:txBody>
        </p:sp>
        <p:sp>
          <p:nvSpPr>
            <p:cNvPr id="31" name="Freeform 29"/>
            <p:cNvSpPr/>
            <p:nvPr/>
          </p:nvSpPr>
          <p:spPr bwMode="auto">
            <a:xfrm>
              <a:off x="1727487" y="2758783"/>
              <a:ext cx="42367" cy="3398598"/>
            </a:xfrm>
            <a:custGeom>
              <a:avLst/>
              <a:gdLst>
                <a:gd name="T0" fmla="*/ 0 w 8"/>
                <a:gd name="T1" fmla="*/ 4 h 638"/>
                <a:gd name="T2" fmla="*/ 0 w 8"/>
                <a:gd name="T3" fmla="*/ 634 h 638"/>
                <a:gd name="T4" fmla="*/ 4 w 8"/>
                <a:gd name="T5" fmla="*/ 638 h 638"/>
                <a:gd name="T6" fmla="*/ 8 w 8"/>
                <a:gd name="T7" fmla="*/ 634 h 638"/>
                <a:gd name="T8" fmla="*/ 8 w 8"/>
                <a:gd name="T9" fmla="*/ 4 h 638"/>
                <a:gd name="T10" fmla="*/ 4 w 8"/>
                <a:gd name="T11" fmla="*/ 0 h 638"/>
                <a:gd name="T12" fmla="*/ 0 w 8"/>
                <a:gd name="T13" fmla="*/ 4 h 6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" h="638">
                  <a:moveTo>
                    <a:pt x="0" y="4"/>
                  </a:moveTo>
                  <a:cubicBezTo>
                    <a:pt x="0" y="634"/>
                    <a:pt x="0" y="634"/>
                    <a:pt x="0" y="634"/>
                  </a:cubicBezTo>
                  <a:cubicBezTo>
                    <a:pt x="0" y="636"/>
                    <a:pt x="2" y="638"/>
                    <a:pt x="4" y="638"/>
                  </a:cubicBezTo>
                  <a:cubicBezTo>
                    <a:pt x="6" y="638"/>
                    <a:pt x="8" y="636"/>
                    <a:pt x="8" y="634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2"/>
                    <a:pt x="6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</a:path>
              </a:pathLst>
            </a:custGeom>
            <a:solidFill>
              <a:srgbClr val="CACAC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endParaRPr>
            </a:p>
          </p:txBody>
        </p:sp>
        <p:sp>
          <p:nvSpPr>
            <p:cNvPr id="32" name="Oval 30"/>
            <p:cNvSpPr>
              <a:spLocks noChangeArrowheads="1"/>
            </p:cNvSpPr>
            <p:nvPr/>
          </p:nvSpPr>
          <p:spPr bwMode="auto">
            <a:xfrm>
              <a:off x="1600385" y="5411347"/>
              <a:ext cx="298414" cy="298414"/>
            </a:xfrm>
            <a:prstGeom prst="ellipse">
              <a:avLst/>
            </a:prstGeom>
            <a:solidFill>
              <a:srgbClr val="CACAC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algn="ctr"/>
              <a:endParaRPr lang="en-US" sz="1050">
                <a:solidFill>
                  <a:schemeClr val="bg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endParaRPr>
            </a:p>
          </p:txBody>
        </p:sp>
        <p:sp>
          <p:nvSpPr>
            <p:cNvPr id="33" name="Oval 31"/>
            <p:cNvSpPr>
              <a:spLocks noChangeArrowheads="1"/>
            </p:cNvSpPr>
            <p:nvPr/>
          </p:nvSpPr>
          <p:spPr bwMode="auto">
            <a:xfrm>
              <a:off x="1600385" y="4952675"/>
              <a:ext cx="298414" cy="298414"/>
            </a:xfrm>
            <a:prstGeom prst="ellipse">
              <a:avLst/>
            </a:prstGeom>
            <a:solidFill>
              <a:srgbClr val="CACAC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endParaRPr>
            </a:p>
          </p:txBody>
        </p:sp>
        <p:sp>
          <p:nvSpPr>
            <p:cNvPr id="34" name="Oval 32"/>
            <p:cNvSpPr>
              <a:spLocks noChangeArrowheads="1"/>
            </p:cNvSpPr>
            <p:nvPr/>
          </p:nvSpPr>
          <p:spPr bwMode="auto">
            <a:xfrm>
              <a:off x="1600385" y="4495844"/>
              <a:ext cx="298414" cy="298414"/>
            </a:xfrm>
            <a:prstGeom prst="ellipse">
              <a:avLst/>
            </a:prstGeom>
            <a:solidFill>
              <a:srgbClr val="CACAC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endParaRPr>
            </a:p>
          </p:txBody>
        </p:sp>
        <p:sp>
          <p:nvSpPr>
            <p:cNvPr id="35" name="Oval 33"/>
            <p:cNvSpPr>
              <a:spLocks noChangeArrowheads="1"/>
            </p:cNvSpPr>
            <p:nvPr/>
          </p:nvSpPr>
          <p:spPr bwMode="auto">
            <a:xfrm>
              <a:off x="1600385" y="4037171"/>
              <a:ext cx="298414" cy="298414"/>
            </a:xfrm>
            <a:prstGeom prst="ellipse">
              <a:avLst/>
            </a:prstGeom>
            <a:solidFill>
              <a:srgbClr val="CACAC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endParaRPr>
            </a:p>
          </p:txBody>
        </p:sp>
        <p:sp>
          <p:nvSpPr>
            <p:cNvPr id="36" name="Oval 34"/>
            <p:cNvSpPr>
              <a:spLocks noChangeArrowheads="1"/>
            </p:cNvSpPr>
            <p:nvPr/>
          </p:nvSpPr>
          <p:spPr bwMode="auto">
            <a:xfrm>
              <a:off x="1589333" y="3569289"/>
              <a:ext cx="318676" cy="318676"/>
            </a:xfrm>
            <a:prstGeom prst="ellipse">
              <a:avLst/>
            </a:prstGeom>
            <a:solidFill>
              <a:srgbClr val="CACAC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endParaRPr>
            </a:p>
          </p:txBody>
        </p:sp>
        <p:sp>
          <p:nvSpPr>
            <p:cNvPr id="37" name="Oval 35"/>
            <p:cNvSpPr>
              <a:spLocks noChangeArrowheads="1"/>
            </p:cNvSpPr>
            <p:nvPr/>
          </p:nvSpPr>
          <p:spPr bwMode="auto">
            <a:xfrm>
              <a:off x="1600385" y="3121668"/>
              <a:ext cx="298414" cy="298414"/>
            </a:xfrm>
            <a:prstGeom prst="ellipse">
              <a:avLst/>
            </a:prstGeom>
            <a:solidFill>
              <a:srgbClr val="CACAC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endParaRPr>
            </a:p>
          </p:txBody>
        </p:sp>
        <p:sp>
          <p:nvSpPr>
            <p:cNvPr id="38" name="Oval 36"/>
            <p:cNvSpPr>
              <a:spLocks noChangeArrowheads="1"/>
            </p:cNvSpPr>
            <p:nvPr/>
          </p:nvSpPr>
          <p:spPr bwMode="auto">
            <a:xfrm>
              <a:off x="1600385" y="2662996"/>
              <a:ext cx="298414" cy="298414"/>
            </a:xfrm>
            <a:prstGeom prst="ellipse">
              <a:avLst/>
            </a:prstGeom>
            <a:solidFill>
              <a:srgbClr val="CACAC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endParaRPr>
            </a:p>
          </p:txBody>
        </p:sp>
        <p:sp>
          <p:nvSpPr>
            <p:cNvPr id="39" name="Rectangle 37"/>
            <p:cNvSpPr>
              <a:spLocks noChangeArrowheads="1"/>
            </p:cNvSpPr>
            <p:nvPr/>
          </p:nvSpPr>
          <p:spPr bwMode="auto">
            <a:xfrm>
              <a:off x="2383260" y="6087383"/>
              <a:ext cx="596827" cy="64472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endParaRPr>
            </a:p>
          </p:txBody>
        </p:sp>
        <p:sp>
          <p:nvSpPr>
            <p:cNvPr id="40" name="Rectangle 38"/>
            <p:cNvSpPr>
              <a:spLocks noChangeArrowheads="1"/>
            </p:cNvSpPr>
            <p:nvPr/>
          </p:nvSpPr>
          <p:spPr bwMode="auto">
            <a:xfrm>
              <a:off x="1749592" y="6087383"/>
              <a:ext cx="633668" cy="64472"/>
            </a:xfrm>
            <a:prstGeom prst="rect">
              <a:avLst/>
            </a:prstGeom>
            <a:solidFill>
              <a:srgbClr val="CACAC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endParaRPr>
            </a:p>
          </p:txBody>
        </p:sp>
        <p:sp>
          <p:nvSpPr>
            <p:cNvPr id="41" name="Rectangle 39"/>
            <p:cNvSpPr>
              <a:spLocks noChangeArrowheads="1"/>
            </p:cNvSpPr>
            <p:nvPr/>
          </p:nvSpPr>
          <p:spPr bwMode="auto">
            <a:xfrm>
              <a:off x="2980088" y="6087383"/>
              <a:ext cx="335255" cy="64472"/>
            </a:xfrm>
            <a:prstGeom prst="rect">
              <a:avLst/>
            </a:prstGeom>
            <a:solidFill>
              <a:srgbClr val="CACAC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endParaRPr>
            </a:p>
          </p:txBody>
        </p:sp>
        <p:sp>
          <p:nvSpPr>
            <p:cNvPr id="42" name="Rectangle 40"/>
            <p:cNvSpPr>
              <a:spLocks noChangeArrowheads="1"/>
            </p:cNvSpPr>
            <p:nvPr/>
          </p:nvSpPr>
          <p:spPr bwMode="auto">
            <a:xfrm>
              <a:off x="3315342" y="6087383"/>
              <a:ext cx="596827" cy="64472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endParaRPr>
            </a:p>
          </p:txBody>
        </p:sp>
        <p:sp>
          <p:nvSpPr>
            <p:cNvPr id="43" name="Rectangle 41"/>
            <p:cNvSpPr>
              <a:spLocks noChangeArrowheads="1"/>
            </p:cNvSpPr>
            <p:nvPr/>
          </p:nvSpPr>
          <p:spPr bwMode="auto">
            <a:xfrm>
              <a:off x="3912169" y="6087383"/>
              <a:ext cx="335255" cy="64472"/>
            </a:xfrm>
            <a:prstGeom prst="rect">
              <a:avLst/>
            </a:prstGeom>
            <a:solidFill>
              <a:srgbClr val="CACAC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endParaRPr>
            </a:p>
          </p:txBody>
        </p:sp>
        <p:sp>
          <p:nvSpPr>
            <p:cNvPr id="44" name="Rectangle 42"/>
            <p:cNvSpPr>
              <a:spLocks noChangeArrowheads="1"/>
            </p:cNvSpPr>
            <p:nvPr/>
          </p:nvSpPr>
          <p:spPr bwMode="auto">
            <a:xfrm>
              <a:off x="4247424" y="6087383"/>
              <a:ext cx="596827" cy="64472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endParaRPr>
            </a:p>
          </p:txBody>
        </p:sp>
        <p:sp>
          <p:nvSpPr>
            <p:cNvPr id="45" name="Rectangle 43"/>
            <p:cNvSpPr>
              <a:spLocks noChangeArrowheads="1"/>
            </p:cNvSpPr>
            <p:nvPr/>
          </p:nvSpPr>
          <p:spPr bwMode="auto">
            <a:xfrm>
              <a:off x="4844251" y="6087383"/>
              <a:ext cx="313150" cy="64472"/>
            </a:xfrm>
            <a:prstGeom prst="rect">
              <a:avLst/>
            </a:prstGeom>
            <a:solidFill>
              <a:srgbClr val="CACAC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endParaRPr>
            </a:p>
          </p:txBody>
        </p:sp>
        <p:sp>
          <p:nvSpPr>
            <p:cNvPr id="46" name="Rectangle 44"/>
            <p:cNvSpPr>
              <a:spLocks noChangeArrowheads="1"/>
            </p:cNvSpPr>
            <p:nvPr/>
          </p:nvSpPr>
          <p:spPr bwMode="auto">
            <a:xfrm>
              <a:off x="5157401" y="6087383"/>
              <a:ext cx="613406" cy="64472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endParaRPr>
            </a:p>
          </p:txBody>
        </p:sp>
        <p:sp>
          <p:nvSpPr>
            <p:cNvPr id="48" name="Freeform 46"/>
            <p:cNvSpPr/>
            <p:nvPr/>
          </p:nvSpPr>
          <p:spPr bwMode="auto">
            <a:xfrm>
              <a:off x="4965827" y="3003777"/>
              <a:ext cx="804980" cy="270783"/>
            </a:xfrm>
            <a:custGeom>
              <a:avLst/>
              <a:gdLst>
                <a:gd name="T0" fmla="*/ 321 w 437"/>
                <a:gd name="T1" fmla="*/ 0 h 147"/>
                <a:gd name="T2" fmla="*/ 0 w 437"/>
                <a:gd name="T3" fmla="*/ 0 h 147"/>
                <a:gd name="T4" fmla="*/ 113 w 437"/>
                <a:gd name="T5" fmla="*/ 147 h 147"/>
                <a:gd name="T6" fmla="*/ 437 w 437"/>
                <a:gd name="T7" fmla="*/ 147 h 147"/>
                <a:gd name="T8" fmla="*/ 321 w 437"/>
                <a:gd name="T9" fmla="*/ 0 h 1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37" h="147">
                  <a:moveTo>
                    <a:pt x="321" y="0"/>
                  </a:moveTo>
                  <a:lnTo>
                    <a:pt x="0" y="0"/>
                  </a:lnTo>
                  <a:lnTo>
                    <a:pt x="113" y="147"/>
                  </a:lnTo>
                  <a:lnTo>
                    <a:pt x="437" y="147"/>
                  </a:lnTo>
                  <a:lnTo>
                    <a:pt x="321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endParaRPr>
            </a:p>
          </p:txBody>
        </p:sp>
        <p:sp>
          <p:nvSpPr>
            <p:cNvPr id="49" name="Freeform 47"/>
            <p:cNvSpPr/>
            <p:nvPr/>
          </p:nvSpPr>
          <p:spPr bwMode="auto">
            <a:xfrm>
              <a:off x="4960301" y="2998250"/>
              <a:ext cx="5526" cy="5526"/>
            </a:xfrm>
            <a:custGeom>
              <a:avLst/>
              <a:gdLst>
                <a:gd name="T0" fmla="*/ 0 w 3"/>
                <a:gd name="T1" fmla="*/ 0 h 3"/>
                <a:gd name="T2" fmla="*/ 0 w 3"/>
                <a:gd name="T3" fmla="*/ 3 h 3"/>
                <a:gd name="T4" fmla="*/ 3 w 3"/>
                <a:gd name="T5" fmla="*/ 3 h 3"/>
                <a:gd name="T6" fmla="*/ 0 w 3"/>
                <a:gd name="T7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3">
                  <a:moveTo>
                    <a:pt x="0" y="0"/>
                  </a:moveTo>
                  <a:lnTo>
                    <a:pt x="0" y="3"/>
                  </a:lnTo>
                  <a:lnTo>
                    <a:pt x="3" y="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1F46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endParaRPr>
            </a:p>
          </p:txBody>
        </p:sp>
        <p:sp>
          <p:nvSpPr>
            <p:cNvPr id="50" name="Freeform 48"/>
            <p:cNvSpPr/>
            <p:nvPr/>
          </p:nvSpPr>
          <p:spPr bwMode="auto">
            <a:xfrm>
              <a:off x="4960301" y="2998250"/>
              <a:ext cx="5526" cy="5526"/>
            </a:xfrm>
            <a:custGeom>
              <a:avLst/>
              <a:gdLst>
                <a:gd name="T0" fmla="*/ 0 w 3"/>
                <a:gd name="T1" fmla="*/ 0 h 3"/>
                <a:gd name="T2" fmla="*/ 0 w 3"/>
                <a:gd name="T3" fmla="*/ 3 h 3"/>
                <a:gd name="T4" fmla="*/ 3 w 3"/>
                <a:gd name="T5" fmla="*/ 3 h 3"/>
                <a:gd name="T6" fmla="*/ 0 w 3"/>
                <a:gd name="T7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3">
                  <a:moveTo>
                    <a:pt x="0" y="0"/>
                  </a:moveTo>
                  <a:lnTo>
                    <a:pt x="0" y="3"/>
                  </a:lnTo>
                  <a:lnTo>
                    <a:pt x="3" y="3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endParaRPr>
            </a:p>
          </p:txBody>
        </p:sp>
        <p:sp>
          <p:nvSpPr>
            <p:cNvPr id="52" name="Freeform 50"/>
            <p:cNvSpPr/>
            <p:nvPr/>
          </p:nvSpPr>
          <p:spPr bwMode="auto">
            <a:xfrm>
              <a:off x="4960301" y="3003777"/>
              <a:ext cx="213679" cy="2925189"/>
            </a:xfrm>
            <a:custGeom>
              <a:avLst/>
              <a:gdLst>
                <a:gd name="T0" fmla="*/ 0 w 116"/>
                <a:gd name="T1" fmla="*/ 0 h 1588"/>
                <a:gd name="T2" fmla="*/ 0 w 116"/>
                <a:gd name="T3" fmla="*/ 1437 h 1588"/>
                <a:gd name="T4" fmla="*/ 116 w 116"/>
                <a:gd name="T5" fmla="*/ 1588 h 1588"/>
                <a:gd name="T6" fmla="*/ 116 w 116"/>
                <a:gd name="T7" fmla="*/ 147 h 1588"/>
                <a:gd name="T8" fmla="*/ 0 w 116"/>
                <a:gd name="T9" fmla="*/ 0 h 15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5" h="1588">
                  <a:moveTo>
                    <a:pt x="0" y="0"/>
                  </a:moveTo>
                  <a:lnTo>
                    <a:pt x="0" y="1437"/>
                  </a:lnTo>
                  <a:lnTo>
                    <a:pt x="116" y="1588"/>
                  </a:lnTo>
                  <a:lnTo>
                    <a:pt x="116" y="147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endParaRPr>
            </a:p>
          </p:txBody>
        </p:sp>
        <p:sp>
          <p:nvSpPr>
            <p:cNvPr id="53" name="Freeform 51"/>
            <p:cNvSpPr/>
            <p:nvPr/>
          </p:nvSpPr>
          <p:spPr bwMode="auto">
            <a:xfrm>
              <a:off x="4960301" y="3003777"/>
              <a:ext cx="213679" cy="270783"/>
            </a:xfrm>
            <a:custGeom>
              <a:avLst/>
              <a:gdLst>
                <a:gd name="T0" fmla="*/ 3 w 116"/>
                <a:gd name="T1" fmla="*/ 0 h 147"/>
                <a:gd name="T2" fmla="*/ 3 w 116"/>
                <a:gd name="T3" fmla="*/ 0 h 147"/>
                <a:gd name="T4" fmla="*/ 0 w 116"/>
                <a:gd name="T5" fmla="*/ 0 h 147"/>
                <a:gd name="T6" fmla="*/ 116 w 116"/>
                <a:gd name="T7" fmla="*/ 147 h 147"/>
                <a:gd name="T8" fmla="*/ 3 w 116"/>
                <a:gd name="T9" fmla="*/ 0 h 1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5" h="147">
                  <a:moveTo>
                    <a:pt x="3" y="0"/>
                  </a:moveTo>
                  <a:lnTo>
                    <a:pt x="3" y="0"/>
                  </a:lnTo>
                  <a:lnTo>
                    <a:pt x="0" y="0"/>
                  </a:lnTo>
                  <a:lnTo>
                    <a:pt x="116" y="147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2E6A7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endParaRPr>
            </a:p>
          </p:txBody>
        </p:sp>
        <p:sp>
          <p:nvSpPr>
            <p:cNvPr id="54" name="Freeform 52"/>
            <p:cNvSpPr/>
            <p:nvPr/>
          </p:nvSpPr>
          <p:spPr bwMode="auto">
            <a:xfrm>
              <a:off x="4960301" y="3003777"/>
              <a:ext cx="213679" cy="270783"/>
            </a:xfrm>
            <a:custGeom>
              <a:avLst/>
              <a:gdLst>
                <a:gd name="T0" fmla="*/ 3 w 116"/>
                <a:gd name="T1" fmla="*/ 0 h 147"/>
                <a:gd name="T2" fmla="*/ 3 w 116"/>
                <a:gd name="T3" fmla="*/ 0 h 147"/>
                <a:gd name="T4" fmla="*/ 0 w 116"/>
                <a:gd name="T5" fmla="*/ 0 h 147"/>
                <a:gd name="T6" fmla="*/ 116 w 116"/>
                <a:gd name="T7" fmla="*/ 147 h 147"/>
                <a:gd name="T8" fmla="*/ 3 w 116"/>
                <a:gd name="T9" fmla="*/ 0 h 1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5" h="147">
                  <a:moveTo>
                    <a:pt x="3" y="0"/>
                  </a:moveTo>
                  <a:lnTo>
                    <a:pt x="3" y="0"/>
                  </a:lnTo>
                  <a:lnTo>
                    <a:pt x="0" y="0"/>
                  </a:lnTo>
                  <a:lnTo>
                    <a:pt x="116" y="147"/>
                  </a:lnTo>
                  <a:lnTo>
                    <a:pt x="3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endParaRPr>
            </a:p>
          </p:txBody>
        </p:sp>
        <p:sp>
          <p:nvSpPr>
            <p:cNvPr id="56" name="Freeform 54"/>
            <p:cNvSpPr>
              <a:spLocks noEditPoints="1"/>
            </p:cNvSpPr>
            <p:nvPr/>
          </p:nvSpPr>
          <p:spPr bwMode="auto">
            <a:xfrm>
              <a:off x="4033745" y="3871386"/>
              <a:ext cx="213679" cy="2057580"/>
            </a:xfrm>
            <a:custGeom>
              <a:avLst/>
              <a:gdLst>
                <a:gd name="T0" fmla="*/ 0 w 116"/>
                <a:gd name="T1" fmla="*/ 3 h 1117"/>
                <a:gd name="T2" fmla="*/ 0 w 116"/>
                <a:gd name="T3" fmla="*/ 966 h 1117"/>
                <a:gd name="T4" fmla="*/ 116 w 116"/>
                <a:gd name="T5" fmla="*/ 1117 h 1117"/>
                <a:gd name="T6" fmla="*/ 116 w 116"/>
                <a:gd name="T7" fmla="*/ 151 h 1117"/>
                <a:gd name="T8" fmla="*/ 0 w 116"/>
                <a:gd name="T9" fmla="*/ 3 h 1117"/>
                <a:gd name="T10" fmla="*/ 0 w 116"/>
                <a:gd name="T11" fmla="*/ 0 h 1117"/>
                <a:gd name="T12" fmla="*/ 0 w 116"/>
                <a:gd name="T13" fmla="*/ 3 h 1117"/>
                <a:gd name="T14" fmla="*/ 0 w 116"/>
                <a:gd name="T15" fmla="*/ 3 h 1117"/>
                <a:gd name="T16" fmla="*/ 0 w 116"/>
                <a:gd name="T17" fmla="*/ 0 h 1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15" h="1117">
                  <a:moveTo>
                    <a:pt x="0" y="3"/>
                  </a:moveTo>
                  <a:lnTo>
                    <a:pt x="0" y="966"/>
                  </a:lnTo>
                  <a:lnTo>
                    <a:pt x="116" y="1117"/>
                  </a:lnTo>
                  <a:lnTo>
                    <a:pt x="116" y="151"/>
                  </a:lnTo>
                  <a:lnTo>
                    <a:pt x="0" y="3"/>
                  </a:lnTo>
                  <a:moveTo>
                    <a:pt x="0" y="0"/>
                  </a:moveTo>
                  <a:lnTo>
                    <a:pt x="0" y="3"/>
                  </a:lnTo>
                  <a:lnTo>
                    <a:pt x="0" y="3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endParaRPr>
            </a:p>
          </p:txBody>
        </p:sp>
        <p:sp>
          <p:nvSpPr>
            <p:cNvPr id="58" name="Freeform 56"/>
            <p:cNvSpPr/>
            <p:nvPr/>
          </p:nvSpPr>
          <p:spPr bwMode="auto">
            <a:xfrm>
              <a:off x="4033745" y="3876912"/>
              <a:ext cx="810506" cy="272625"/>
            </a:xfrm>
            <a:custGeom>
              <a:avLst/>
              <a:gdLst>
                <a:gd name="T0" fmla="*/ 324 w 440"/>
                <a:gd name="T1" fmla="*/ 0 h 148"/>
                <a:gd name="T2" fmla="*/ 0 w 440"/>
                <a:gd name="T3" fmla="*/ 0 h 148"/>
                <a:gd name="T4" fmla="*/ 116 w 440"/>
                <a:gd name="T5" fmla="*/ 148 h 148"/>
                <a:gd name="T6" fmla="*/ 440 w 440"/>
                <a:gd name="T7" fmla="*/ 148 h 148"/>
                <a:gd name="T8" fmla="*/ 324 w 440"/>
                <a:gd name="T9" fmla="*/ 0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40" h="148">
                  <a:moveTo>
                    <a:pt x="324" y="0"/>
                  </a:moveTo>
                  <a:lnTo>
                    <a:pt x="0" y="0"/>
                  </a:lnTo>
                  <a:lnTo>
                    <a:pt x="116" y="148"/>
                  </a:lnTo>
                  <a:lnTo>
                    <a:pt x="440" y="148"/>
                  </a:lnTo>
                  <a:lnTo>
                    <a:pt x="324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endParaRPr>
            </a:p>
          </p:txBody>
        </p:sp>
        <p:sp>
          <p:nvSpPr>
            <p:cNvPr id="59" name="Freeform 57"/>
            <p:cNvSpPr/>
            <p:nvPr/>
          </p:nvSpPr>
          <p:spPr bwMode="auto">
            <a:xfrm>
              <a:off x="4033745" y="3876912"/>
              <a:ext cx="213679" cy="272625"/>
            </a:xfrm>
            <a:custGeom>
              <a:avLst/>
              <a:gdLst>
                <a:gd name="T0" fmla="*/ 0 w 116"/>
                <a:gd name="T1" fmla="*/ 0 h 148"/>
                <a:gd name="T2" fmla="*/ 0 w 116"/>
                <a:gd name="T3" fmla="*/ 0 h 148"/>
                <a:gd name="T4" fmla="*/ 0 w 116"/>
                <a:gd name="T5" fmla="*/ 0 h 148"/>
                <a:gd name="T6" fmla="*/ 116 w 116"/>
                <a:gd name="T7" fmla="*/ 148 h 148"/>
                <a:gd name="T8" fmla="*/ 0 w 116"/>
                <a:gd name="T9" fmla="*/ 0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5" h="148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116" y="14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C20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endParaRPr>
            </a:p>
          </p:txBody>
        </p:sp>
        <p:sp>
          <p:nvSpPr>
            <p:cNvPr id="60" name="Freeform 58"/>
            <p:cNvSpPr/>
            <p:nvPr/>
          </p:nvSpPr>
          <p:spPr bwMode="auto">
            <a:xfrm>
              <a:off x="4033745" y="3876912"/>
              <a:ext cx="213679" cy="272625"/>
            </a:xfrm>
            <a:custGeom>
              <a:avLst/>
              <a:gdLst>
                <a:gd name="T0" fmla="*/ 0 w 116"/>
                <a:gd name="T1" fmla="*/ 0 h 148"/>
                <a:gd name="T2" fmla="*/ 0 w 116"/>
                <a:gd name="T3" fmla="*/ 0 h 148"/>
                <a:gd name="T4" fmla="*/ 0 w 116"/>
                <a:gd name="T5" fmla="*/ 0 h 148"/>
                <a:gd name="T6" fmla="*/ 116 w 116"/>
                <a:gd name="T7" fmla="*/ 148 h 148"/>
                <a:gd name="T8" fmla="*/ 0 w 116"/>
                <a:gd name="T9" fmla="*/ 0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5" h="148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116" y="148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endParaRPr>
            </a:p>
          </p:txBody>
        </p:sp>
        <p:sp>
          <p:nvSpPr>
            <p:cNvPr id="62" name="Freeform 60"/>
            <p:cNvSpPr>
              <a:spLocks noEditPoints="1"/>
            </p:cNvSpPr>
            <p:nvPr/>
          </p:nvSpPr>
          <p:spPr bwMode="auto">
            <a:xfrm>
              <a:off x="2169582" y="4873466"/>
              <a:ext cx="213679" cy="1055500"/>
            </a:xfrm>
            <a:custGeom>
              <a:avLst/>
              <a:gdLst>
                <a:gd name="T0" fmla="*/ 0 w 116"/>
                <a:gd name="T1" fmla="*/ 3 h 573"/>
                <a:gd name="T2" fmla="*/ 0 w 116"/>
                <a:gd name="T3" fmla="*/ 422 h 573"/>
                <a:gd name="T4" fmla="*/ 116 w 116"/>
                <a:gd name="T5" fmla="*/ 573 h 573"/>
                <a:gd name="T6" fmla="*/ 116 w 116"/>
                <a:gd name="T7" fmla="*/ 150 h 573"/>
                <a:gd name="T8" fmla="*/ 0 w 116"/>
                <a:gd name="T9" fmla="*/ 3 h 573"/>
                <a:gd name="T10" fmla="*/ 0 w 116"/>
                <a:gd name="T11" fmla="*/ 0 h 573"/>
                <a:gd name="T12" fmla="*/ 0 w 116"/>
                <a:gd name="T13" fmla="*/ 3 h 573"/>
                <a:gd name="T14" fmla="*/ 3 w 116"/>
                <a:gd name="T15" fmla="*/ 3 h 573"/>
                <a:gd name="T16" fmla="*/ 0 w 116"/>
                <a:gd name="T17" fmla="*/ 0 h 5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15" h="573">
                  <a:moveTo>
                    <a:pt x="0" y="3"/>
                  </a:moveTo>
                  <a:lnTo>
                    <a:pt x="0" y="422"/>
                  </a:lnTo>
                  <a:lnTo>
                    <a:pt x="116" y="573"/>
                  </a:lnTo>
                  <a:lnTo>
                    <a:pt x="116" y="150"/>
                  </a:lnTo>
                  <a:lnTo>
                    <a:pt x="0" y="3"/>
                  </a:lnTo>
                  <a:moveTo>
                    <a:pt x="0" y="0"/>
                  </a:moveTo>
                  <a:lnTo>
                    <a:pt x="0" y="3"/>
                  </a:lnTo>
                  <a:lnTo>
                    <a:pt x="3" y="3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endParaRPr>
            </a:p>
          </p:txBody>
        </p:sp>
        <p:sp>
          <p:nvSpPr>
            <p:cNvPr id="64" name="Freeform 62"/>
            <p:cNvSpPr/>
            <p:nvPr/>
          </p:nvSpPr>
          <p:spPr bwMode="auto">
            <a:xfrm>
              <a:off x="2175108" y="4878992"/>
              <a:ext cx="804980" cy="270783"/>
            </a:xfrm>
            <a:custGeom>
              <a:avLst/>
              <a:gdLst>
                <a:gd name="T0" fmla="*/ 321 w 437"/>
                <a:gd name="T1" fmla="*/ 0 h 147"/>
                <a:gd name="T2" fmla="*/ 0 w 437"/>
                <a:gd name="T3" fmla="*/ 0 h 147"/>
                <a:gd name="T4" fmla="*/ 113 w 437"/>
                <a:gd name="T5" fmla="*/ 147 h 147"/>
                <a:gd name="T6" fmla="*/ 437 w 437"/>
                <a:gd name="T7" fmla="*/ 147 h 147"/>
                <a:gd name="T8" fmla="*/ 321 w 437"/>
                <a:gd name="T9" fmla="*/ 0 h 1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37" h="147">
                  <a:moveTo>
                    <a:pt x="321" y="0"/>
                  </a:moveTo>
                  <a:lnTo>
                    <a:pt x="0" y="0"/>
                  </a:lnTo>
                  <a:lnTo>
                    <a:pt x="113" y="147"/>
                  </a:lnTo>
                  <a:lnTo>
                    <a:pt x="437" y="147"/>
                  </a:lnTo>
                  <a:lnTo>
                    <a:pt x="321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endParaRPr>
            </a:p>
          </p:txBody>
        </p:sp>
        <p:sp>
          <p:nvSpPr>
            <p:cNvPr id="66" name="Freeform 64"/>
            <p:cNvSpPr/>
            <p:nvPr/>
          </p:nvSpPr>
          <p:spPr bwMode="auto">
            <a:xfrm>
              <a:off x="2169582" y="4878992"/>
              <a:ext cx="213679" cy="270783"/>
            </a:xfrm>
            <a:custGeom>
              <a:avLst/>
              <a:gdLst>
                <a:gd name="T0" fmla="*/ 3 w 116"/>
                <a:gd name="T1" fmla="*/ 0 h 147"/>
                <a:gd name="T2" fmla="*/ 3 w 116"/>
                <a:gd name="T3" fmla="*/ 0 h 147"/>
                <a:gd name="T4" fmla="*/ 0 w 116"/>
                <a:gd name="T5" fmla="*/ 0 h 147"/>
                <a:gd name="T6" fmla="*/ 116 w 116"/>
                <a:gd name="T7" fmla="*/ 147 h 147"/>
                <a:gd name="T8" fmla="*/ 3 w 116"/>
                <a:gd name="T9" fmla="*/ 0 h 1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5" h="147">
                  <a:moveTo>
                    <a:pt x="3" y="0"/>
                  </a:moveTo>
                  <a:lnTo>
                    <a:pt x="3" y="0"/>
                  </a:lnTo>
                  <a:lnTo>
                    <a:pt x="0" y="0"/>
                  </a:lnTo>
                  <a:lnTo>
                    <a:pt x="116" y="147"/>
                  </a:lnTo>
                  <a:lnTo>
                    <a:pt x="3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endParaRPr>
            </a:p>
          </p:txBody>
        </p:sp>
        <p:sp>
          <p:nvSpPr>
            <p:cNvPr id="68" name="Freeform 66"/>
            <p:cNvSpPr>
              <a:spLocks noEditPoints="1"/>
            </p:cNvSpPr>
            <p:nvPr/>
          </p:nvSpPr>
          <p:spPr bwMode="auto">
            <a:xfrm>
              <a:off x="3101663" y="4425846"/>
              <a:ext cx="213679" cy="1503120"/>
            </a:xfrm>
            <a:custGeom>
              <a:avLst/>
              <a:gdLst>
                <a:gd name="T0" fmla="*/ 0 w 116"/>
                <a:gd name="T1" fmla="*/ 3 h 816"/>
                <a:gd name="T2" fmla="*/ 0 w 116"/>
                <a:gd name="T3" fmla="*/ 665 h 816"/>
                <a:gd name="T4" fmla="*/ 116 w 116"/>
                <a:gd name="T5" fmla="*/ 816 h 816"/>
                <a:gd name="T6" fmla="*/ 116 w 116"/>
                <a:gd name="T7" fmla="*/ 150 h 816"/>
                <a:gd name="T8" fmla="*/ 0 w 116"/>
                <a:gd name="T9" fmla="*/ 3 h 816"/>
                <a:gd name="T10" fmla="*/ 0 w 116"/>
                <a:gd name="T11" fmla="*/ 0 h 816"/>
                <a:gd name="T12" fmla="*/ 0 w 116"/>
                <a:gd name="T13" fmla="*/ 3 h 816"/>
                <a:gd name="T14" fmla="*/ 0 w 116"/>
                <a:gd name="T15" fmla="*/ 3 h 816"/>
                <a:gd name="T16" fmla="*/ 0 w 116"/>
                <a:gd name="T17" fmla="*/ 0 h 8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15" h="816">
                  <a:moveTo>
                    <a:pt x="0" y="3"/>
                  </a:moveTo>
                  <a:lnTo>
                    <a:pt x="0" y="665"/>
                  </a:lnTo>
                  <a:lnTo>
                    <a:pt x="116" y="816"/>
                  </a:lnTo>
                  <a:lnTo>
                    <a:pt x="116" y="150"/>
                  </a:lnTo>
                  <a:lnTo>
                    <a:pt x="0" y="3"/>
                  </a:lnTo>
                  <a:moveTo>
                    <a:pt x="0" y="0"/>
                  </a:moveTo>
                  <a:lnTo>
                    <a:pt x="0" y="3"/>
                  </a:lnTo>
                  <a:lnTo>
                    <a:pt x="0" y="3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endParaRPr>
            </a:p>
          </p:txBody>
        </p:sp>
        <p:sp>
          <p:nvSpPr>
            <p:cNvPr id="70" name="Freeform 68"/>
            <p:cNvSpPr/>
            <p:nvPr/>
          </p:nvSpPr>
          <p:spPr bwMode="auto">
            <a:xfrm>
              <a:off x="3101663" y="4431372"/>
              <a:ext cx="810506" cy="270783"/>
            </a:xfrm>
            <a:custGeom>
              <a:avLst/>
              <a:gdLst>
                <a:gd name="T0" fmla="*/ 324 w 440"/>
                <a:gd name="T1" fmla="*/ 0 h 147"/>
                <a:gd name="T2" fmla="*/ 0 w 440"/>
                <a:gd name="T3" fmla="*/ 0 h 147"/>
                <a:gd name="T4" fmla="*/ 116 w 440"/>
                <a:gd name="T5" fmla="*/ 147 h 147"/>
                <a:gd name="T6" fmla="*/ 440 w 440"/>
                <a:gd name="T7" fmla="*/ 147 h 147"/>
                <a:gd name="T8" fmla="*/ 324 w 440"/>
                <a:gd name="T9" fmla="*/ 0 h 1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40" h="147">
                  <a:moveTo>
                    <a:pt x="324" y="0"/>
                  </a:moveTo>
                  <a:lnTo>
                    <a:pt x="0" y="0"/>
                  </a:lnTo>
                  <a:lnTo>
                    <a:pt x="116" y="147"/>
                  </a:lnTo>
                  <a:lnTo>
                    <a:pt x="440" y="147"/>
                  </a:lnTo>
                  <a:lnTo>
                    <a:pt x="324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endParaRPr>
            </a:p>
          </p:txBody>
        </p:sp>
        <p:sp>
          <p:nvSpPr>
            <p:cNvPr id="71" name="Freeform 69"/>
            <p:cNvSpPr/>
            <p:nvPr/>
          </p:nvSpPr>
          <p:spPr bwMode="auto">
            <a:xfrm>
              <a:off x="3101663" y="4431372"/>
              <a:ext cx="213679" cy="270783"/>
            </a:xfrm>
            <a:custGeom>
              <a:avLst/>
              <a:gdLst>
                <a:gd name="T0" fmla="*/ 0 w 116"/>
                <a:gd name="T1" fmla="*/ 0 h 147"/>
                <a:gd name="T2" fmla="*/ 0 w 116"/>
                <a:gd name="T3" fmla="*/ 0 h 147"/>
                <a:gd name="T4" fmla="*/ 0 w 116"/>
                <a:gd name="T5" fmla="*/ 0 h 147"/>
                <a:gd name="T6" fmla="*/ 116 w 116"/>
                <a:gd name="T7" fmla="*/ 147 h 147"/>
                <a:gd name="T8" fmla="*/ 0 w 116"/>
                <a:gd name="T9" fmla="*/ 0 h 1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5" h="147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116" y="14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2AD4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endParaRPr>
            </a:p>
          </p:txBody>
        </p:sp>
        <p:sp>
          <p:nvSpPr>
            <p:cNvPr id="72" name="Freeform 70"/>
            <p:cNvSpPr/>
            <p:nvPr/>
          </p:nvSpPr>
          <p:spPr bwMode="auto">
            <a:xfrm>
              <a:off x="3101663" y="4431372"/>
              <a:ext cx="213679" cy="270783"/>
            </a:xfrm>
            <a:custGeom>
              <a:avLst/>
              <a:gdLst>
                <a:gd name="T0" fmla="*/ 0 w 116"/>
                <a:gd name="T1" fmla="*/ 0 h 147"/>
                <a:gd name="T2" fmla="*/ 0 w 116"/>
                <a:gd name="T3" fmla="*/ 0 h 147"/>
                <a:gd name="T4" fmla="*/ 0 w 116"/>
                <a:gd name="T5" fmla="*/ 0 h 147"/>
                <a:gd name="T6" fmla="*/ 116 w 116"/>
                <a:gd name="T7" fmla="*/ 147 h 147"/>
                <a:gd name="T8" fmla="*/ 0 w 116"/>
                <a:gd name="T9" fmla="*/ 0 h 1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5" h="147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116" y="147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endParaRPr>
            </a:p>
          </p:txBody>
        </p:sp>
        <p:sp>
          <p:nvSpPr>
            <p:cNvPr id="3" name="TextBox 2"/>
            <p:cNvSpPr txBox="1"/>
            <p:nvPr/>
          </p:nvSpPr>
          <p:spPr>
            <a:xfrm>
              <a:off x="1581909" y="5391277"/>
              <a:ext cx="338554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600" b="1">
                  <a:solidFill>
                    <a:schemeClr val="bg1"/>
                  </a:solidFill>
                  <a:latin typeface="Arial" panose="020B0604020202020204" pitchFamily="34" charset="0"/>
                  <a:ea typeface="微软雅黑" panose="020B0503020204020204" pitchFamily="34" charset="-122"/>
                  <a:cs typeface="思源黑体 CN Regular" panose="020B0500000000000000" charset="-122"/>
                  <a:sym typeface="Arial" panose="020B0604020202020204" pitchFamily="34" charset="0"/>
                </a:rPr>
                <a:t>A</a:t>
              </a:r>
            </a:p>
          </p:txBody>
        </p:sp>
        <p:sp>
          <p:nvSpPr>
            <p:cNvPr id="169" name="TextBox 168"/>
            <p:cNvSpPr txBox="1"/>
            <p:nvPr/>
          </p:nvSpPr>
          <p:spPr>
            <a:xfrm>
              <a:off x="1585115" y="4932990"/>
              <a:ext cx="332143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600" b="1">
                  <a:solidFill>
                    <a:schemeClr val="bg1"/>
                  </a:solidFill>
                  <a:latin typeface="Arial" panose="020B0604020202020204" pitchFamily="34" charset="0"/>
                  <a:ea typeface="微软雅黑" panose="020B0503020204020204" pitchFamily="34" charset="-122"/>
                  <a:cs typeface="思源黑体 CN Regular" panose="020B0500000000000000" charset="-122"/>
                  <a:sym typeface="Arial" panose="020B0604020202020204" pitchFamily="34" charset="0"/>
                </a:rPr>
                <a:t>B</a:t>
              </a:r>
            </a:p>
          </p:txBody>
        </p:sp>
        <p:sp>
          <p:nvSpPr>
            <p:cNvPr id="170" name="TextBox 169"/>
            <p:cNvSpPr txBox="1"/>
            <p:nvPr/>
          </p:nvSpPr>
          <p:spPr>
            <a:xfrm>
              <a:off x="1585115" y="4470441"/>
              <a:ext cx="332142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600" b="1">
                  <a:solidFill>
                    <a:schemeClr val="bg1"/>
                  </a:solidFill>
                  <a:latin typeface="Arial" panose="020B0604020202020204" pitchFamily="34" charset="0"/>
                  <a:ea typeface="微软雅黑" panose="020B0503020204020204" pitchFamily="34" charset="-122"/>
                  <a:cs typeface="思源黑体 CN Regular" panose="020B0500000000000000" charset="-122"/>
                  <a:sym typeface="Arial" panose="020B0604020202020204" pitchFamily="34" charset="0"/>
                </a:rPr>
                <a:t>C</a:t>
              </a:r>
            </a:p>
          </p:txBody>
        </p:sp>
        <p:sp>
          <p:nvSpPr>
            <p:cNvPr id="171" name="TextBox 170"/>
            <p:cNvSpPr txBox="1"/>
            <p:nvPr/>
          </p:nvSpPr>
          <p:spPr>
            <a:xfrm>
              <a:off x="1585115" y="4017101"/>
              <a:ext cx="332142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600" b="1">
                  <a:solidFill>
                    <a:schemeClr val="bg1"/>
                  </a:solidFill>
                  <a:latin typeface="Arial" panose="020B0604020202020204" pitchFamily="34" charset="0"/>
                  <a:ea typeface="微软雅黑" panose="020B0503020204020204" pitchFamily="34" charset="-122"/>
                  <a:cs typeface="思源黑体 CN Regular" panose="020B0500000000000000" charset="-122"/>
                  <a:sym typeface="Arial" panose="020B0604020202020204" pitchFamily="34" charset="0"/>
                </a:rPr>
                <a:t>D</a:t>
              </a:r>
            </a:p>
          </p:txBody>
        </p:sp>
        <p:sp>
          <p:nvSpPr>
            <p:cNvPr id="172" name="TextBox 171"/>
            <p:cNvSpPr txBox="1"/>
            <p:nvPr/>
          </p:nvSpPr>
          <p:spPr>
            <a:xfrm>
              <a:off x="1590725" y="3558870"/>
              <a:ext cx="320922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600" b="1">
                  <a:solidFill>
                    <a:schemeClr val="bg1"/>
                  </a:solidFill>
                  <a:latin typeface="Arial" panose="020B0604020202020204" pitchFamily="34" charset="0"/>
                  <a:ea typeface="微软雅黑" panose="020B0503020204020204" pitchFamily="34" charset="-122"/>
                  <a:cs typeface="思源黑体 CN Regular" panose="020B0500000000000000" charset="-122"/>
                  <a:sym typeface="Arial" panose="020B0604020202020204" pitchFamily="34" charset="0"/>
                </a:rPr>
                <a:t>E</a:t>
              </a:r>
            </a:p>
          </p:txBody>
        </p:sp>
        <p:sp>
          <p:nvSpPr>
            <p:cNvPr id="173" name="TextBox 172"/>
            <p:cNvSpPr txBox="1"/>
            <p:nvPr/>
          </p:nvSpPr>
          <p:spPr>
            <a:xfrm>
              <a:off x="1596335" y="3096746"/>
              <a:ext cx="309701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600" b="1">
                  <a:solidFill>
                    <a:schemeClr val="bg1"/>
                  </a:solidFill>
                  <a:latin typeface="Arial" panose="020B0604020202020204" pitchFamily="34" charset="0"/>
                  <a:ea typeface="微软雅黑" panose="020B0503020204020204" pitchFamily="34" charset="-122"/>
                  <a:cs typeface="思源黑体 CN Regular" panose="020B0500000000000000" charset="-122"/>
                  <a:sym typeface="Arial" panose="020B0604020202020204" pitchFamily="34" charset="0"/>
                </a:rPr>
                <a:t>F</a:t>
              </a:r>
            </a:p>
          </p:txBody>
        </p:sp>
        <p:sp>
          <p:nvSpPr>
            <p:cNvPr id="174" name="TextBox 173"/>
            <p:cNvSpPr txBox="1"/>
            <p:nvPr/>
          </p:nvSpPr>
          <p:spPr>
            <a:xfrm>
              <a:off x="1580306" y="2642926"/>
              <a:ext cx="341761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600" b="1">
                  <a:solidFill>
                    <a:schemeClr val="bg1"/>
                  </a:solidFill>
                  <a:latin typeface="Arial" panose="020B0604020202020204" pitchFamily="34" charset="0"/>
                  <a:ea typeface="微软雅黑" panose="020B0503020204020204" pitchFamily="34" charset="-122"/>
                  <a:cs typeface="思源黑体 CN Regular" panose="020B0500000000000000" charset="-122"/>
                  <a:sym typeface="Arial" panose="020B0604020202020204" pitchFamily="34" charset="0"/>
                </a:rPr>
                <a:t>G</a:t>
              </a:r>
            </a:p>
          </p:txBody>
        </p:sp>
      </p:grpSp>
      <p:grpSp>
        <p:nvGrpSpPr>
          <p:cNvPr id="47" name="Group 46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GrpSpPr/>
          <p:nvPr/>
        </p:nvGrpSpPr>
        <p:grpSpPr>
          <a:xfrm>
            <a:off x="1498636" y="4004114"/>
            <a:ext cx="633668" cy="788401"/>
            <a:chOff x="2169582" y="3910069"/>
            <a:chExt cx="633668" cy="788401"/>
          </a:xfrm>
        </p:grpSpPr>
        <p:sp>
          <p:nvSpPr>
            <p:cNvPr id="82" name="Freeform 80"/>
            <p:cNvSpPr>
              <a:spLocks noEditPoints="1"/>
            </p:cNvSpPr>
            <p:nvPr/>
          </p:nvSpPr>
          <p:spPr bwMode="auto">
            <a:xfrm>
              <a:off x="2169582" y="3910069"/>
              <a:ext cx="633668" cy="788401"/>
            </a:xfrm>
            <a:custGeom>
              <a:avLst/>
              <a:gdLst>
                <a:gd name="T0" fmla="*/ 60 w 119"/>
                <a:gd name="T1" fmla="*/ 148 h 148"/>
                <a:gd name="T2" fmla="*/ 0 w 119"/>
                <a:gd name="T3" fmla="*/ 60 h 148"/>
                <a:gd name="T4" fmla="*/ 60 w 119"/>
                <a:gd name="T5" fmla="*/ 0 h 148"/>
                <a:gd name="T6" fmla="*/ 119 w 119"/>
                <a:gd name="T7" fmla="*/ 60 h 148"/>
                <a:gd name="T8" fmla="*/ 60 w 119"/>
                <a:gd name="T9" fmla="*/ 148 h 148"/>
                <a:gd name="T10" fmla="*/ 60 w 119"/>
                <a:gd name="T11" fmla="*/ 19 h 148"/>
                <a:gd name="T12" fmla="*/ 18 w 119"/>
                <a:gd name="T13" fmla="*/ 60 h 148"/>
                <a:gd name="T14" fmla="*/ 60 w 119"/>
                <a:gd name="T15" fmla="*/ 101 h 148"/>
                <a:gd name="T16" fmla="*/ 101 w 119"/>
                <a:gd name="T17" fmla="*/ 60 h 148"/>
                <a:gd name="T18" fmla="*/ 60 w 119"/>
                <a:gd name="T19" fmla="*/ 19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9" h="148">
                  <a:moveTo>
                    <a:pt x="60" y="148"/>
                  </a:moveTo>
                  <a:cubicBezTo>
                    <a:pt x="43" y="148"/>
                    <a:pt x="0" y="93"/>
                    <a:pt x="0" y="60"/>
                  </a:cubicBezTo>
                  <a:cubicBezTo>
                    <a:pt x="0" y="27"/>
                    <a:pt x="26" y="0"/>
                    <a:pt x="60" y="0"/>
                  </a:cubicBezTo>
                  <a:cubicBezTo>
                    <a:pt x="93" y="0"/>
                    <a:pt x="119" y="27"/>
                    <a:pt x="119" y="60"/>
                  </a:cubicBezTo>
                  <a:cubicBezTo>
                    <a:pt x="119" y="93"/>
                    <a:pt x="75" y="148"/>
                    <a:pt x="60" y="148"/>
                  </a:cubicBezTo>
                  <a:moveTo>
                    <a:pt x="60" y="19"/>
                  </a:moveTo>
                  <a:cubicBezTo>
                    <a:pt x="37" y="19"/>
                    <a:pt x="18" y="37"/>
                    <a:pt x="18" y="60"/>
                  </a:cubicBezTo>
                  <a:cubicBezTo>
                    <a:pt x="18" y="82"/>
                    <a:pt x="37" y="101"/>
                    <a:pt x="60" y="101"/>
                  </a:cubicBezTo>
                  <a:cubicBezTo>
                    <a:pt x="82" y="101"/>
                    <a:pt x="101" y="82"/>
                    <a:pt x="101" y="60"/>
                  </a:cubicBezTo>
                  <a:cubicBezTo>
                    <a:pt x="101" y="37"/>
                    <a:pt x="82" y="19"/>
                    <a:pt x="60" y="19"/>
                  </a:cubicBezTo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endParaRPr>
            </a:p>
          </p:txBody>
        </p:sp>
        <p:sp>
          <p:nvSpPr>
            <p:cNvPr id="83" name="Freeform 81"/>
            <p:cNvSpPr/>
            <p:nvPr/>
          </p:nvSpPr>
          <p:spPr bwMode="auto">
            <a:xfrm>
              <a:off x="2490100" y="4011383"/>
              <a:ext cx="217363" cy="436568"/>
            </a:xfrm>
            <a:custGeom>
              <a:avLst/>
              <a:gdLst>
                <a:gd name="T0" fmla="*/ 0 w 41"/>
                <a:gd name="T1" fmla="*/ 0 h 82"/>
                <a:gd name="T2" fmla="*/ 0 w 41"/>
                <a:gd name="T3" fmla="*/ 82 h 82"/>
                <a:gd name="T4" fmla="*/ 41 w 41"/>
                <a:gd name="T5" fmla="*/ 41 h 82"/>
                <a:gd name="T6" fmla="*/ 0 w 41"/>
                <a:gd name="T7" fmla="*/ 0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1" h="82">
                  <a:moveTo>
                    <a:pt x="0" y="0"/>
                  </a:moveTo>
                  <a:cubicBezTo>
                    <a:pt x="0" y="82"/>
                    <a:pt x="0" y="82"/>
                    <a:pt x="0" y="82"/>
                  </a:cubicBezTo>
                  <a:cubicBezTo>
                    <a:pt x="22" y="82"/>
                    <a:pt x="41" y="63"/>
                    <a:pt x="41" y="41"/>
                  </a:cubicBezTo>
                  <a:cubicBezTo>
                    <a:pt x="41" y="18"/>
                    <a:pt x="22" y="0"/>
                    <a:pt x="0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endParaRPr>
            </a:p>
          </p:txBody>
        </p:sp>
        <p:sp>
          <p:nvSpPr>
            <p:cNvPr id="84" name="Freeform 82"/>
            <p:cNvSpPr>
              <a:spLocks noEditPoints="1"/>
            </p:cNvSpPr>
            <p:nvPr/>
          </p:nvSpPr>
          <p:spPr bwMode="auto">
            <a:xfrm>
              <a:off x="2169582" y="3910069"/>
              <a:ext cx="537881" cy="788401"/>
            </a:xfrm>
            <a:custGeom>
              <a:avLst/>
              <a:gdLst>
                <a:gd name="T0" fmla="*/ 60 w 101"/>
                <a:gd name="T1" fmla="*/ 19 h 148"/>
                <a:gd name="T2" fmla="*/ 60 w 101"/>
                <a:gd name="T3" fmla="*/ 19 h 148"/>
                <a:gd name="T4" fmla="*/ 101 w 101"/>
                <a:gd name="T5" fmla="*/ 60 h 148"/>
                <a:gd name="T6" fmla="*/ 101 w 101"/>
                <a:gd name="T7" fmla="*/ 60 h 148"/>
                <a:gd name="T8" fmla="*/ 60 w 101"/>
                <a:gd name="T9" fmla="*/ 19 h 148"/>
                <a:gd name="T10" fmla="*/ 60 w 101"/>
                <a:gd name="T11" fmla="*/ 0 h 148"/>
                <a:gd name="T12" fmla="*/ 0 w 101"/>
                <a:gd name="T13" fmla="*/ 60 h 148"/>
                <a:gd name="T14" fmla="*/ 60 w 101"/>
                <a:gd name="T15" fmla="*/ 148 h 148"/>
                <a:gd name="T16" fmla="*/ 60 w 101"/>
                <a:gd name="T17" fmla="*/ 101 h 148"/>
                <a:gd name="T18" fmla="*/ 60 w 101"/>
                <a:gd name="T19" fmla="*/ 101 h 148"/>
                <a:gd name="T20" fmla="*/ 18 w 101"/>
                <a:gd name="T21" fmla="*/ 60 h 148"/>
                <a:gd name="T22" fmla="*/ 18 w 101"/>
                <a:gd name="T23" fmla="*/ 60 h 148"/>
                <a:gd name="T24" fmla="*/ 18 w 101"/>
                <a:gd name="T25" fmla="*/ 60 h 148"/>
                <a:gd name="T26" fmla="*/ 60 w 101"/>
                <a:gd name="T27" fmla="*/ 19 h 148"/>
                <a:gd name="T28" fmla="*/ 60 w 101"/>
                <a:gd name="T29" fmla="*/ 19 h 148"/>
                <a:gd name="T30" fmla="*/ 60 w 101"/>
                <a:gd name="T31" fmla="*/ 0 h 148"/>
                <a:gd name="T32" fmla="*/ 60 w 101"/>
                <a:gd name="T33" fmla="*/ 0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00" h="148">
                  <a:moveTo>
                    <a:pt x="60" y="19"/>
                  </a:moveTo>
                  <a:cubicBezTo>
                    <a:pt x="60" y="19"/>
                    <a:pt x="60" y="19"/>
                    <a:pt x="60" y="19"/>
                  </a:cubicBezTo>
                  <a:cubicBezTo>
                    <a:pt x="82" y="19"/>
                    <a:pt x="101" y="37"/>
                    <a:pt x="101" y="60"/>
                  </a:cubicBezTo>
                  <a:cubicBezTo>
                    <a:pt x="101" y="60"/>
                    <a:pt x="101" y="60"/>
                    <a:pt x="101" y="60"/>
                  </a:cubicBezTo>
                  <a:cubicBezTo>
                    <a:pt x="101" y="37"/>
                    <a:pt x="82" y="19"/>
                    <a:pt x="60" y="19"/>
                  </a:cubicBezTo>
                  <a:moveTo>
                    <a:pt x="60" y="0"/>
                  </a:moveTo>
                  <a:cubicBezTo>
                    <a:pt x="26" y="0"/>
                    <a:pt x="0" y="27"/>
                    <a:pt x="0" y="60"/>
                  </a:cubicBezTo>
                  <a:cubicBezTo>
                    <a:pt x="0" y="93"/>
                    <a:pt x="43" y="148"/>
                    <a:pt x="60" y="148"/>
                  </a:cubicBezTo>
                  <a:cubicBezTo>
                    <a:pt x="60" y="101"/>
                    <a:pt x="60" y="101"/>
                    <a:pt x="60" y="101"/>
                  </a:cubicBezTo>
                  <a:cubicBezTo>
                    <a:pt x="60" y="101"/>
                    <a:pt x="60" y="101"/>
                    <a:pt x="60" y="101"/>
                  </a:cubicBezTo>
                  <a:cubicBezTo>
                    <a:pt x="37" y="101"/>
                    <a:pt x="18" y="82"/>
                    <a:pt x="18" y="60"/>
                  </a:cubicBezTo>
                  <a:cubicBezTo>
                    <a:pt x="18" y="60"/>
                    <a:pt x="18" y="60"/>
                    <a:pt x="18" y="60"/>
                  </a:cubicBezTo>
                  <a:cubicBezTo>
                    <a:pt x="18" y="60"/>
                    <a:pt x="18" y="60"/>
                    <a:pt x="18" y="60"/>
                  </a:cubicBezTo>
                  <a:cubicBezTo>
                    <a:pt x="18" y="37"/>
                    <a:pt x="37" y="19"/>
                    <a:pt x="60" y="19"/>
                  </a:cubicBezTo>
                  <a:cubicBezTo>
                    <a:pt x="60" y="19"/>
                    <a:pt x="60" y="19"/>
                    <a:pt x="60" y="19"/>
                  </a:cubicBezTo>
                  <a:cubicBezTo>
                    <a:pt x="60" y="0"/>
                    <a:pt x="60" y="0"/>
                    <a:pt x="60" y="0"/>
                  </a:cubicBezTo>
                  <a:cubicBezTo>
                    <a:pt x="60" y="0"/>
                    <a:pt x="60" y="0"/>
                    <a:pt x="60" y="0"/>
                  </a:cubicBezTo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endParaRPr>
            </a:p>
          </p:txBody>
        </p:sp>
        <p:sp>
          <p:nvSpPr>
            <p:cNvPr id="2" name="TextBox 1"/>
            <p:cNvSpPr txBox="1"/>
            <p:nvPr/>
          </p:nvSpPr>
          <p:spPr>
            <a:xfrm>
              <a:off x="2213044" y="4060390"/>
              <a:ext cx="543739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400" b="1">
                  <a:solidFill>
                    <a:schemeClr val="tx2"/>
                  </a:solidFill>
                  <a:latin typeface="Arial" panose="020B0604020202020204" pitchFamily="34" charset="0"/>
                  <a:ea typeface="微软雅黑" panose="020B0503020204020204" pitchFamily="34" charset="-122"/>
                  <a:cs typeface="思源黑体 CN Regular" panose="020B0500000000000000" charset="-122"/>
                  <a:sym typeface="Arial" panose="020B0604020202020204" pitchFamily="34" charset="0"/>
                </a:rPr>
                <a:t>25%</a:t>
              </a:r>
            </a:p>
          </p:txBody>
        </p:sp>
      </p:grpSp>
      <p:grpSp>
        <p:nvGrpSpPr>
          <p:cNvPr id="51" name="Group 50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GrpSpPr/>
          <p:nvPr/>
        </p:nvGrpSpPr>
        <p:grpSpPr>
          <a:xfrm>
            <a:off x="2404929" y="3556494"/>
            <a:ext cx="639194" cy="788401"/>
            <a:chOff x="3075875" y="3462449"/>
            <a:chExt cx="639194" cy="788401"/>
          </a:xfrm>
        </p:grpSpPr>
        <p:sp>
          <p:nvSpPr>
            <p:cNvPr id="79" name="Freeform 77"/>
            <p:cNvSpPr>
              <a:spLocks noEditPoints="1"/>
            </p:cNvSpPr>
            <p:nvPr/>
          </p:nvSpPr>
          <p:spPr bwMode="auto">
            <a:xfrm>
              <a:off x="3075875" y="3462449"/>
              <a:ext cx="639194" cy="788401"/>
            </a:xfrm>
            <a:custGeom>
              <a:avLst/>
              <a:gdLst>
                <a:gd name="T0" fmla="*/ 60 w 120"/>
                <a:gd name="T1" fmla="*/ 148 h 148"/>
                <a:gd name="T2" fmla="*/ 0 w 120"/>
                <a:gd name="T3" fmla="*/ 60 h 148"/>
                <a:gd name="T4" fmla="*/ 60 w 120"/>
                <a:gd name="T5" fmla="*/ 0 h 148"/>
                <a:gd name="T6" fmla="*/ 120 w 120"/>
                <a:gd name="T7" fmla="*/ 60 h 148"/>
                <a:gd name="T8" fmla="*/ 60 w 120"/>
                <a:gd name="T9" fmla="*/ 148 h 148"/>
                <a:gd name="T10" fmla="*/ 60 w 120"/>
                <a:gd name="T11" fmla="*/ 19 h 148"/>
                <a:gd name="T12" fmla="*/ 19 w 120"/>
                <a:gd name="T13" fmla="*/ 60 h 148"/>
                <a:gd name="T14" fmla="*/ 60 w 120"/>
                <a:gd name="T15" fmla="*/ 101 h 148"/>
                <a:gd name="T16" fmla="*/ 102 w 120"/>
                <a:gd name="T17" fmla="*/ 60 h 148"/>
                <a:gd name="T18" fmla="*/ 60 w 120"/>
                <a:gd name="T19" fmla="*/ 19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0" h="148">
                  <a:moveTo>
                    <a:pt x="60" y="148"/>
                  </a:moveTo>
                  <a:cubicBezTo>
                    <a:pt x="44" y="148"/>
                    <a:pt x="0" y="93"/>
                    <a:pt x="0" y="60"/>
                  </a:cubicBezTo>
                  <a:cubicBezTo>
                    <a:pt x="0" y="27"/>
                    <a:pt x="27" y="0"/>
                    <a:pt x="60" y="0"/>
                  </a:cubicBezTo>
                  <a:cubicBezTo>
                    <a:pt x="93" y="0"/>
                    <a:pt x="120" y="27"/>
                    <a:pt x="120" y="60"/>
                  </a:cubicBezTo>
                  <a:cubicBezTo>
                    <a:pt x="120" y="93"/>
                    <a:pt x="76" y="148"/>
                    <a:pt x="60" y="148"/>
                  </a:cubicBezTo>
                  <a:moveTo>
                    <a:pt x="60" y="19"/>
                  </a:moveTo>
                  <a:cubicBezTo>
                    <a:pt x="37" y="19"/>
                    <a:pt x="19" y="37"/>
                    <a:pt x="19" y="60"/>
                  </a:cubicBezTo>
                  <a:cubicBezTo>
                    <a:pt x="19" y="82"/>
                    <a:pt x="37" y="101"/>
                    <a:pt x="60" y="101"/>
                  </a:cubicBezTo>
                  <a:cubicBezTo>
                    <a:pt x="83" y="101"/>
                    <a:pt x="102" y="82"/>
                    <a:pt x="102" y="60"/>
                  </a:cubicBezTo>
                  <a:cubicBezTo>
                    <a:pt x="102" y="37"/>
                    <a:pt x="83" y="19"/>
                    <a:pt x="60" y="19"/>
                  </a:cubicBezTo>
                </a:path>
              </a:pathLst>
            </a:cu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endParaRPr>
            </a:p>
          </p:txBody>
        </p:sp>
        <p:sp>
          <p:nvSpPr>
            <p:cNvPr id="80" name="Freeform 78"/>
            <p:cNvSpPr/>
            <p:nvPr/>
          </p:nvSpPr>
          <p:spPr bwMode="auto">
            <a:xfrm>
              <a:off x="3394551" y="3563762"/>
              <a:ext cx="224731" cy="436568"/>
            </a:xfrm>
            <a:custGeom>
              <a:avLst/>
              <a:gdLst>
                <a:gd name="T0" fmla="*/ 0 w 42"/>
                <a:gd name="T1" fmla="*/ 0 h 82"/>
                <a:gd name="T2" fmla="*/ 0 w 42"/>
                <a:gd name="T3" fmla="*/ 82 h 82"/>
                <a:gd name="T4" fmla="*/ 42 w 42"/>
                <a:gd name="T5" fmla="*/ 41 h 82"/>
                <a:gd name="T6" fmla="*/ 0 w 42"/>
                <a:gd name="T7" fmla="*/ 0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2" h="82">
                  <a:moveTo>
                    <a:pt x="0" y="0"/>
                  </a:moveTo>
                  <a:cubicBezTo>
                    <a:pt x="0" y="82"/>
                    <a:pt x="0" y="82"/>
                    <a:pt x="0" y="82"/>
                  </a:cubicBezTo>
                  <a:cubicBezTo>
                    <a:pt x="23" y="82"/>
                    <a:pt x="42" y="63"/>
                    <a:pt x="42" y="41"/>
                  </a:cubicBezTo>
                  <a:cubicBezTo>
                    <a:pt x="42" y="18"/>
                    <a:pt x="23" y="0"/>
                    <a:pt x="0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endParaRPr>
            </a:p>
          </p:txBody>
        </p:sp>
        <p:sp>
          <p:nvSpPr>
            <p:cNvPr id="81" name="Freeform 79"/>
            <p:cNvSpPr>
              <a:spLocks noEditPoints="1"/>
            </p:cNvSpPr>
            <p:nvPr/>
          </p:nvSpPr>
          <p:spPr bwMode="auto">
            <a:xfrm>
              <a:off x="3075875" y="3462449"/>
              <a:ext cx="543407" cy="788401"/>
            </a:xfrm>
            <a:custGeom>
              <a:avLst/>
              <a:gdLst>
                <a:gd name="T0" fmla="*/ 60 w 102"/>
                <a:gd name="T1" fmla="*/ 19 h 148"/>
                <a:gd name="T2" fmla="*/ 60 w 102"/>
                <a:gd name="T3" fmla="*/ 19 h 148"/>
                <a:gd name="T4" fmla="*/ 102 w 102"/>
                <a:gd name="T5" fmla="*/ 60 h 148"/>
                <a:gd name="T6" fmla="*/ 102 w 102"/>
                <a:gd name="T7" fmla="*/ 60 h 148"/>
                <a:gd name="T8" fmla="*/ 60 w 102"/>
                <a:gd name="T9" fmla="*/ 19 h 148"/>
                <a:gd name="T10" fmla="*/ 60 w 102"/>
                <a:gd name="T11" fmla="*/ 0 h 148"/>
                <a:gd name="T12" fmla="*/ 0 w 102"/>
                <a:gd name="T13" fmla="*/ 60 h 148"/>
                <a:gd name="T14" fmla="*/ 60 w 102"/>
                <a:gd name="T15" fmla="*/ 148 h 148"/>
                <a:gd name="T16" fmla="*/ 60 w 102"/>
                <a:gd name="T17" fmla="*/ 101 h 148"/>
                <a:gd name="T18" fmla="*/ 60 w 102"/>
                <a:gd name="T19" fmla="*/ 101 h 148"/>
                <a:gd name="T20" fmla="*/ 19 w 102"/>
                <a:gd name="T21" fmla="*/ 60 h 148"/>
                <a:gd name="T22" fmla="*/ 19 w 102"/>
                <a:gd name="T23" fmla="*/ 60 h 148"/>
                <a:gd name="T24" fmla="*/ 19 w 102"/>
                <a:gd name="T25" fmla="*/ 60 h 148"/>
                <a:gd name="T26" fmla="*/ 60 w 102"/>
                <a:gd name="T27" fmla="*/ 19 h 148"/>
                <a:gd name="T28" fmla="*/ 60 w 102"/>
                <a:gd name="T29" fmla="*/ 19 h 148"/>
                <a:gd name="T30" fmla="*/ 60 w 102"/>
                <a:gd name="T31" fmla="*/ 0 h 148"/>
                <a:gd name="T32" fmla="*/ 60 w 102"/>
                <a:gd name="T33" fmla="*/ 0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02" h="148">
                  <a:moveTo>
                    <a:pt x="60" y="19"/>
                  </a:moveTo>
                  <a:cubicBezTo>
                    <a:pt x="60" y="19"/>
                    <a:pt x="60" y="19"/>
                    <a:pt x="60" y="19"/>
                  </a:cubicBezTo>
                  <a:cubicBezTo>
                    <a:pt x="83" y="19"/>
                    <a:pt x="102" y="37"/>
                    <a:pt x="102" y="60"/>
                  </a:cubicBezTo>
                  <a:cubicBezTo>
                    <a:pt x="102" y="60"/>
                    <a:pt x="102" y="60"/>
                    <a:pt x="102" y="60"/>
                  </a:cubicBezTo>
                  <a:cubicBezTo>
                    <a:pt x="102" y="37"/>
                    <a:pt x="83" y="19"/>
                    <a:pt x="60" y="19"/>
                  </a:cubicBezTo>
                  <a:moveTo>
                    <a:pt x="60" y="0"/>
                  </a:moveTo>
                  <a:cubicBezTo>
                    <a:pt x="27" y="0"/>
                    <a:pt x="0" y="27"/>
                    <a:pt x="0" y="60"/>
                  </a:cubicBezTo>
                  <a:cubicBezTo>
                    <a:pt x="0" y="93"/>
                    <a:pt x="44" y="148"/>
                    <a:pt x="60" y="148"/>
                  </a:cubicBezTo>
                  <a:cubicBezTo>
                    <a:pt x="60" y="101"/>
                    <a:pt x="60" y="101"/>
                    <a:pt x="60" y="101"/>
                  </a:cubicBezTo>
                  <a:cubicBezTo>
                    <a:pt x="60" y="101"/>
                    <a:pt x="60" y="101"/>
                    <a:pt x="60" y="101"/>
                  </a:cubicBezTo>
                  <a:cubicBezTo>
                    <a:pt x="37" y="101"/>
                    <a:pt x="19" y="82"/>
                    <a:pt x="19" y="60"/>
                  </a:cubicBezTo>
                  <a:cubicBezTo>
                    <a:pt x="19" y="60"/>
                    <a:pt x="19" y="60"/>
                    <a:pt x="19" y="60"/>
                  </a:cubicBezTo>
                  <a:cubicBezTo>
                    <a:pt x="19" y="60"/>
                    <a:pt x="19" y="60"/>
                    <a:pt x="19" y="60"/>
                  </a:cubicBezTo>
                  <a:cubicBezTo>
                    <a:pt x="19" y="37"/>
                    <a:pt x="37" y="19"/>
                    <a:pt x="60" y="19"/>
                  </a:cubicBezTo>
                  <a:cubicBezTo>
                    <a:pt x="60" y="19"/>
                    <a:pt x="60" y="19"/>
                    <a:pt x="60" y="19"/>
                  </a:cubicBezTo>
                  <a:cubicBezTo>
                    <a:pt x="60" y="0"/>
                    <a:pt x="60" y="0"/>
                    <a:pt x="60" y="0"/>
                  </a:cubicBezTo>
                  <a:cubicBezTo>
                    <a:pt x="60" y="0"/>
                    <a:pt x="60" y="0"/>
                    <a:pt x="60" y="0"/>
                  </a:cubicBezTo>
                </a:path>
              </a:pathLst>
            </a:custGeom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endParaRPr>
            </a:p>
          </p:txBody>
        </p:sp>
        <p:sp>
          <p:nvSpPr>
            <p:cNvPr id="166" name="TextBox 165"/>
            <p:cNvSpPr txBox="1"/>
            <p:nvPr/>
          </p:nvSpPr>
          <p:spPr>
            <a:xfrm>
              <a:off x="3122175" y="3628586"/>
              <a:ext cx="543739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400" b="1">
                  <a:solidFill>
                    <a:schemeClr val="tx2"/>
                  </a:solidFill>
                  <a:latin typeface="Arial" panose="020B0604020202020204" pitchFamily="34" charset="0"/>
                  <a:ea typeface="微软雅黑" panose="020B0503020204020204" pitchFamily="34" charset="-122"/>
                  <a:cs typeface="思源黑体 CN Regular" panose="020B0500000000000000" charset="-122"/>
                  <a:sym typeface="Arial" panose="020B0604020202020204" pitchFamily="34" charset="0"/>
                </a:rPr>
                <a:t>50%</a:t>
              </a:r>
            </a:p>
          </p:txBody>
        </p:sp>
      </p:grpSp>
      <p:grpSp>
        <p:nvGrpSpPr>
          <p:cNvPr id="55" name="Group 54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GrpSpPr/>
          <p:nvPr/>
        </p:nvGrpSpPr>
        <p:grpSpPr>
          <a:xfrm>
            <a:off x="3362799" y="2996508"/>
            <a:ext cx="639194" cy="788401"/>
            <a:chOff x="4033745" y="2902463"/>
            <a:chExt cx="639194" cy="788401"/>
          </a:xfrm>
        </p:grpSpPr>
        <p:sp>
          <p:nvSpPr>
            <p:cNvPr id="76" name="Freeform 74"/>
            <p:cNvSpPr>
              <a:spLocks noEditPoints="1"/>
            </p:cNvSpPr>
            <p:nvPr/>
          </p:nvSpPr>
          <p:spPr bwMode="auto">
            <a:xfrm>
              <a:off x="4033745" y="2902463"/>
              <a:ext cx="639194" cy="788401"/>
            </a:xfrm>
            <a:custGeom>
              <a:avLst/>
              <a:gdLst>
                <a:gd name="T0" fmla="*/ 60 w 120"/>
                <a:gd name="T1" fmla="*/ 148 h 148"/>
                <a:gd name="T2" fmla="*/ 0 w 120"/>
                <a:gd name="T3" fmla="*/ 59 h 148"/>
                <a:gd name="T4" fmla="*/ 60 w 120"/>
                <a:gd name="T5" fmla="*/ 0 h 148"/>
                <a:gd name="T6" fmla="*/ 120 w 120"/>
                <a:gd name="T7" fmla="*/ 59 h 148"/>
                <a:gd name="T8" fmla="*/ 60 w 120"/>
                <a:gd name="T9" fmla="*/ 148 h 148"/>
                <a:gd name="T10" fmla="*/ 60 w 120"/>
                <a:gd name="T11" fmla="*/ 18 h 148"/>
                <a:gd name="T12" fmla="*/ 19 w 120"/>
                <a:gd name="T13" fmla="*/ 59 h 148"/>
                <a:gd name="T14" fmla="*/ 60 w 120"/>
                <a:gd name="T15" fmla="*/ 101 h 148"/>
                <a:gd name="T16" fmla="*/ 102 w 120"/>
                <a:gd name="T17" fmla="*/ 59 h 148"/>
                <a:gd name="T18" fmla="*/ 60 w 120"/>
                <a:gd name="T19" fmla="*/ 18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0" h="148">
                  <a:moveTo>
                    <a:pt x="60" y="148"/>
                  </a:moveTo>
                  <a:cubicBezTo>
                    <a:pt x="44" y="148"/>
                    <a:pt x="0" y="92"/>
                    <a:pt x="0" y="59"/>
                  </a:cubicBezTo>
                  <a:cubicBezTo>
                    <a:pt x="0" y="27"/>
                    <a:pt x="27" y="0"/>
                    <a:pt x="60" y="0"/>
                  </a:cubicBezTo>
                  <a:cubicBezTo>
                    <a:pt x="93" y="0"/>
                    <a:pt x="120" y="27"/>
                    <a:pt x="120" y="59"/>
                  </a:cubicBezTo>
                  <a:cubicBezTo>
                    <a:pt x="120" y="92"/>
                    <a:pt x="76" y="148"/>
                    <a:pt x="60" y="148"/>
                  </a:cubicBezTo>
                  <a:moveTo>
                    <a:pt x="60" y="18"/>
                  </a:moveTo>
                  <a:cubicBezTo>
                    <a:pt x="37" y="18"/>
                    <a:pt x="19" y="37"/>
                    <a:pt x="19" y="59"/>
                  </a:cubicBezTo>
                  <a:cubicBezTo>
                    <a:pt x="19" y="82"/>
                    <a:pt x="37" y="101"/>
                    <a:pt x="60" y="101"/>
                  </a:cubicBezTo>
                  <a:cubicBezTo>
                    <a:pt x="83" y="101"/>
                    <a:pt x="102" y="82"/>
                    <a:pt x="102" y="59"/>
                  </a:cubicBezTo>
                  <a:cubicBezTo>
                    <a:pt x="102" y="37"/>
                    <a:pt x="83" y="18"/>
                    <a:pt x="60" y="18"/>
                  </a:cubicBezTo>
                </a:path>
              </a:pathLst>
            </a:custGeom>
            <a:solidFill>
              <a:schemeClr val="accent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endParaRPr>
            </a:p>
          </p:txBody>
        </p:sp>
        <p:sp>
          <p:nvSpPr>
            <p:cNvPr id="77" name="Freeform 75"/>
            <p:cNvSpPr/>
            <p:nvPr/>
          </p:nvSpPr>
          <p:spPr bwMode="auto">
            <a:xfrm>
              <a:off x="4354264" y="2998250"/>
              <a:ext cx="222889" cy="442094"/>
            </a:xfrm>
            <a:custGeom>
              <a:avLst/>
              <a:gdLst>
                <a:gd name="T0" fmla="*/ 0 w 42"/>
                <a:gd name="T1" fmla="*/ 0 h 83"/>
                <a:gd name="T2" fmla="*/ 0 w 42"/>
                <a:gd name="T3" fmla="*/ 83 h 83"/>
                <a:gd name="T4" fmla="*/ 42 w 42"/>
                <a:gd name="T5" fmla="*/ 41 h 83"/>
                <a:gd name="T6" fmla="*/ 0 w 42"/>
                <a:gd name="T7" fmla="*/ 0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2" h="83">
                  <a:moveTo>
                    <a:pt x="0" y="0"/>
                  </a:moveTo>
                  <a:cubicBezTo>
                    <a:pt x="0" y="83"/>
                    <a:pt x="0" y="83"/>
                    <a:pt x="0" y="83"/>
                  </a:cubicBezTo>
                  <a:cubicBezTo>
                    <a:pt x="23" y="83"/>
                    <a:pt x="42" y="64"/>
                    <a:pt x="42" y="41"/>
                  </a:cubicBezTo>
                  <a:cubicBezTo>
                    <a:pt x="42" y="19"/>
                    <a:pt x="23" y="0"/>
                    <a:pt x="0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endParaRPr>
            </a:p>
          </p:txBody>
        </p:sp>
        <p:sp>
          <p:nvSpPr>
            <p:cNvPr id="78" name="Freeform 76"/>
            <p:cNvSpPr>
              <a:spLocks noEditPoints="1"/>
            </p:cNvSpPr>
            <p:nvPr/>
          </p:nvSpPr>
          <p:spPr bwMode="auto">
            <a:xfrm>
              <a:off x="4033745" y="2902463"/>
              <a:ext cx="543407" cy="788401"/>
            </a:xfrm>
            <a:custGeom>
              <a:avLst/>
              <a:gdLst>
                <a:gd name="T0" fmla="*/ 60 w 102"/>
                <a:gd name="T1" fmla="*/ 18 h 148"/>
                <a:gd name="T2" fmla="*/ 60 w 102"/>
                <a:gd name="T3" fmla="*/ 18 h 148"/>
                <a:gd name="T4" fmla="*/ 102 w 102"/>
                <a:gd name="T5" fmla="*/ 59 h 148"/>
                <a:gd name="T6" fmla="*/ 102 w 102"/>
                <a:gd name="T7" fmla="*/ 59 h 148"/>
                <a:gd name="T8" fmla="*/ 60 w 102"/>
                <a:gd name="T9" fmla="*/ 18 h 148"/>
                <a:gd name="T10" fmla="*/ 60 w 102"/>
                <a:gd name="T11" fmla="*/ 0 h 148"/>
                <a:gd name="T12" fmla="*/ 0 w 102"/>
                <a:gd name="T13" fmla="*/ 59 h 148"/>
                <a:gd name="T14" fmla="*/ 60 w 102"/>
                <a:gd name="T15" fmla="*/ 148 h 148"/>
                <a:gd name="T16" fmla="*/ 60 w 102"/>
                <a:gd name="T17" fmla="*/ 101 h 148"/>
                <a:gd name="T18" fmla="*/ 60 w 102"/>
                <a:gd name="T19" fmla="*/ 101 h 148"/>
                <a:gd name="T20" fmla="*/ 19 w 102"/>
                <a:gd name="T21" fmla="*/ 59 h 148"/>
                <a:gd name="T22" fmla="*/ 19 w 102"/>
                <a:gd name="T23" fmla="*/ 59 h 148"/>
                <a:gd name="T24" fmla="*/ 19 w 102"/>
                <a:gd name="T25" fmla="*/ 59 h 148"/>
                <a:gd name="T26" fmla="*/ 60 w 102"/>
                <a:gd name="T27" fmla="*/ 18 h 148"/>
                <a:gd name="T28" fmla="*/ 60 w 102"/>
                <a:gd name="T29" fmla="*/ 18 h 148"/>
                <a:gd name="T30" fmla="*/ 60 w 102"/>
                <a:gd name="T31" fmla="*/ 0 h 148"/>
                <a:gd name="T32" fmla="*/ 60 w 102"/>
                <a:gd name="T33" fmla="*/ 0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02" h="148">
                  <a:moveTo>
                    <a:pt x="60" y="18"/>
                  </a:moveTo>
                  <a:cubicBezTo>
                    <a:pt x="60" y="18"/>
                    <a:pt x="60" y="18"/>
                    <a:pt x="60" y="18"/>
                  </a:cubicBezTo>
                  <a:cubicBezTo>
                    <a:pt x="83" y="18"/>
                    <a:pt x="102" y="37"/>
                    <a:pt x="102" y="59"/>
                  </a:cubicBezTo>
                  <a:cubicBezTo>
                    <a:pt x="102" y="59"/>
                    <a:pt x="102" y="59"/>
                    <a:pt x="102" y="59"/>
                  </a:cubicBezTo>
                  <a:cubicBezTo>
                    <a:pt x="102" y="37"/>
                    <a:pt x="83" y="18"/>
                    <a:pt x="60" y="18"/>
                  </a:cubicBezTo>
                  <a:moveTo>
                    <a:pt x="60" y="0"/>
                  </a:moveTo>
                  <a:cubicBezTo>
                    <a:pt x="27" y="0"/>
                    <a:pt x="0" y="27"/>
                    <a:pt x="0" y="59"/>
                  </a:cubicBezTo>
                  <a:cubicBezTo>
                    <a:pt x="0" y="92"/>
                    <a:pt x="44" y="148"/>
                    <a:pt x="60" y="148"/>
                  </a:cubicBezTo>
                  <a:cubicBezTo>
                    <a:pt x="60" y="101"/>
                    <a:pt x="60" y="101"/>
                    <a:pt x="60" y="101"/>
                  </a:cubicBezTo>
                  <a:cubicBezTo>
                    <a:pt x="60" y="101"/>
                    <a:pt x="60" y="101"/>
                    <a:pt x="60" y="101"/>
                  </a:cubicBezTo>
                  <a:cubicBezTo>
                    <a:pt x="37" y="101"/>
                    <a:pt x="19" y="82"/>
                    <a:pt x="19" y="59"/>
                  </a:cubicBezTo>
                  <a:cubicBezTo>
                    <a:pt x="19" y="59"/>
                    <a:pt x="19" y="59"/>
                    <a:pt x="19" y="59"/>
                  </a:cubicBezTo>
                  <a:cubicBezTo>
                    <a:pt x="19" y="59"/>
                    <a:pt x="19" y="59"/>
                    <a:pt x="19" y="59"/>
                  </a:cubicBezTo>
                  <a:cubicBezTo>
                    <a:pt x="19" y="37"/>
                    <a:pt x="37" y="18"/>
                    <a:pt x="60" y="18"/>
                  </a:cubicBezTo>
                  <a:cubicBezTo>
                    <a:pt x="60" y="18"/>
                    <a:pt x="60" y="18"/>
                    <a:pt x="60" y="18"/>
                  </a:cubicBezTo>
                  <a:cubicBezTo>
                    <a:pt x="60" y="0"/>
                    <a:pt x="60" y="0"/>
                    <a:pt x="60" y="0"/>
                  </a:cubicBezTo>
                  <a:cubicBezTo>
                    <a:pt x="60" y="0"/>
                    <a:pt x="60" y="0"/>
                    <a:pt x="60" y="0"/>
                  </a:cubicBezTo>
                </a:path>
              </a:pathLst>
            </a:custGeom>
            <a:solidFill>
              <a:schemeClr val="accent3">
                <a:lumMod val="60000"/>
                <a:lumOff val="4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endParaRPr>
            </a:p>
          </p:txBody>
        </p:sp>
        <p:sp>
          <p:nvSpPr>
            <p:cNvPr id="167" name="TextBox 166"/>
            <p:cNvSpPr txBox="1"/>
            <p:nvPr/>
          </p:nvSpPr>
          <p:spPr>
            <a:xfrm>
              <a:off x="4086579" y="3065408"/>
              <a:ext cx="543739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400" b="1">
                  <a:solidFill>
                    <a:schemeClr val="tx2"/>
                  </a:solidFill>
                  <a:latin typeface="Arial" panose="020B0604020202020204" pitchFamily="34" charset="0"/>
                  <a:ea typeface="微软雅黑" panose="020B0503020204020204" pitchFamily="34" charset="-122"/>
                  <a:cs typeface="思源黑体 CN Regular" panose="020B0500000000000000" charset="-122"/>
                  <a:sym typeface="Arial" panose="020B0604020202020204" pitchFamily="34" charset="0"/>
                </a:rPr>
                <a:t>75%</a:t>
              </a:r>
            </a:p>
          </p:txBody>
        </p:sp>
      </p:grpSp>
      <p:grpSp>
        <p:nvGrpSpPr>
          <p:cNvPr id="57" name="Group 56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GrpSpPr/>
          <p:nvPr/>
        </p:nvGrpSpPr>
        <p:grpSpPr>
          <a:xfrm>
            <a:off x="4294881" y="2171266"/>
            <a:ext cx="639194" cy="788401"/>
            <a:chOff x="4965827" y="2077221"/>
            <a:chExt cx="639194" cy="788401"/>
          </a:xfrm>
        </p:grpSpPr>
        <p:sp>
          <p:nvSpPr>
            <p:cNvPr id="73" name="Freeform 71"/>
            <p:cNvSpPr>
              <a:spLocks noEditPoints="1"/>
            </p:cNvSpPr>
            <p:nvPr/>
          </p:nvSpPr>
          <p:spPr bwMode="auto">
            <a:xfrm>
              <a:off x="4965827" y="2077221"/>
              <a:ext cx="639194" cy="788401"/>
            </a:xfrm>
            <a:custGeom>
              <a:avLst/>
              <a:gdLst>
                <a:gd name="T0" fmla="*/ 60 w 120"/>
                <a:gd name="T1" fmla="*/ 148 h 148"/>
                <a:gd name="T2" fmla="*/ 0 w 120"/>
                <a:gd name="T3" fmla="*/ 60 h 148"/>
                <a:gd name="T4" fmla="*/ 60 w 120"/>
                <a:gd name="T5" fmla="*/ 0 h 148"/>
                <a:gd name="T6" fmla="*/ 120 w 120"/>
                <a:gd name="T7" fmla="*/ 60 h 148"/>
                <a:gd name="T8" fmla="*/ 60 w 120"/>
                <a:gd name="T9" fmla="*/ 148 h 148"/>
                <a:gd name="T10" fmla="*/ 60 w 120"/>
                <a:gd name="T11" fmla="*/ 19 h 148"/>
                <a:gd name="T12" fmla="*/ 18 w 120"/>
                <a:gd name="T13" fmla="*/ 60 h 148"/>
                <a:gd name="T14" fmla="*/ 60 w 120"/>
                <a:gd name="T15" fmla="*/ 101 h 148"/>
                <a:gd name="T16" fmla="*/ 101 w 120"/>
                <a:gd name="T17" fmla="*/ 60 h 148"/>
                <a:gd name="T18" fmla="*/ 60 w 120"/>
                <a:gd name="T19" fmla="*/ 19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0" h="148">
                  <a:moveTo>
                    <a:pt x="60" y="148"/>
                  </a:moveTo>
                  <a:cubicBezTo>
                    <a:pt x="43" y="148"/>
                    <a:pt x="0" y="93"/>
                    <a:pt x="0" y="60"/>
                  </a:cubicBezTo>
                  <a:cubicBezTo>
                    <a:pt x="0" y="27"/>
                    <a:pt x="27" y="0"/>
                    <a:pt x="60" y="0"/>
                  </a:cubicBezTo>
                  <a:cubicBezTo>
                    <a:pt x="93" y="0"/>
                    <a:pt x="120" y="27"/>
                    <a:pt x="120" y="60"/>
                  </a:cubicBezTo>
                  <a:cubicBezTo>
                    <a:pt x="120" y="93"/>
                    <a:pt x="76" y="148"/>
                    <a:pt x="60" y="148"/>
                  </a:cubicBezTo>
                  <a:moveTo>
                    <a:pt x="60" y="19"/>
                  </a:moveTo>
                  <a:cubicBezTo>
                    <a:pt x="37" y="19"/>
                    <a:pt x="18" y="37"/>
                    <a:pt x="18" y="60"/>
                  </a:cubicBezTo>
                  <a:cubicBezTo>
                    <a:pt x="18" y="82"/>
                    <a:pt x="37" y="101"/>
                    <a:pt x="60" y="101"/>
                  </a:cubicBezTo>
                  <a:cubicBezTo>
                    <a:pt x="83" y="101"/>
                    <a:pt x="101" y="82"/>
                    <a:pt x="101" y="60"/>
                  </a:cubicBezTo>
                  <a:cubicBezTo>
                    <a:pt x="101" y="37"/>
                    <a:pt x="83" y="19"/>
                    <a:pt x="60" y="19"/>
                  </a:cubicBezTo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endParaRPr>
            </a:p>
          </p:txBody>
        </p:sp>
        <p:sp>
          <p:nvSpPr>
            <p:cNvPr id="74" name="Freeform 72"/>
            <p:cNvSpPr/>
            <p:nvPr/>
          </p:nvSpPr>
          <p:spPr bwMode="auto">
            <a:xfrm>
              <a:off x="5286345" y="2178534"/>
              <a:ext cx="217363" cy="436568"/>
            </a:xfrm>
            <a:custGeom>
              <a:avLst/>
              <a:gdLst>
                <a:gd name="T0" fmla="*/ 0 w 41"/>
                <a:gd name="T1" fmla="*/ 0 h 82"/>
                <a:gd name="T2" fmla="*/ 0 w 41"/>
                <a:gd name="T3" fmla="*/ 82 h 82"/>
                <a:gd name="T4" fmla="*/ 41 w 41"/>
                <a:gd name="T5" fmla="*/ 41 h 82"/>
                <a:gd name="T6" fmla="*/ 0 w 41"/>
                <a:gd name="T7" fmla="*/ 0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1" h="82">
                  <a:moveTo>
                    <a:pt x="0" y="0"/>
                  </a:moveTo>
                  <a:cubicBezTo>
                    <a:pt x="0" y="82"/>
                    <a:pt x="0" y="82"/>
                    <a:pt x="0" y="82"/>
                  </a:cubicBezTo>
                  <a:cubicBezTo>
                    <a:pt x="23" y="82"/>
                    <a:pt x="41" y="63"/>
                    <a:pt x="41" y="41"/>
                  </a:cubicBezTo>
                  <a:cubicBezTo>
                    <a:pt x="41" y="18"/>
                    <a:pt x="23" y="0"/>
                    <a:pt x="0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endParaRPr>
            </a:p>
          </p:txBody>
        </p:sp>
        <p:sp>
          <p:nvSpPr>
            <p:cNvPr id="75" name="Freeform 73"/>
            <p:cNvSpPr>
              <a:spLocks noEditPoints="1"/>
            </p:cNvSpPr>
            <p:nvPr/>
          </p:nvSpPr>
          <p:spPr bwMode="auto">
            <a:xfrm>
              <a:off x="4965827" y="2077221"/>
              <a:ext cx="537881" cy="788401"/>
            </a:xfrm>
            <a:custGeom>
              <a:avLst/>
              <a:gdLst>
                <a:gd name="T0" fmla="*/ 60 w 101"/>
                <a:gd name="T1" fmla="*/ 19 h 148"/>
                <a:gd name="T2" fmla="*/ 60 w 101"/>
                <a:gd name="T3" fmla="*/ 19 h 148"/>
                <a:gd name="T4" fmla="*/ 101 w 101"/>
                <a:gd name="T5" fmla="*/ 60 h 148"/>
                <a:gd name="T6" fmla="*/ 101 w 101"/>
                <a:gd name="T7" fmla="*/ 60 h 148"/>
                <a:gd name="T8" fmla="*/ 60 w 101"/>
                <a:gd name="T9" fmla="*/ 19 h 148"/>
                <a:gd name="T10" fmla="*/ 60 w 101"/>
                <a:gd name="T11" fmla="*/ 0 h 148"/>
                <a:gd name="T12" fmla="*/ 0 w 101"/>
                <a:gd name="T13" fmla="*/ 60 h 148"/>
                <a:gd name="T14" fmla="*/ 60 w 101"/>
                <a:gd name="T15" fmla="*/ 148 h 148"/>
                <a:gd name="T16" fmla="*/ 60 w 101"/>
                <a:gd name="T17" fmla="*/ 101 h 148"/>
                <a:gd name="T18" fmla="*/ 60 w 101"/>
                <a:gd name="T19" fmla="*/ 101 h 148"/>
                <a:gd name="T20" fmla="*/ 18 w 101"/>
                <a:gd name="T21" fmla="*/ 60 h 148"/>
                <a:gd name="T22" fmla="*/ 18 w 101"/>
                <a:gd name="T23" fmla="*/ 60 h 148"/>
                <a:gd name="T24" fmla="*/ 18 w 101"/>
                <a:gd name="T25" fmla="*/ 60 h 148"/>
                <a:gd name="T26" fmla="*/ 60 w 101"/>
                <a:gd name="T27" fmla="*/ 19 h 148"/>
                <a:gd name="T28" fmla="*/ 60 w 101"/>
                <a:gd name="T29" fmla="*/ 19 h 148"/>
                <a:gd name="T30" fmla="*/ 60 w 101"/>
                <a:gd name="T31" fmla="*/ 0 h 148"/>
                <a:gd name="T32" fmla="*/ 60 w 101"/>
                <a:gd name="T33" fmla="*/ 0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00" h="148">
                  <a:moveTo>
                    <a:pt x="60" y="19"/>
                  </a:moveTo>
                  <a:cubicBezTo>
                    <a:pt x="60" y="19"/>
                    <a:pt x="60" y="19"/>
                    <a:pt x="60" y="19"/>
                  </a:cubicBezTo>
                  <a:cubicBezTo>
                    <a:pt x="83" y="19"/>
                    <a:pt x="101" y="37"/>
                    <a:pt x="101" y="60"/>
                  </a:cubicBezTo>
                  <a:cubicBezTo>
                    <a:pt x="101" y="60"/>
                    <a:pt x="101" y="60"/>
                    <a:pt x="101" y="60"/>
                  </a:cubicBezTo>
                  <a:cubicBezTo>
                    <a:pt x="101" y="37"/>
                    <a:pt x="83" y="19"/>
                    <a:pt x="60" y="19"/>
                  </a:cubicBezTo>
                  <a:moveTo>
                    <a:pt x="60" y="0"/>
                  </a:moveTo>
                  <a:cubicBezTo>
                    <a:pt x="27" y="0"/>
                    <a:pt x="0" y="27"/>
                    <a:pt x="0" y="60"/>
                  </a:cubicBezTo>
                  <a:cubicBezTo>
                    <a:pt x="0" y="93"/>
                    <a:pt x="43" y="148"/>
                    <a:pt x="60" y="148"/>
                  </a:cubicBezTo>
                  <a:cubicBezTo>
                    <a:pt x="60" y="101"/>
                    <a:pt x="60" y="101"/>
                    <a:pt x="60" y="101"/>
                  </a:cubicBezTo>
                  <a:cubicBezTo>
                    <a:pt x="60" y="101"/>
                    <a:pt x="60" y="101"/>
                    <a:pt x="60" y="101"/>
                  </a:cubicBezTo>
                  <a:cubicBezTo>
                    <a:pt x="37" y="101"/>
                    <a:pt x="18" y="82"/>
                    <a:pt x="18" y="60"/>
                  </a:cubicBezTo>
                  <a:cubicBezTo>
                    <a:pt x="18" y="60"/>
                    <a:pt x="18" y="60"/>
                    <a:pt x="18" y="60"/>
                  </a:cubicBezTo>
                  <a:cubicBezTo>
                    <a:pt x="18" y="60"/>
                    <a:pt x="18" y="60"/>
                    <a:pt x="18" y="60"/>
                  </a:cubicBezTo>
                  <a:cubicBezTo>
                    <a:pt x="18" y="37"/>
                    <a:pt x="37" y="19"/>
                    <a:pt x="60" y="19"/>
                  </a:cubicBezTo>
                  <a:cubicBezTo>
                    <a:pt x="60" y="19"/>
                    <a:pt x="60" y="19"/>
                    <a:pt x="60" y="19"/>
                  </a:cubicBezTo>
                  <a:cubicBezTo>
                    <a:pt x="60" y="0"/>
                    <a:pt x="60" y="0"/>
                    <a:pt x="60" y="0"/>
                  </a:cubicBezTo>
                  <a:cubicBezTo>
                    <a:pt x="60" y="0"/>
                    <a:pt x="60" y="0"/>
                    <a:pt x="60" y="0"/>
                  </a:cubicBezTo>
                </a:path>
              </a:pathLst>
            </a:custGeom>
            <a:solidFill>
              <a:schemeClr val="accent4">
                <a:lumMod val="60000"/>
                <a:lumOff val="4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endParaRPr>
            </a:p>
          </p:txBody>
        </p:sp>
        <p:sp>
          <p:nvSpPr>
            <p:cNvPr id="168" name="TextBox 167"/>
            <p:cNvSpPr txBox="1"/>
            <p:nvPr/>
          </p:nvSpPr>
          <p:spPr>
            <a:xfrm>
              <a:off x="5014953" y="2242929"/>
              <a:ext cx="543739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400" b="1">
                  <a:solidFill>
                    <a:schemeClr val="tx2"/>
                  </a:solidFill>
                  <a:latin typeface="Arial" panose="020B0604020202020204" pitchFamily="34" charset="0"/>
                  <a:ea typeface="微软雅黑" panose="020B0503020204020204" pitchFamily="34" charset="-122"/>
                  <a:cs typeface="思源黑体 CN Regular" panose="020B0500000000000000" charset="-122"/>
                  <a:sym typeface="Arial" panose="020B0604020202020204" pitchFamily="34" charset="0"/>
                </a:rPr>
                <a:t>99%</a:t>
              </a:r>
            </a:p>
          </p:txBody>
        </p:sp>
      </p:grpSp>
      <p:sp>
        <p:nvSpPr>
          <p:cNvPr id="182" name="TextBox 181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SpPr txBox="1"/>
          <p:nvPr/>
        </p:nvSpPr>
        <p:spPr>
          <a:xfrm>
            <a:off x="6511315" y="2175010"/>
            <a:ext cx="2236473" cy="369314"/>
          </a:xfrm>
          <a:prstGeom prst="rect">
            <a:avLst/>
          </a:prstGeom>
          <a:noFill/>
        </p:spPr>
        <p:txBody>
          <a:bodyPr wrap="none" lIns="91422" tIns="45711" rIns="91422" bIns="45711" rtlCol="0">
            <a:spAutoFit/>
          </a:bodyPr>
          <a:lstStyle/>
          <a:p>
            <a:r>
              <a:rPr lang="en-US" b="1">
                <a:solidFill>
                  <a:schemeClr val="tx2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等线" panose="02010600030101010101" charset="-122"/>
                <a:sym typeface="Arial" panose="020B0604020202020204" pitchFamily="34" charset="0"/>
              </a:rPr>
              <a:t>Data Chart Sample</a:t>
            </a:r>
            <a:endParaRPr lang="id-ID" b="1">
              <a:solidFill>
                <a:schemeClr val="tx2"/>
              </a:solidFill>
              <a:latin typeface="Arial" panose="020B0604020202020204" pitchFamily="34" charset="0"/>
              <a:ea typeface="微软雅黑" panose="020B0503020204020204" pitchFamily="34" charset="-122"/>
              <a:cs typeface="等线" panose="02010600030101010101" charset="-122"/>
              <a:sym typeface="Arial" panose="020B0604020202020204" pitchFamily="34" charset="0"/>
            </a:endParaRPr>
          </a:p>
        </p:txBody>
      </p:sp>
      <p:grpSp>
        <p:nvGrpSpPr>
          <p:cNvPr id="183" name="Group 182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GrpSpPr/>
          <p:nvPr/>
        </p:nvGrpSpPr>
        <p:grpSpPr>
          <a:xfrm>
            <a:off x="6511316" y="2460808"/>
            <a:ext cx="4387766" cy="923312"/>
            <a:chOff x="12238818" y="4933683"/>
            <a:chExt cx="8775532" cy="1846624"/>
          </a:xfrm>
        </p:grpSpPr>
        <p:sp>
          <p:nvSpPr>
            <p:cNvPr id="184" name="TextBox 183"/>
            <p:cNvSpPr txBox="1"/>
            <p:nvPr/>
          </p:nvSpPr>
          <p:spPr>
            <a:xfrm>
              <a:off x="15110671" y="5136793"/>
              <a:ext cx="5903678" cy="1473574"/>
            </a:xfrm>
            <a:prstGeom prst="rect">
              <a:avLst/>
            </a:prstGeom>
            <a:noFill/>
          </p:spPr>
          <p:txBody>
            <a:bodyPr wrap="square" lIns="91422" tIns="45711" rIns="91422" bIns="45711" rtlCol="0">
              <a:spAutoFit/>
            </a:bodyPr>
            <a:lstStyle/>
            <a:p>
              <a:pPr>
                <a:lnSpc>
                  <a:spcPct val="120000"/>
                </a:lnSpc>
              </a:pPr>
              <a:r>
                <a:rPr lang="en-US" sz="1200">
                  <a:solidFill>
                    <a:schemeClr val="tx2"/>
                  </a:solidFill>
                  <a:latin typeface="Arial" panose="020B0604020202020204" pitchFamily="34" charset="0"/>
                  <a:ea typeface="微软雅黑" panose="020B0503020204020204" pitchFamily="34" charset="-122"/>
                  <a:cs typeface="思源黑体 CN Regular" panose="020B0500000000000000" charset="-122"/>
                  <a:sym typeface="Arial" panose="020B0604020202020204" pitchFamily="34" charset="0"/>
                </a:rPr>
                <a:t>Lorem ipsum dolor sit amet, conectatetur teis adipiscing elit. Pellentesque consequat ta libero teus maximus. </a:t>
              </a:r>
            </a:p>
          </p:txBody>
        </p:sp>
        <p:sp>
          <p:nvSpPr>
            <p:cNvPr id="185" name="TextBox 184"/>
            <p:cNvSpPr txBox="1"/>
            <p:nvPr/>
          </p:nvSpPr>
          <p:spPr>
            <a:xfrm>
              <a:off x="12238818" y="4933683"/>
              <a:ext cx="2869944" cy="1846624"/>
            </a:xfrm>
            <a:prstGeom prst="rect">
              <a:avLst/>
            </a:prstGeom>
            <a:noFill/>
          </p:spPr>
          <p:txBody>
            <a:bodyPr wrap="none" lIns="91422" tIns="45711" rIns="91422" bIns="45711" rtlCol="0">
              <a:spAutoFit/>
            </a:bodyPr>
            <a:lstStyle/>
            <a:p>
              <a:r>
                <a:rPr lang="en-US" sz="5400">
                  <a:solidFill>
                    <a:schemeClr val="accent2"/>
                  </a:solidFill>
                  <a:latin typeface="Arial" panose="020B0604020202020204" pitchFamily="34" charset="0"/>
                  <a:ea typeface="微软雅黑" panose="020B0503020204020204" pitchFamily="34" charset="-122"/>
                  <a:cs typeface="思源黑体 CN Regular" panose="020B0500000000000000" charset="-122"/>
                  <a:sym typeface="Arial" panose="020B0604020202020204" pitchFamily="34" charset="0"/>
                </a:rPr>
                <a:t>68K</a:t>
              </a:r>
              <a:endParaRPr lang="id-ID" sz="5400">
                <a:solidFill>
                  <a:schemeClr val="accent2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endParaRPr>
            </a:p>
          </p:txBody>
        </p:sp>
      </p:grpSp>
      <p:sp>
        <p:nvSpPr>
          <p:cNvPr id="186" name="Rectangle 185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SpPr/>
          <p:nvPr/>
        </p:nvSpPr>
        <p:spPr>
          <a:xfrm>
            <a:off x="6511315" y="3418128"/>
            <a:ext cx="4387767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>
                <a:solidFill>
                  <a:schemeClr val="tx2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rPr>
              <a:t>Click here to add content, content to match the title. . </a:t>
            </a:r>
            <a:r>
              <a:rPr lang="en-US" sz="1200" dirty="0" err="1">
                <a:solidFill>
                  <a:schemeClr val="tx2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rPr>
              <a:t>Pellentesque</a:t>
            </a:r>
            <a:r>
              <a:rPr lang="en-US" sz="1200" dirty="0">
                <a:solidFill>
                  <a:schemeClr val="tx2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rPr>
              <a:t> </a:t>
            </a:r>
            <a:r>
              <a:rPr lang="en-US" sz="1200" dirty="0" err="1">
                <a:solidFill>
                  <a:schemeClr val="tx2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rPr>
              <a:t>consequat</a:t>
            </a:r>
            <a:r>
              <a:rPr lang="en-US" sz="1200" dirty="0">
                <a:solidFill>
                  <a:schemeClr val="tx2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rPr>
              <a:t> libero tempus </a:t>
            </a:r>
            <a:r>
              <a:rPr lang="en-US" sz="1200" dirty="0" err="1">
                <a:solidFill>
                  <a:schemeClr val="tx2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rPr>
              <a:t>felis</a:t>
            </a:r>
            <a:r>
              <a:rPr lang="en-US" sz="1200" dirty="0">
                <a:solidFill>
                  <a:schemeClr val="tx2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rPr>
              <a:t> </a:t>
            </a:r>
            <a:r>
              <a:rPr lang="en-US" sz="1200" dirty="0" err="1">
                <a:solidFill>
                  <a:schemeClr val="tx2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rPr>
              <a:t>ornare</a:t>
            </a:r>
            <a:r>
              <a:rPr lang="en-US" sz="1200" dirty="0">
                <a:solidFill>
                  <a:schemeClr val="tx2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rPr>
              <a:t> maximus. </a:t>
            </a:r>
          </a:p>
          <a:p>
            <a:endParaRPr lang="en-US" sz="1200" dirty="0">
              <a:solidFill>
                <a:schemeClr val="tx2"/>
              </a:solidFill>
              <a:latin typeface="Arial" panose="020B0604020202020204" pitchFamily="34" charset="0"/>
              <a:ea typeface="微软雅黑" panose="020B0503020204020204" pitchFamily="34" charset="-122"/>
              <a:cs typeface="思源黑体 CN Regular" panose="020B0500000000000000" charset="-122"/>
              <a:sym typeface="Arial" panose="020B0604020202020204" pitchFamily="34" charset="0"/>
            </a:endParaRPr>
          </a:p>
          <a:p>
            <a:r>
              <a:rPr lang="en-US" sz="1200" dirty="0" err="1">
                <a:solidFill>
                  <a:schemeClr val="tx2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rPr>
              <a:t>Aliquam</a:t>
            </a:r>
            <a:r>
              <a:rPr lang="en-US" sz="1200" dirty="0">
                <a:solidFill>
                  <a:schemeClr val="tx2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rPr>
              <a:t> </a:t>
            </a:r>
            <a:r>
              <a:rPr lang="en-US" sz="1200" dirty="0" err="1">
                <a:solidFill>
                  <a:schemeClr val="tx2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rPr>
              <a:t>lobortis</a:t>
            </a:r>
            <a:r>
              <a:rPr lang="en-US" sz="1200" dirty="0">
                <a:solidFill>
                  <a:schemeClr val="tx2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rPr>
              <a:t> id </a:t>
            </a:r>
            <a:r>
              <a:rPr lang="en-US" sz="1200" dirty="0" err="1">
                <a:solidFill>
                  <a:schemeClr val="tx2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rPr>
              <a:t>leo</a:t>
            </a:r>
            <a:r>
              <a:rPr lang="en-US" sz="1200" dirty="0">
                <a:solidFill>
                  <a:schemeClr val="tx2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rPr>
              <a:t> a </a:t>
            </a:r>
            <a:r>
              <a:rPr lang="en-US" sz="1200" dirty="0" err="1">
                <a:solidFill>
                  <a:schemeClr val="tx2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rPr>
              <a:t>euismod</a:t>
            </a:r>
            <a:r>
              <a:rPr lang="en-US" sz="1200" dirty="0">
                <a:solidFill>
                  <a:schemeClr val="tx2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rPr>
              <a:t>. </a:t>
            </a:r>
            <a:r>
              <a:rPr lang="en-US" sz="1200" dirty="0" err="1">
                <a:solidFill>
                  <a:schemeClr val="tx2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rPr>
              <a:t>Phasellus</a:t>
            </a:r>
            <a:r>
              <a:rPr lang="en-US" sz="1200" dirty="0">
                <a:solidFill>
                  <a:schemeClr val="tx2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rPr>
              <a:t> </a:t>
            </a:r>
            <a:r>
              <a:rPr lang="en-US" sz="1200" dirty="0" err="1">
                <a:solidFill>
                  <a:schemeClr val="tx2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rPr>
              <a:t>euismod</a:t>
            </a:r>
            <a:r>
              <a:rPr lang="en-US" sz="1200" dirty="0">
                <a:solidFill>
                  <a:schemeClr val="tx2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rPr>
              <a:t> </a:t>
            </a:r>
            <a:r>
              <a:rPr lang="en-US" sz="1200" dirty="0" err="1">
                <a:solidFill>
                  <a:schemeClr val="tx2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rPr>
              <a:t>metus</a:t>
            </a:r>
            <a:r>
              <a:rPr lang="en-US" sz="1200" dirty="0">
                <a:solidFill>
                  <a:schemeClr val="tx2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rPr>
              <a:t> sed </a:t>
            </a:r>
            <a:r>
              <a:rPr lang="en-US" sz="1200" dirty="0" err="1">
                <a:solidFill>
                  <a:schemeClr val="tx2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rPr>
              <a:t>turpis</a:t>
            </a:r>
            <a:r>
              <a:rPr lang="en-US" sz="1200" dirty="0">
                <a:solidFill>
                  <a:schemeClr val="tx2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rPr>
              <a:t> </a:t>
            </a:r>
            <a:r>
              <a:rPr lang="en-US" sz="1200" dirty="0" err="1">
                <a:solidFill>
                  <a:schemeClr val="tx2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rPr>
              <a:t>aliquam</a:t>
            </a:r>
            <a:r>
              <a:rPr lang="en-US" sz="1200" dirty="0">
                <a:solidFill>
                  <a:schemeClr val="tx2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rPr>
              <a:t> </a:t>
            </a:r>
            <a:r>
              <a:rPr lang="en-US" sz="1200" dirty="0" err="1">
                <a:solidFill>
                  <a:schemeClr val="tx2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rPr>
              <a:t>tincidunt</a:t>
            </a:r>
            <a:r>
              <a:rPr lang="en-US" sz="1200" dirty="0">
                <a:solidFill>
                  <a:schemeClr val="tx2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rPr>
              <a:t>. Maecenas sed </a:t>
            </a:r>
            <a:r>
              <a:rPr lang="en-US" sz="1200" dirty="0" err="1">
                <a:solidFill>
                  <a:schemeClr val="tx2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rPr>
              <a:t>volutpat</a:t>
            </a:r>
            <a:r>
              <a:rPr lang="en-US" sz="1200" dirty="0">
                <a:solidFill>
                  <a:schemeClr val="tx2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rPr>
              <a:t> </a:t>
            </a:r>
            <a:r>
              <a:rPr lang="en-US" sz="1200" dirty="0" err="1">
                <a:solidFill>
                  <a:schemeClr val="tx2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rPr>
              <a:t>augue</a:t>
            </a:r>
            <a:r>
              <a:rPr lang="en-US" sz="1200" dirty="0">
                <a:solidFill>
                  <a:schemeClr val="tx2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rPr>
              <a:t>. </a:t>
            </a:r>
            <a:endParaRPr lang="en-US" sz="1200" dirty="0">
              <a:solidFill>
                <a:schemeClr val="tx2"/>
              </a:solidFill>
              <a:effectLst/>
              <a:latin typeface="Arial" panose="020B0604020202020204" pitchFamily="34" charset="0"/>
              <a:ea typeface="微软雅黑" panose="020B0503020204020204" pitchFamily="34" charset="-122"/>
              <a:cs typeface="思源黑体 CN Regular" panose="020B0500000000000000" charset="-122"/>
              <a:sym typeface="Arial" panose="020B0604020202020204" pitchFamily="34" charset="0"/>
            </a:endParaRPr>
          </a:p>
        </p:txBody>
      </p:sp>
      <p:grpSp>
        <p:nvGrpSpPr>
          <p:cNvPr id="187" name="Group 186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GrpSpPr/>
          <p:nvPr/>
        </p:nvGrpSpPr>
        <p:grpSpPr>
          <a:xfrm>
            <a:off x="9813772" y="4555078"/>
            <a:ext cx="1384319" cy="803628"/>
            <a:chOff x="10262237" y="4428203"/>
            <a:chExt cx="1384319" cy="803628"/>
          </a:xfrm>
        </p:grpSpPr>
        <p:sp>
          <p:nvSpPr>
            <p:cNvPr id="188" name="Content Placeholder 2"/>
            <p:cNvSpPr txBox="1"/>
            <p:nvPr/>
          </p:nvSpPr>
          <p:spPr>
            <a:xfrm>
              <a:off x="10262237" y="4428203"/>
              <a:ext cx="1384319" cy="621719"/>
            </a:xfrm>
            <a:prstGeom prst="rect">
              <a:avLst/>
            </a:prstGeom>
          </p:spPr>
          <p:txBody>
            <a:bodyPr vert="horz" lIns="45720" tIns="22860" rIns="45720" bIns="22860" rtlCol="0">
              <a:noAutofit/>
            </a:bodyPr>
            <a:lstStyle>
              <a:lvl1pPr marL="342900" indent="-3429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bg1">
                      <a:lumMod val="65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742950" indent="-28575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–"/>
                <a:defRPr sz="1200" kern="1200">
                  <a:solidFill>
                    <a:schemeClr val="bg1">
                      <a:lumMod val="65000"/>
                    </a:schemeClr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bg1">
                      <a:lumMod val="65000"/>
                    </a:schemeClr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–"/>
                <a:defRPr sz="1050" kern="1200">
                  <a:solidFill>
                    <a:schemeClr val="bg1">
                      <a:lumMod val="65000"/>
                    </a:schemeClr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»"/>
                <a:defRPr sz="1050" kern="1200">
                  <a:solidFill>
                    <a:schemeClr val="bg1">
                      <a:lumMod val="65000"/>
                    </a:schemeClr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None/>
              </a:pPr>
              <a:r>
                <a:rPr lang="en-US" sz="2800" b="1">
                  <a:solidFill>
                    <a:schemeClr val="accent2"/>
                  </a:solidFill>
                  <a:latin typeface="Arial" panose="020B0604020202020204" pitchFamily="34" charset="0"/>
                  <a:ea typeface="微软雅黑" panose="020B0503020204020204" pitchFamily="34" charset="-122"/>
                  <a:cs typeface="思源黑体 CN Regular" panose="020B0500000000000000" charset="-122"/>
                  <a:sym typeface="Arial" panose="020B0604020202020204" pitchFamily="34" charset="0"/>
                </a:rPr>
                <a:t>75%</a:t>
              </a:r>
            </a:p>
          </p:txBody>
        </p:sp>
        <p:sp>
          <p:nvSpPr>
            <p:cNvPr id="189" name="Title 1"/>
            <p:cNvSpPr txBox="1"/>
            <p:nvPr/>
          </p:nvSpPr>
          <p:spPr>
            <a:xfrm>
              <a:off x="10276636" y="4739063"/>
              <a:ext cx="1369920" cy="492768"/>
            </a:xfrm>
            <a:prstGeom prst="rect">
              <a:avLst/>
            </a:prstGeom>
          </p:spPr>
          <p:txBody>
            <a:bodyPr vert="horz" lIns="45720" tIns="22860" rIns="45720" bIns="22860" rtlCol="0" anchor="ctr">
              <a:noAutofit/>
            </a:bodyPr>
            <a:lstStyle>
              <a:lvl1pPr algn="l" defTabSz="914400" rtl="0" eaLnBrk="1" latinLnBrk="0" hangingPunct="1">
                <a:spcBef>
                  <a:spcPct val="0"/>
                </a:spcBef>
                <a:buNone/>
                <a:defRPr sz="3200" b="0" kern="1200">
                  <a:solidFill>
                    <a:schemeClr val="tx1">
                      <a:lumMod val="65000"/>
                      <a:lumOff val="35000"/>
                    </a:schemeClr>
                  </a:solidFill>
                  <a:latin typeface="Source Sans Pro Light" panose="020B0403030403020204" pitchFamily="34" charset="0"/>
                  <a:ea typeface="+mj-ea"/>
                  <a:cs typeface="+mj-cs"/>
                </a:defRPr>
              </a:lvl1pPr>
            </a:lstStyle>
            <a:p>
              <a:r>
                <a:rPr lang="en-US" sz="1400">
                  <a:solidFill>
                    <a:schemeClr val="tx2"/>
                  </a:solidFill>
                  <a:latin typeface="Arial" panose="020B0604020202020204" pitchFamily="34" charset="0"/>
                  <a:ea typeface="微软雅黑" panose="020B0503020204020204" pitchFamily="34" charset="-122"/>
                  <a:cs typeface="思源黑体 CN Regular" panose="020B0500000000000000" charset="-122"/>
                  <a:sym typeface="Arial" panose="020B0604020202020204" pitchFamily="34" charset="0"/>
                </a:rPr>
                <a:t>Female Users</a:t>
              </a:r>
            </a:p>
          </p:txBody>
        </p:sp>
      </p:grpSp>
      <p:grpSp>
        <p:nvGrpSpPr>
          <p:cNvPr id="190" name="Group 189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GrpSpPr/>
          <p:nvPr/>
        </p:nvGrpSpPr>
        <p:grpSpPr>
          <a:xfrm>
            <a:off x="9792664" y="5358706"/>
            <a:ext cx="1384319" cy="803031"/>
            <a:chOff x="10241129" y="5231831"/>
            <a:chExt cx="1384319" cy="803031"/>
          </a:xfrm>
        </p:grpSpPr>
        <p:sp>
          <p:nvSpPr>
            <p:cNvPr id="191" name="Content Placeholder 2"/>
            <p:cNvSpPr txBox="1"/>
            <p:nvPr/>
          </p:nvSpPr>
          <p:spPr>
            <a:xfrm>
              <a:off x="10241129" y="5231831"/>
              <a:ext cx="1384319" cy="621719"/>
            </a:xfrm>
            <a:prstGeom prst="rect">
              <a:avLst/>
            </a:prstGeom>
          </p:spPr>
          <p:txBody>
            <a:bodyPr vert="horz" lIns="45720" tIns="22860" rIns="45720" bIns="22860" rtlCol="0">
              <a:noAutofit/>
            </a:bodyPr>
            <a:lstStyle>
              <a:lvl1pPr marL="342900" indent="-3429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bg1">
                      <a:lumMod val="65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742950" indent="-28575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–"/>
                <a:defRPr sz="1200" kern="1200">
                  <a:solidFill>
                    <a:schemeClr val="bg1">
                      <a:lumMod val="65000"/>
                    </a:schemeClr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bg1">
                      <a:lumMod val="65000"/>
                    </a:schemeClr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–"/>
                <a:defRPr sz="1050" kern="1200">
                  <a:solidFill>
                    <a:schemeClr val="bg1">
                      <a:lumMod val="65000"/>
                    </a:schemeClr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»"/>
                <a:defRPr sz="1050" kern="1200">
                  <a:solidFill>
                    <a:schemeClr val="bg1">
                      <a:lumMod val="65000"/>
                    </a:schemeClr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None/>
              </a:pPr>
              <a:r>
                <a:rPr lang="en-US" sz="2800" b="1">
                  <a:solidFill>
                    <a:schemeClr val="accent3"/>
                  </a:solidFill>
                  <a:latin typeface="Arial" panose="020B0604020202020204" pitchFamily="34" charset="0"/>
                  <a:ea typeface="微软雅黑" panose="020B0503020204020204" pitchFamily="34" charset="-122"/>
                  <a:cs typeface="思源黑体 CN Regular" panose="020B0500000000000000" charset="-122"/>
                  <a:sym typeface="Arial" panose="020B0604020202020204" pitchFamily="34" charset="0"/>
                </a:rPr>
                <a:t>60%</a:t>
              </a:r>
            </a:p>
          </p:txBody>
        </p:sp>
        <p:sp>
          <p:nvSpPr>
            <p:cNvPr id="192" name="Title 1"/>
            <p:cNvSpPr txBox="1"/>
            <p:nvPr/>
          </p:nvSpPr>
          <p:spPr>
            <a:xfrm>
              <a:off x="10255529" y="5542095"/>
              <a:ext cx="1369919" cy="492767"/>
            </a:xfrm>
            <a:prstGeom prst="rect">
              <a:avLst/>
            </a:prstGeom>
          </p:spPr>
          <p:txBody>
            <a:bodyPr vert="horz" lIns="45720" tIns="22860" rIns="45720" bIns="22860" rtlCol="0" anchor="ctr">
              <a:normAutofit/>
            </a:bodyPr>
            <a:lstStyle>
              <a:lvl1pPr algn="l" defTabSz="914400" rtl="0" eaLnBrk="1" latinLnBrk="0" hangingPunct="1">
                <a:spcBef>
                  <a:spcPct val="0"/>
                </a:spcBef>
                <a:buNone/>
                <a:defRPr sz="3200" b="0" kern="1200">
                  <a:solidFill>
                    <a:schemeClr val="tx1">
                      <a:lumMod val="65000"/>
                      <a:lumOff val="35000"/>
                    </a:schemeClr>
                  </a:solidFill>
                  <a:latin typeface="Source Sans Pro Light" panose="020B0403030403020204" pitchFamily="34" charset="0"/>
                  <a:ea typeface="+mj-ea"/>
                  <a:cs typeface="+mj-cs"/>
                </a:defRPr>
              </a:lvl1pPr>
            </a:lstStyle>
            <a:p>
              <a:r>
                <a:rPr lang="en-US" sz="1400">
                  <a:solidFill>
                    <a:schemeClr val="tx2"/>
                  </a:solidFill>
                  <a:latin typeface="Arial" panose="020B0604020202020204" pitchFamily="34" charset="0"/>
                  <a:ea typeface="微软雅黑" panose="020B0503020204020204" pitchFamily="34" charset="-122"/>
                  <a:cs typeface="思源黑体 CN Regular" panose="020B0500000000000000" charset="-122"/>
                  <a:sym typeface="Arial" panose="020B0604020202020204" pitchFamily="34" charset="0"/>
                </a:rPr>
                <a:t>Male Users</a:t>
              </a:r>
            </a:p>
          </p:txBody>
        </p:sp>
      </p:grpSp>
      <p:grpSp>
        <p:nvGrpSpPr>
          <p:cNvPr id="193" name="Group 192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GrpSpPr/>
          <p:nvPr/>
        </p:nvGrpSpPr>
        <p:grpSpPr>
          <a:xfrm>
            <a:off x="6642266" y="4662385"/>
            <a:ext cx="3046519" cy="503500"/>
            <a:chOff x="7090731" y="4535510"/>
            <a:chExt cx="3046519" cy="503500"/>
          </a:xfrm>
        </p:grpSpPr>
        <p:grpSp>
          <p:nvGrpSpPr>
            <p:cNvPr id="194" name="Group 193"/>
            <p:cNvGrpSpPr/>
            <p:nvPr/>
          </p:nvGrpSpPr>
          <p:grpSpPr>
            <a:xfrm>
              <a:off x="7090731" y="4535510"/>
              <a:ext cx="233399" cy="503500"/>
              <a:chOff x="4395788" y="2198688"/>
              <a:chExt cx="344488" cy="742951"/>
            </a:xfrm>
            <a:solidFill>
              <a:schemeClr val="accent3"/>
            </a:solidFill>
          </p:grpSpPr>
          <p:sp>
            <p:nvSpPr>
              <p:cNvPr id="222" name="Oval 221"/>
              <p:cNvSpPr>
                <a:spLocks noChangeArrowheads="1"/>
              </p:cNvSpPr>
              <p:nvPr/>
            </p:nvSpPr>
            <p:spPr bwMode="auto">
              <a:xfrm>
                <a:off x="4511675" y="2198688"/>
                <a:ext cx="109538" cy="112713"/>
              </a:xfrm>
              <a:prstGeom prst="ellipse">
                <a:avLst/>
              </a:prstGeom>
              <a:solidFill>
                <a:schemeClr val="accent2"/>
              </a:solidFill>
              <a:ln>
                <a:noFill/>
              </a:ln>
            </p:spPr>
            <p:txBody>
              <a:bodyPr vert="horz" wrap="square" lIns="45720" tIns="22860" rIns="45720" bIns="22860" numCol="1" anchor="t" anchorCtr="0" compatLnSpc="1"/>
              <a:lstStyle/>
              <a:p>
                <a:endParaRPr lang="en-US" sz="900">
                  <a:latin typeface="Arial" panose="020B0604020202020204" pitchFamily="34" charset="0"/>
                  <a:ea typeface="微软雅黑" panose="020B0503020204020204" pitchFamily="34" charset="-122"/>
                  <a:cs typeface="思源黑体 CN Regular" panose="020B0500000000000000" charset="-122"/>
                  <a:sym typeface="Arial" panose="020B0604020202020204" pitchFamily="34" charset="0"/>
                </a:endParaRPr>
              </a:p>
            </p:txBody>
          </p:sp>
          <p:sp>
            <p:nvSpPr>
              <p:cNvPr id="223" name="Freeform 7"/>
              <p:cNvSpPr/>
              <p:nvPr/>
            </p:nvSpPr>
            <p:spPr bwMode="auto">
              <a:xfrm>
                <a:off x="4395788" y="2333626"/>
                <a:ext cx="344488" cy="608013"/>
              </a:xfrm>
              <a:custGeom>
                <a:avLst/>
                <a:gdLst>
                  <a:gd name="T0" fmla="*/ 91 w 92"/>
                  <a:gd name="T1" fmla="*/ 60 h 162"/>
                  <a:gd name="T2" fmla="*/ 75 w 92"/>
                  <a:gd name="T3" fmla="*/ 10 h 162"/>
                  <a:gd name="T4" fmla="*/ 64 w 92"/>
                  <a:gd name="T5" fmla="*/ 0 h 162"/>
                  <a:gd name="T6" fmla="*/ 28 w 92"/>
                  <a:gd name="T7" fmla="*/ 0 h 162"/>
                  <a:gd name="T8" fmla="*/ 19 w 92"/>
                  <a:gd name="T9" fmla="*/ 5 h 162"/>
                  <a:gd name="T10" fmla="*/ 18 w 92"/>
                  <a:gd name="T11" fmla="*/ 7 h 162"/>
                  <a:gd name="T12" fmla="*/ 18 w 92"/>
                  <a:gd name="T13" fmla="*/ 7 h 162"/>
                  <a:gd name="T14" fmla="*/ 17 w 92"/>
                  <a:gd name="T15" fmla="*/ 8 h 162"/>
                  <a:gd name="T16" fmla="*/ 1 w 92"/>
                  <a:gd name="T17" fmla="*/ 60 h 162"/>
                  <a:gd name="T18" fmla="*/ 5 w 92"/>
                  <a:gd name="T19" fmla="*/ 68 h 162"/>
                  <a:gd name="T20" fmla="*/ 14 w 92"/>
                  <a:gd name="T21" fmla="*/ 64 h 162"/>
                  <a:gd name="T22" fmla="*/ 26 w 92"/>
                  <a:gd name="T23" fmla="*/ 23 h 162"/>
                  <a:gd name="T24" fmla="*/ 28 w 92"/>
                  <a:gd name="T25" fmla="*/ 23 h 162"/>
                  <a:gd name="T26" fmla="*/ 29 w 92"/>
                  <a:gd name="T27" fmla="*/ 23 h 162"/>
                  <a:gd name="T28" fmla="*/ 9 w 92"/>
                  <a:gd name="T29" fmla="*/ 96 h 162"/>
                  <a:gd name="T30" fmla="*/ 29 w 92"/>
                  <a:gd name="T31" fmla="*/ 96 h 162"/>
                  <a:gd name="T32" fmla="*/ 29 w 92"/>
                  <a:gd name="T33" fmla="*/ 154 h 162"/>
                  <a:gd name="T34" fmla="*/ 37 w 92"/>
                  <a:gd name="T35" fmla="*/ 162 h 162"/>
                  <a:gd name="T36" fmla="*/ 44 w 92"/>
                  <a:gd name="T37" fmla="*/ 154 h 162"/>
                  <a:gd name="T38" fmla="*/ 44 w 92"/>
                  <a:gd name="T39" fmla="*/ 96 h 162"/>
                  <a:gd name="T40" fmla="*/ 49 w 92"/>
                  <a:gd name="T41" fmla="*/ 96 h 162"/>
                  <a:gd name="T42" fmla="*/ 49 w 92"/>
                  <a:gd name="T43" fmla="*/ 154 h 162"/>
                  <a:gd name="T44" fmla="*/ 56 w 92"/>
                  <a:gd name="T45" fmla="*/ 162 h 162"/>
                  <a:gd name="T46" fmla="*/ 64 w 92"/>
                  <a:gd name="T47" fmla="*/ 154 h 162"/>
                  <a:gd name="T48" fmla="*/ 64 w 92"/>
                  <a:gd name="T49" fmla="*/ 96 h 162"/>
                  <a:gd name="T50" fmla="*/ 83 w 92"/>
                  <a:gd name="T51" fmla="*/ 96 h 162"/>
                  <a:gd name="T52" fmla="*/ 63 w 92"/>
                  <a:gd name="T53" fmla="*/ 23 h 162"/>
                  <a:gd name="T54" fmla="*/ 64 w 92"/>
                  <a:gd name="T55" fmla="*/ 23 h 162"/>
                  <a:gd name="T56" fmla="*/ 65 w 92"/>
                  <a:gd name="T57" fmla="*/ 23 h 162"/>
                  <a:gd name="T58" fmla="*/ 79 w 92"/>
                  <a:gd name="T59" fmla="*/ 64 h 162"/>
                  <a:gd name="T60" fmla="*/ 87 w 92"/>
                  <a:gd name="T61" fmla="*/ 68 h 162"/>
                  <a:gd name="T62" fmla="*/ 91 w 92"/>
                  <a:gd name="T63" fmla="*/ 60 h 1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92" h="162">
                    <a:moveTo>
                      <a:pt x="91" y="60"/>
                    </a:moveTo>
                    <a:cubicBezTo>
                      <a:pt x="75" y="10"/>
                      <a:pt x="75" y="10"/>
                      <a:pt x="75" y="10"/>
                    </a:cubicBezTo>
                    <a:cubicBezTo>
                      <a:pt x="74" y="4"/>
                      <a:pt x="70" y="0"/>
                      <a:pt x="64" y="0"/>
                    </a:cubicBezTo>
                    <a:cubicBezTo>
                      <a:pt x="28" y="0"/>
                      <a:pt x="28" y="0"/>
                      <a:pt x="28" y="0"/>
                    </a:cubicBezTo>
                    <a:cubicBezTo>
                      <a:pt x="24" y="0"/>
                      <a:pt x="21" y="2"/>
                      <a:pt x="19" y="5"/>
                    </a:cubicBezTo>
                    <a:cubicBezTo>
                      <a:pt x="18" y="5"/>
                      <a:pt x="18" y="6"/>
                      <a:pt x="18" y="7"/>
                    </a:cubicBezTo>
                    <a:cubicBezTo>
                      <a:pt x="18" y="7"/>
                      <a:pt x="18" y="7"/>
                      <a:pt x="18" y="7"/>
                    </a:cubicBezTo>
                    <a:cubicBezTo>
                      <a:pt x="18" y="7"/>
                      <a:pt x="17" y="8"/>
                      <a:pt x="17" y="8"/>
                    </a:cubicBezTo>
                    <a:cubicBezTo>
                      <a:pt x="1" y="60"/>
                      <a:pt x="1" y="60"/>
                      <a:pt x="1" y="60"/>
                    </a:cubicBezTo>
                    <a:cubicBezTo>
                      <a:pt x="0" y="63"/>
                      <a:pt x="2" y="67"/>
                      <a:pt x="5" y="68"/>
                    </a:cubicBezTo>
                    <a:cubicBezTo>
                      <a:pt x="9" y="69"/>
                      <a:pt x="13" y="67"/>
                      <a:pt x="14" y="64"/>
                    </a:cubicBezTo>
                    <a:cubicBezTo>
                      <a:pt x="26" y="23"/>
                      <a:pt x="26" y="23"/>
                      <a:pt x="26" y="23"/>
                    </a:cubicBezTo>
                    <a:cubicBezTo>
                      <a:pt x="27" y="23"/>
                      <a:pt x="27" y="23"/>
                      <a:pt x="28" y="23"/>
                    </a:cubicBezTo>
                    <a:cubicBezTo>
                      <a:pt x="29" y="23"/>
                      <a:pt x="29" y="23"/>
                      <a:pt x="29" y="23"/>
                    </a:cubicBezTo>
                    <a:cubicBezTo>
                      <a:pt x="9" y="96"/>
                      <a:pt x="9" y="96"/>
                      <a:pt x="9" y="96"/>
                    </a:cubicBezTo>
                    <a:cubicBezTo>
                      <a:pt x="29" y="96"/>
                      <a:pt x="29" y="96"/>
                      <a:pt x="29" y="96"/>
                    </a:cubicBezTo>
                    <a:cubicBezTo>
                      <a:pt x="29" y="154"/>
                      <a:pt x="29" y="154"/>
                      <a:pt x="29" y="154"/>
                    </a:cubicBezTo>
                    <a:cubicBezTo>
                      <a:pt x="29" y="159"/>
                      <a:pt x="33" y="162"/>
                      <a:pt x="37" y="162"/>
                    </a:cubicBezTo>
                    <a:cubicBezTo>
                      <a:pt x="41" y="162"/>
                      <a:pt x="44" y="159"/>
                      <a:pt x="44" y="154"/>
                    </a:cubicBezTo>
                    <a:cubicBezTo>
                      <a:pt x="44" y="96"/>
                      <a:pt x="44" y="96"/>
                      <a:pt x="44" y="96"/>
                    </a:cubicBezTo>
                    <a:cubicBezTo>
                      <a:pt x="49" y="96"/>
                      <a:pt x="49" y="96"/>
                      <a:pt x="49" y="96"/>
                    </a:cubicBezTo>
                    <a:cubicBezTo>
                      <a:pt x="49" y="154"/>
                      <a:pt x="49" y="154"/>
                      <a:pt x="49" y="154"/>
                    </a:cubicBezTo>
                    <a:cubicBezTo>
                      <a:pt x="49" y="159"/>
                      <a:pt x="52" y="162"/>
                      <a:pt x="56" y="162"/>
                    </a:cubicBezTo>
                    <a:cubicBezTo>
                      <a:pt x="60" y="162"/>
                      <a:pt x="64" y="159"/>
                      <a:pt x="64" y="154"/>
                    </a:cubicBezTo>
                    <a:cubicBezTo>
                      <a:pt x="64" y="96"/>
                      <a:pt x="64" y="96"/>
                      <a:pt x="64" y="96"/>
                    </a:cubicBezTo>
                    <a:cubicBezTo>
                      <a:pt x="83" y="96"/>
                      <a:pt x="83" y="96"/>
                      <a:pt x="83" y="96"/>
                    </a:cubicBezTo>
                    <a:cubicBezTo>
                      <a:pt x="63" y="23"/>
                      <a:pt x="63" y="23"/>
                      <a:pt x="63" y="23"/>
                    </a:cubicBezTo>
                    <a:cubicBezTo>
                      <a:pt x="64" y="23"/>
                      <a:pt x="64" y="23"/>
                      <a:pt x="64" y="23"/>
                    </a:cubicBezTo>
                    <a:cubicBezTo>
                      <a:pt x="65" y="23"/>
                      <a:pt x="65" y="23"/>
                      <a:pt x="65" y="23"/>
                    </a:cubicBezTo>
                    <a:cubicBezTo>
                      <a:pt x="79" y="64"/>
                      <a:pt x="79" y="64"/>
                      <a:pt x="79" y="64"/>
                    </a:cubicBezTo>
                    <a:cubicBezTo>
                      <a:pt x="80" y="67"/>
                      <a:pt x="84" y="69"/>
                      <a:pt x="87" y="68"/>
                    </a:cubicBezTo>
                    <a:cubicBezTo>
                      <a:pt x="91" y="67"/>
                      <a:pt x="92" y="63"/>
                      <a:pt x="91" y="60"/>
                    </a:cubicBez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txBody>
              <a:bodyPr vert="horz" wrap="square" lIns="45720" tIns="22860" rIns="45720" bIns="22860" numCol="1" anchor="t" anchorCtr="0" compatLnSpc="1"/>
              <a:lstStyle/>
              <a:p>
                <a:endParaRPr lang="en-US" sz="900">
                  <a:latin typeface="Arial" panose="020B0604020202020204" pitchFamily="34" charset="0"/>
                  <a:ea typeface="微软雅黑" panose="020B0503020204020204" pitchFamily="34" charset="-122"/>
                  <a:cs typeface="思源黑体 CN Regular" panose="020B0500000000000000" charset="-122"/>
                  <a:sym typeface="Arial" panose="020B0604020202020204" pitchFamily="34" charset="0"/>
                </a:endParaRPr>
              </a:p>
            </p:txBody>
          </p:sp>
        </p:grpSp>
        <p:grpSp>
          <p:nvGrpSpPr>
            <p:cNvPr id="195" name="Group 194"/>
            <p:cNvGrpSpPr/>
            <p:nvPr/>
          </p:nvGrpSpPr>
          <p:grpSpPr>
            <a:xfrm>
              <a:off x="7399968" y="4535510"/>
              <a:ext cx="233399" cy="503500"/>
              <a:chOff x="4395788" y="2198688"/>
              <a:chExt cx="344488" cy="742951"/>
            </a:xfrm>
            <a:solidFill>
              <a:schemeClr val="accent3"/>
            </a:solidFill>
          </p:grpSpPr>
          <p:sp>
            <p:nvSpPr>
              <p:cNvPr id="220" name="Oval 219"/>
              <p:cNvSpPr>
                <a:spLocks noChangeArrowheads="1"/>
              </p:cNvSpPr>
              <p:nvPr/>
            </p:nvSpPr>
            <p:spPr bwMode="auto">
              <a:xfrm>
                <a:off x="4511675" y="2198688"/>
                <a:ext cx="109538" cy="112713"/>
              </a:xfrm>
              <a:prstGeom prst="ellipse">
                <a:avLst/>
              </a:prstGeom>
              <a:solidFill>
                <a:schemeClr val="accent2"/>
              </a:solidFill>
              <a:ln>
                <a:noFill/>
              </a:ln>
            </p:spPr>
            <p:txBody>
              <a:bodyPr vert="horz" wrap="square" lIns="45720" tIns="22860" rIns="45720" bIns="22860" numCol="1" anchor="t" anchorCtr="0" compatLnSpc="1"/>
              <a:lstStyle/>
              <a:p>
                <a:endParaRPr lang="en-US" sz="900">
                  <a:latin typeface="Arial" panose="020B0604020202020204" pitchFamily="34" charset="0"/>
                  <a:ea typeface="微软雅黑" panose="020B0503020204020204" pitchFamily="34" charset="-122"/>
                  <a:cs typeface="思源黑体 CN Regular" panose="020B0500000000000000" charset="-122"/>
                  <a:sym typeface="Arial" panose="020B0604020202020204" pitchFamily="34" charset="0"/>
                </a:endParaRPr>
              </a:p>
            </p:txBody>
          </p:sp>
          <p:sp>
            <p:nvSpPr>
              <p:cNvPr id="221" name="Freeform 7"/>
              <p:cNvSpPr/>
              <p:nvPr/>
            </p:nvSpPr>
            <p:spPr bwMode="auto">
              <a:xfrm>
                <a:off x="4395788" y="2333626"/>
                <a:ext cx="344488" cy="608013"/>
              </a:xfrm>
              <a:custGeom>
                <a:avLst/>
                <a:gdLst>
                  <a:gd name="T0" fmla="*/ 91 w 92"/>
                  <a:gd name="T1" fmla="*/ 60 h 162"/>
                  <a:gd name="T2" fmla="*/ 75 w 92"/>
                  <a:gd name="T3" fmla="*/ 10 h 162"/>
                  <a:gd name="T4" fmla="*/ 64 w 92"/>
                  <a:gd name="T5" fmla="*/ 0 h 162"/>
                  <a:gd name="T6" fmla="*/ 28 w 92"/>
                  <a:gd name="T7" fmla="*/ 0 h 162"/>
                  <a:gd name="T8" fmla="*/ 19 w 92"/>
                  <a:gd name="T9" fmla="*/ 5 h 162"/>
                  <a:gd name="T10" fmla="*/ 18 w 92"/>
                  <a:gd name="T11" fmla="*/ 7 h 162"/>
                  <a:gd name="T12" fmla="*/ 18 w 92"/>
                  <a:gd name="T13" fmla="*/ 7 h 162"/>
                  <a:gd name="T14" fmla="*/ 17 w 92"/>
                  <a:gd name="T15" fmla="*/ 8 h 162"/>
                  <a:gd name="T16" fmla="*/ 1 w 92"/>
                  <a:gd name="T17" fmla="*/ 60 h 162"/>
                  <a:gd name="T18" fmla="*/ 5 w 92"/>
                  <a:gd name="T19" fmla="*/ 68 h 162"/>
                  <a:gd name="T20" fmla="*/ 14 w 92"/>
                  <a:gd name="T21" fmla="*/ 64 h 162"/>
                  <a:gd name="T22" fmla="*/ 26 w 92"/>
                  <a:gd name="T23" fmla="*/ 23 h 162"/>
                  <a:gd name="T24" fmla="*/ 28 w 92"/>
                  <a:gd name="T25" fmla="*/ 23 h 162"/>
                  <a:gd name="T26" fmla="*/ 29 w 92"/>
                  <a:gd name="T27" fmla="*/ 23 h 162"/>
                  <a:gd name="T28" fmla="*/ 9 w 92"/>
                  <a:gd name="T29" fmla="*/ 96 h 162"/>
                  <a:gd name="T30" fmla="*/ 29 w 92"/>
                  <a:gd name="T31" fmla="*/ 96 h 162"/>
                  <a:gd name="T32" fmla="*/ 29 w 92"/>
                  <a:gd name="T33" fmla="*/ 154 h 162"/>
                  <a:gd name="T34" fmla="*/ 37 w 92"/>
                  <a:gd name="T35" fmla="*/ 162 h 162"/>
                  <a:gd name="T36" fmla="*/ 44 w 92"/>
                  <a:gd name="T37" fmla="*/ 154 h 162"/>
                  <a:gd name="T38" fmla="*/ 44 w 92"/>
                  <a:gd name="T39" fmla="*/ 96 h 162"/>
                  <a:gd name="T40" fmla="*/ 49 w 92"/>
                  <a:gd name="T41" fmla="*/ 96 h 162"/>
                  <a:gd name="T42" fmla="*/ 49 w 92"/>
                  <a:gd name="T43" fmla="*/ 154 h 162"/>
                  <a:gd name="T44" fmla="*/ 56 w 92"/>
                  <a:gd name="T45" fmla="*/ 162 h 162"/>
                  <a:gd name="T46" fmla="*/ 64 w 92"/>
                  <a:gd name="T47" fmla="*/ 154 h 162"/>
                  <a:gd name="T48" fmla="*/ 64 w 92"/>
                  <a:gd name="T49" fmla="*/ 96 h 162"/>
                  <a:gd name="T50" fmla="*/ 83 w 92"/>
                  <a:gd name="T51" fmla="*/ 96 h 162"/>
                  <a:gd name="T52" fmla="*/ 63 w 92"/>
                  <a:gd name="T53" fmla="*/ 23 h 162"/>
                  <a:gd name="T54" fmla="*/ 64 w 92"/>
                  <a:gd name="T55" fmla="*/ 23 h 162"/>
                  <a:gd name="T56" fmla="*/ 65 w 92"/>
                  <a:gd name="T57" fmla="*/ 23 h 162"/>
                  <a:gd name="T58" fmla="*/ 79 w 92"/>
                  <a:gd name="T59" fmla="*/ 64 h 162"/>
                  <a:gd name="T60" fmla="*/ 87 w 92"/>
                  <a:gd name="T61" fmla="*/ 68 h 162"/>
                  <a:gd name="T62" fmla="*/ 91 w 92"/>
                  <a:gd name="T63" fmla="*/ 60 h 1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92" h="162">
                    <a:moveTo>
                      <a:pt x="91" y="60"/>
                    </a:moveTo>
                    <a:cubicBezTo>
                      <a:pt x="75" y="10"/>
                      <a:pt x="75" y="10"/>
                      <a:pt x="75" y="10"/>
                    </a:cubicBezTo>
                    <a:cubicBezTo>
                      <a:pt x="74" y="4"/>
                      <a:pt x="70" y="0"/>
                      <a:pt x="64" y="0"/>
                    </a:cubicBezTo>
                    <a:cubicBezTo>
                      <a:pt x="28" y="0"/>
                      <a:pt x="28" y="0"/>
                      <a:pt x="28" y="0"/>
                    </a:cubicBezTo>
                    <a:cubicBezTo>
                      <a:pt x="24" y="0"/>
                      <a:pt x="21" y="2"/>
                      <a:pt x="19" y="5"/>
                    </a:cubicBezTo>
                    <a:cubicBezTo>
                      <a:pt x="18" y="5"/>
                      <a:pt x="18" y="6"/>
                      <a:pt x="18" y="7"/>
                    </a:cubicBezTo>
                    <a:cubicBezTo>
                      <a:pt x="18" y="7"/>
                      <a:pt x="18" y="7"/>
                      <a:pt x="18" y="7"/>
                    </a:cubicBezTo>
                    <a:cubicBezTo>
                      <a:pt x="18" y="7"/>
                      <a:pt x="17" y="8"/>
                      <a:pt x="17" y="8"/>
                    </a:cubicBezTo>
                    <a:cubicBezTo>
                      <a:pt x="1" y="60"/>
                      <a:pt x="1" y="60"/>
                      <a:pt x="1" y="60"/>
                    </a:cubicBezTo>
                    <a:cubicBezTo>
                      <a:pt x="0" y="63"/>
                      <a:pt x="2" y="67"/>
                      <a:pt x="5" y="68"/>
                    </a:cubicBezTo>
                    <a:cubicBezTo>
                      <a:pt x="9" y="69"/>
                      <a:pt x="13" y="67"/>
                      <a:pt x="14" y="64"/>
                    </a:cubicBezTo>
                    <a:cubicBezTo>
                      <a:pt x="26" y="23"/>
                      <a:pt x="26" y="23"/>
                      <a:pt x="26" y="23"/>
                    </a:cubicBezTo>
                    <a:cubicBezTo>
                      <a:pt x="27" y="23"/>
                      <a:pt x="27" y="23"/>
                      <a:pt x="28" y="23"/>
                    </a:cubicBezTo>
                    <a:cubicBezTo>
                      <a:pt x="29" y="23"/>
                      <a:pt x="29" y="23"/>
                      <a:pt x="29" y="23"/>
                    </a:cubicBezTo>
                    <a:cubicBezTo>
                      <a:pt x="9" y="96"/>
                      <a:pt x="9" y="96"/>
                      <a:pt x="9" y="96"/>
                    </a:cubicBezTo>
                    <a:cubicBezTo>
                      <a:pt x="29" y="96"/>
                      <a:pt x="29" y="96"/>
                      <a:pt x="29" y="96"/>
                    </a:cubicBezTo>
                    <a:cubicBezTo>
                      <a:pt x="29" y="154"/>
                      <a:pt x="29" y="154"/>
                      <a:pt x="29" y="154"/>
                    </a:cubicBezTo>
                    <a:cubicBezTo>
                      <a:pt x="29" y="159"/>
                      <a:pt x="33" y="162"/>
                      <a:pt x="37" y="162"/>
                    </a:cubicBezTo>
                    <a:cubicBezTo>
                      <a:pt x="41" y="162"/>
                      <a:pt x="44" y="159"/>
                      <a:pt x="44" y="154"/>
                    </a:cubicBezTo>
                    <a:cubicBezTo>
                      <a:pt x="44" y="96"/>
                      <a:pt x="44" y="96"/>
                      <a:pt x="44" y="96"/>
                    </a:cubicBezTo>
                    <a:cubicBezTo>
                      <a:pt x="49" y="96"/>
                      <a:pt x="49" y="96"/>
                      <a:pt x="49" y="96"/>
                    </a:cubicBezTo>
                    <a:cubicBezTo>
                      <a:pt x="49" y="154"/>
                      <a:pt x="49" y="154"/>
                      <a:pt x="49" y="154"/>
                    </a:cubicBezTo>
                    <a:cubicBezTo>
                      <a:pt x="49" y="159"/>
                      <a:pt x="52" y="162"/>
                      <a:pt x="56" y="162"/>
                    </a:cubicBezTo>
                    <a:cubicBezTo>
                      <a:pt x="60" y="162"/>
                      <a:pt x="64" y="159"/>
                      <a:pt x="64" y="154"/>
                    </a:cubicBezTo>
                    <a:cubicBezTo>
                      <a:pt x="64" y="96"/>
                      <a:pt x="64" y="96"/>
                      <a:pt x="64" y="96"/>
                    </a:cubicBezTo>
                    <a:cubicBezTo>
                      <a:pt x="83" y="96"/>
                      <a:pt x="83" y="96"/>
                      <a:pt x="83" y="96"/>
                    </a:cubicBezTo>
                    <a:cubicBezTo>
                      <a:pt x="63" y="23"/>
                      <a:pt x="63" y="23"/>
                      <a:pt x="63" y="23"/>
                    </a:cubicBezTo>
                    <a:cubicBezTo>
                      <a:pt x="64" y="23"/>
                      <a:pt x="64" y="23"/>
                      <a:pt x="64" y="23"/>
                    </a:cubicBezTo>
                    <a:cubicBezTo>
                      <a:pt x="65" y="23"/>
                      <a:pt x="65" y="23"/>
                      <a:pt x="65" y="23"/>
                    </a:cubicBezTo>
                    <a:cubicBezTo>
                      <a:pt x="79" y="64"/>
                      <a:pt x="79" y="64"/>
                      <a:pt x="79" y="64"/>
                    </a:cubicBezTo>
                    <a:cubicBezTo>
                      <a:pt x="80" y="67"/>
                      <a:pt x="84" y="69"/>
                      <a:pt x="87" y="68"/>
                    </a:cubicBezTo>
                    <a:cubicBezTo>
                      <a:pt x="91" y="67"/>
                      <a:pt x="92" y="63"/>
                      <a:pt x="91" y="60"/>
                    </a:cubicBez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txBody>
              <a:bodyPr vert="horz" wrap="square" lIns="45720" tIns="22860" rIns="45720" bIns="22860" numCol="1" anchor="t" anchorCtr="0" compatLnSpc="1"/>
              <a:lstStyle/>
              <a:p>
                <a:endParaRPr lang="en-US" sz="900">
                  <a:latin typeface="Arial" panose="020B0604020202020204" pitchFamily="34" charset="0"/>
                  <a:ea typeface="微软雅黑" panose="020B0503020204020204" pitchFamily="34" charset="-122"/>
                  <a:cs typeface="思源黑体 CN Regular" panose="020B0500000000000000" charset="-122"/>
                  <a:sym typeface="Arial" panose="020B0604020202020204" pitchFamily="34" charset="0"/>
                </a:endParaRPr>
              </a:p>
            </p:txBody>
          </p:sp>
        </p:grpSp>
        <p:grpSp>
          <p:nvGrpSpPr>
            <p:cNvPr id="196" name="Group 195"/>
            <p:cNvGrpSpPr/>
            <p:nvPr/>
          </p:nvGrpSpPr>
          <p:grpSpPr>
            <a:xfrm>
              <a:off x="7710751" y="4535510"/>
              <a:ext cx="233399" cy="503500"/>
              <a:chOff x="4395788" y="2198688"/>
              <a:chExt cx="344488" cy="742951"/>
            </a:xfrm>
            <a:solidFill>
              <a:schemeClr val="accent3"/>
            </a:solidFill>
          </p:grpSpPr>
          <p:sp>
            <p:nvSpPr>
              <p:cNvPr id="218" name="Oval 217"/>
              <p:cNvSpPr>
                <a:spLocks noChangeArrowheads="1"/>
              </p:cNvSpPr>
              <p:nvPr/>
            </p:nvSpPr>
            <p:spPr bwMode="auto">
              <a:xfrm>
                <a:off x="4511675" y="2198688"/>
                <a:ext cx="109538" cy="112713"/>
              </a:xfrm>
              <a:prstGeom prst="ellipse">
                <a:avLst/>
              </a:prstGeom>
              <a:solidFill>
                <a:schemeClr val="accent2"/>
              </a:solidFill>
              <a:ln>
                <a:noFill/>
              </a:ln>
            </p:spPr>
            <p:txBody>
              <a:bodyPr vert="horz" wrap="square" lIns="45720" tIns="22860" rIns="45720" bIns="22860" numCol="1" anchor="t" anchorCtr="0" compatLnSpc="1"/>
              <a:lstStyle/>
              <a:p>
                <a:endParaRPr lang="en-US" sz="900">
                  <a:latin typeface="Arial" panose="020B0604020202020204" pitchFamily="34" charset="0"/>
                  <a:ea typeface="微软雅黑" panose="020B0503020204020204" pitchFamily="34" charset="-122"/>
                  <a:cs typeface="思源黑体 CN Regular" panose="020B0500000000000000" charset="-122"/>
                  <a:sym typeface="Arial" panose="020B0604020202020204" pitchFamily="34" charset="0"/>
                </a:endParaRPr>
              </a:p>
            </p:txBody>
          </p:sp>
          <p:sp>
            <p:nvSpPr>
              <p:cNvPr id="219" name="Freeform 7"/>
              <p:cNvSpPr/>
              <p:nvPr/>
            </p:nvSpPr>
            <p:spPr bwMode="auto">
              <a:xfrm>
                <a:off x="4395788" y="2333626"/>
                <a:ext cx="344488" cy="608013"/>
              </a:xfrm>
              <a:custGeom>
                <a:avLst/>
                <a:gdLst>
                  <a:gd name="T0" fmla="*/ 91 w 92"/>
                  <a:gd name="T1" fmla="*/ 60 h 162"/>
                  <a:gd name="T2" fmla="*/ 75 w 92"/>
                  <a:gd name="T3" fmla="*/ 10 h 162"/>
                  <a:gd name="T4" fmla="*/ 64 w 92"/>
                  <a:gd name="T5" fmla="*/ 0 h 162"/>
                  <a:gd name="T6" fmla="*/ 28 w 92"/>
                  <a:gd name="T7" fmla="*/ 0 h 162"/>
                  <a:gd name="T8" fmla="*/ 19 w 92"/>
                  <a:gd name="T9" fmla="*/ 5 h 162"/>
                  <a:gd name="T10" fmla="*/ 18 w 92"/>
                  <a:gd name="T11" fmla="*/ 7 h 162"/>
                  <a:gd name="T12" fmla="*/ 18 w 92"/>
                  <a:gd name="T13" fmla="*/ 7 h 162"/>
                  <a:gd name="T14" fmla="*/ 17 w 92"/>
                  <a:gd name="T15" fmla="*/ 8 h 162"/>
                  <a:gd name="T16" fmla="*/ 1 w 92"/>
                  <a:gd name="T17" fmla="*/ 60 h 162"/>
                  <a:gd name="T18" fmla="*/ 5 w 92"/>
                  <a:gd name="T19" fmla="*/ 68 h 162"/>
                  <a:gd name="T20" fmla="*/ 14 w 92"/>
                  <a:gd name="T21" fmla="*/ 64 h 162"/>
                  <a:gd name="T22" fmla="*/ 26 w 92"/>
                  <a:gd name="T23" fmla="*/ 23 h 162"/>
                  <a:gd name="T24" fmla="*/ 28 w 92"/>
                  <a:gd name="T25" fmla="*/ 23 h 162"/>
                  <a:gd name="T26" fmla="*/ 29 w 92"/>
                  <a:gd name="T27" fmla="*/ 23 h 162"/>
                  <a:gd name="T28" fmla="*/ 9 w 92"/>
                  <a:gd name="T29" fmla="*/ 96 h 162"/>
                  <a:gd name="T30" fmla="*/ 29 w 92"/>
                  <a:gd name="T31" fmla="*/ 96 h 162"/>
                  <a:gd name="T32" fmla="*/ 29 w 92"/>
                  <a:gd name="T33" fmla="*/ 154 h 162"/>
                  <a:gd name="T34" fmla="*/ 37 w 92"/>
                  <a:gd name="T35" fmla="*/ 162 h 162"/>
                  <a:gd name="T36" fmla="*/ 44 w 92"/>
                  <a:gd name="T37" fmla="*/ 154 h 162"/>
                  <a:gd name="T38" fmla="*/ 44 w 92"/>
                  <a:gd name="T39" fmla="*/ 96 h 162"/>
                  <a:gd name="T40" fmla="*/ 49 w 92"/>
                  <a:gd name="T41" fmla="*/ 96 h 162"/>
                  <a:gd name="T42" fmla="*/ 49 w 92"/>
                  <a:gd name="T43" fmla="*/ 154 h 162"/>
                  <a:gd name="T44" fmla="*/ 56 w 92"/>
                  <a:gd name="T45" fmla="*/ 162 h 162"/>
                  <a:gd name="T46" fmla="*/ 64 w 92"/>
                  <a:gd name="T47" fmla="*/ 154 h 162"/>
                  <a:gd name="T48" fmla="*/ 64 w 92"/>
                  <a:gd name="T49" fmla="*/ 96 h 162"/>
                  <a:gd name="T50" fmla="*/ 83 w 92"/>
                  <a:gd name="T51" fmla="*/ 96 h 162"/>
                  <a:gd name="T52" fmla="*/ 63 w 92"/>
                  <a:gd name="T53" fmla="*/ 23 h 162"/>
                  <a:gd name="T54" fmla="*/ 64 w 92"/>
                  <a:gd name="T55" fmla="*/ 23 h 162"/>
                  <a:gd name="T56" fmla="*/ 65 w 92"/>
                  <a:gd name="T57" fmla="*/ 23 h 162"/>
                  <a:gd name="T58" fmla="*/ 79 w 92"/>
                  <a:gd name="T59" fmla="*/ 64 h 162"/>
                  <a:gd name="T60" fmla="*/ 87 w 92"/>
                  <a:gd name="T61" fmla="*/ 68 h 162"/>
                  <a:gd name="T62" fmla="*/ 91 w 92"/>
                  <a:gd name="T63" fmla="*/ 60 h 1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92" h="162">
                    <a:moveTo>
                      <a:pt x="91" y="60"/>
                    </a:moveTo>
                    <a:cubicBezTo>
                      <a:pt x="75" y="10"/>
                      <a:pt x="75" y="10"/>
                      <a:pt x="75" y="10"/>
                    </a:cubicBezTo>
                    <a:cubicBezTo>
                      <a:pt x="74" y="4"/>
                      <a:pt x="70" y="0"/>
                      <a:pt x="64" y="0"/>
                    </a:cubicBezTo>
                    <a:cubicBezTo>
                      <a:pt x="28" y="0"/>
                      <a:pt x="28" y="0"/>
                      <a:pt x="28" y="0"/>
                    </a:cubicBezTo>
                    <a:cubicBezTo>
                      <a:pt x="24" y="0"/>
                      <a:pt x="21" y="2"/>
                      <a:pt x="19" y="5"/>
                    </a:cubicBezTo>
                    <a:cubicBezTo>
                      <a:pt x="18" y="5"/>
                      <a:pt x="18" y="6"/>
                      <a:pt x="18" y="7"/>
                    </a:cubicBezTo>
                    <a:cubicBezTo>
                      <a:pt x="18" y="7"/>
                      <a:pt x="18" y="7"/>
                      <a:pt x="18" y="7"/>
                    </a:cubicBezTo>
                    <a:cubicBezTo>
                      <a:pt x="18" y="7"/>
                      <a:pt x="17" y="8"/>
                      <a:pt x="17" y="8"/>
                    </a:cubicBezTo>
                    <a:cubicBezTo>
                      <a:pt x="1" y="60"/>
                      <a:pt x="1" y="60"/>
                      <a:pt x="1" y="60"/>
                    </a:cubicBezTo>
                    <a:cubicBezTo>
                      <a:pt x="0" y="63"/>
                      <a:pt x="2" y="67"/>
                      <a:pt x="5" y="68"/>
                    </a:cubicBezTo>
                    <a:cubicBezTo>
                      <a:pt x="9" y="69"/>
                      <a:pt x="13" y="67"/>
                      <a:pt x="14" y="64"/>
                    </a:cubicBezTo>
                    <a:cubicBezTo>
                      <a:pt x="26" y="23"/>
                      <a:pt x="26" y="23"/>
                      <a:pt x="26" y="23"/>
                    </a:cubicBezTo>
                    <a:cubicBezTo>
                      <a:pt x="27" y="23"/>
                      <a:pt x="27" y="23"/>
                      <a:pt x="28" y="23"/>
                    </a:cubicBezTo>
                    <a:cubicBezTo>
                      <a:pt x="29" y="23"/>
                      <a:pt x="29" y="23"/>
                      <a:pt x="29" y="23"/>
                    </a:cubicBezTo>
                    <a:cubicBezTo>
                      <a:pt x="9" y="96"/>
                      <a:pt x="9" y="96"/>
                      <a:pt x="9" y="96"/>
                    </a:cubicBezTo>
                    <a:cubicBezTo>
                      <a:pt x="29" y="96"/>
                      <a:pt x="29" y="96"/>
                      <a:pt x="29" y="96"/>
                    </a:cubicBezTo>
                    <a:cubicBezTo>
                      <a:pt x="29" y="154"/>
                      <a:pt x="29" y="154"/>
                      <a:pt x="29" y="154"/>
                    </a:cubicBezTo>
                    <a:cubicBezTo>
                      <a:pt x="29" y="159"/>
                      <a:pt x="33" y="162"/>
                      <a:pt x="37" y="162"/>
                    </a:cubicBezTo>
                    <a:cubicBezTo>
                      <a:pt x="41" y="162"/>
                      <a:pt x="44" y="159"/>
                      <a:pt x="44" y="154"/>
                    </a:cubicBezTo>
                    <a:cubicBezTo>
                      <a:pt x="44" y="96"/>
                      <a:pt x="44" y="96"/>
                      <a:pt x="44" y="96"/>
                    </a:cubicBezTo>
                    <a:cubicBezTo>
                      <a:pt x="49" y="96"/>
                      <a:pt x="49" y="96"/>
                      <a:pt x="49" y="96"/>
                    </a:cubicBezTo>
                    <a:cubicBezTo>
                      <a:pt x="49" y="154"/>
                      <a:pt x="49" y="154"/>
                      <a:pt x="49" y="154"/>
                    </a:cubicBezTo>
                    <a:cubicBezTo>
                      <a:pt x="49" y="159"/>
                      <a:pt x="52" y="162"/>
                      <a:pt x="56" y="162"/>
                    </a:cubicBezTo>
                    <a:cubicBezTo>
                      <a:pt x="60" y="162"/>
                      <a:pt x="64" y="159"/>
                      <a:pt x="64" y="154"/>
                    </a:cubicBezTo>
                    <a:cubicBezTo>
                      <a:pt x="64" y="96"/>
                      <a:pt x="64" y="96"/>
                      <a:pt x="64" y="96"/>
                    </a:cubicBezTo>
                    <a:cubicBezTo>
                      <a:pt x="83" y="96"/>
                      <a:pt x="83" y="96"/>
                      <a:pt x="83" y="96"/>
                    </a:cubicBezTo>
                    <a:cubicBezTo>
                      <a:pt x="63" y="23"/>
                      <a:pt x="63" y="23"/>
                      <a:pt x="63" y="23"/>
                    </a:cubicBezTo>
                    <a:cubicBezTo>
                      <a:pt x="64" y="23"/>
                      <a:pt x="64" y="23"/>
                      <a:pt x="64" y="23"/>
                    </a:cubicBezTo>
                    <a:cubicBezTo>
                      <a:pt x="65" y="23"/>
                      <a:pt x="65" y="23"/>
                      <a:pt x="65" y="23"/>
                    </a:cubicBezTo>
                    <a:cubicBezTo>
                      <a:pt x="79" y="64"/>
                      <a:pt x="79" y="64"/>
                      <a:pt x="79" y="64"/>
                    </a:cubicBezTo>
                    <a:cubicBezTo>
                      <a:pt x="80" y="67"/>
                      <a:pt x="84" y="69"/>
                      <a:pt x="87" y="68"/>
                    </a:cubicBezTo>
                    <a:cubicBezTo>
                      <a:pt x="91" y="67"/>
                      <a:pt x="92" y="63"/>
                      <a:pt x="91" y="60"/>
                    </a:cubicBez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txBody>
              <a:bodyPr vert="horz" wrap="square" lIns="45720" tIns="22860" rIns="45720" bIns="22860" numCol="1" anchor="t" anchorCtr="0" compatLnSpc="1"/>
              <a:lstStyle/>
              <a:p>
                <a:endParaRPr lang="en-US" sz="900">
                  <a:latin typeface="Arial" panose="020B0604020202020204" pitchFamily="34" charset="0"/>
                  <a:ea typeface="微软雅黑" panose="020B0503020204020204" pitchFamily="34" charset="-122"/>
                  <a:cs typeface="思源黑体 CN Regular" panose="020B0500000000000000" charset="-122"/>
                  <a:sym typeface="Arial" panose="020B0604020202020204" pitchFamily="34" charset="0"/>
                </a:endParaRPr>
              </a:p>
            </p:txBody>
          </p:sp>
        </p:grpSp>
        <p:grpSp>
          <p:nvGrpSpPr>
            <p:cNvPr id="197" name="Group 196"/>
            <p:cNvGrpSpPr/>
            <p:nvPr/>
          </p:nvGrpSpPr>
          <p:grpSpPr>
            <a:xfrm>
              <a:off x="8019988" y="4535510"/>
              <a:ext cx="233399" cy="503500"/>
              <a:chOff x="4395788" y="2198688"/>
              <a:chExt cx="344488" cy="742951"/>
            </a:xfrm>
            <a:solidFill>
              <a:schemeClr val="accent3"/>
            </a:solidFill>
          </p:grpSpPr>
          <p:sp>
            <p:nvSpPr>
              <p:cNvPr id="216" name="Oval 215"/>
              <p:cNvSpPr>
                <a:spLocks noChangeArrowheads="1"/>
              </p:cNvSpPr>
              <p:nvPr/>
            </p:nvSpPr>
            <p:spPr bwMode="auto">
              <a:xfrm>
                <a:off x="4511675" y="2198688"/>
                <a:ext cx="109538" cy="112713"/>
              </a:xfrm>
              <a:prstGeom prst="ellipse">
                <a:avLst/>
              </a:prstGeom>
              <a:solidFill>
                <a:schemeClr val="accent2"/>
              </a:solidFill>
              <a:ln>
                <a:noFill/>
              </a:ln>
            </p:spPr>
            <p:txBody>
              <a:bodyPr vert="horz" wrap="square" lIns="45720" tIns="22860" rIns="45720" bIns="22860" numCol="1" anchor="t" anchorCtr="0" compatLnSpc="1"/>
              <a:lstStyle/>
              <a:p>
                <a:endParaRPr lang="en-US" sz="900">
                  <a:latin typeface="Arial" panose="020B0604020202020204" pitchFamily="34" charset="0"/>
                  <a:ea typeface="微软雅黑" panose="020B0503020204020204" pitchFamily="34" charset="-122"/>
                  <a:cs typeface="思源黑体 CN Regular" panose="020B0500000000000000" charset="-122"/>
                  <a:sym typeface="Arial" panose="020B0604020202020204" pitchFamily="34" charset="0"/>
                </a:endParaRPr>
              </a:p>
            </p:txBody>
          </p:sp>
          <p:sp>
            <p:nvSpPr>
              <p:cNvPr id="217" name="Freeform 7"/>
              <p:cNvSpPr/>
              <p:nvPr/>
            </p:nvSpPr>
            <p:spPr bwMode="auto">
              <a:xfrm>
                <a:off x="4395788" y="2333626"/>
                <a:ext cx="344488" cy="608013"/>
              </a:xfrm>
              <a:custGeom>
                <a:avLst/>
                <a:gdLst>
                  <a:gd name="T0" fmla="*/ 91 w 92"/>
                  <a:gd name="T1" fmla="*/ 60 h 162"/>
                  <a:gd name="T2" fmla="*/ 75 w 92"/>
                  <a:gd name="T3" fmla="*/ 10 h 162"/>
                  <a:gd name="T4" fmla="*/ 64 w 92"/>
                  <a:gd name="T5" fmla="*/ 0 h 162"/>
                  <a:gd name="T6" fmla="*/ 28 w 92"/>
                  <a:gd name="T7" fmla="*/ 0 h 162"/>
                  <a:gd name="T8" fmla="*/ 19 w 92"/>
                  <a:gd name="T9" fmla="*/ 5 h 162"/>
                  <a:gd name="T10" fmla="*/ 18 w 92"/>
                  <a:gd name="T11" fmla="*/ 7 h 162"/>
                  <a:gd name="T12" fmla="*/ 18 w 92"/>
                  <a:gd name="T13" fmla="*/ 7 h 162"/>
                  <a:gd name="T14" fmla="*/ 17 w 92"/>
                  <a:gd name="T15" fmla="*/ 8 h 162"/>
                  <a:gd name="T16" fmla="*/ 1 w 92"/>
                  <a:gd name="T17" fmla="*/ 60 h 162"/>
                  <a:gd name="T18" fmla="*/ 5 w 92"/>
                  <a:gd name="T19" fmla="*/ 68 h 162"/>
                  <a:gd name="T20" fmla="*/ 14 w 92"/>
                  <a:gd name="T21" fmla="*/ 64 h 162"/>
                  <a:gd name="T22" fmla="*/ 26 w 92"/>
                  <a:gd name="T23" fmla="*/ 23 h 162"/>
                  <a:gd name="T24" fmla="*/ 28 w 92"/>
                  <a:gd name="T25" fmla="*/ 23 h 162"/>
                  <a:gd name="T26" fmla="*/ 29 w 92"/>
                  <a:gd name="T27" fmla="*/ 23 h 162"/>
                  <a:gd name="T28" fmla="*/ 9 w 92"/>
                  <a:gd name="T29" fmla="*/ 96 h 162"/>
                  <a:gd name="T30" fmla="*/ 29 w 92"/>
                  <a:gd name="T31" fmla="*/ 96 h 162"/>
                  <a:gd name="T32" fmla="*/ 29 w 92"/>
                  <a:gd name="T33" fmla="*/ 154 h 162"/>
                  <a:gd name="T34" fmla="*/ 37 w 92"/>
                  <a:gd name="T35" fmla="*/ 162 h 162"/>
                  <a:gd name="T36" fmla="*/ 44 w 92"/>
                  <a:gd name="T37" fmla="*/ 154 h 162"/>
                  <a:gd name="T38" fmla="*/ 44 w 92"/>
                  <a:gd name="T39" fmla="*/ 96 h 162"/>
                  <a:gd name="T40" fmla="*/ 49 w 92"/>
                  <a:gd name="T41" fmla="*/ 96 h 162"/>
                  <a:gd name="T42" fmla="*/ 49 w 92"/>
                  <a:gd name="T43" fmla="*/ 154 h 162"/>
                  <a:gd name="T44" fmla="*/ 56 w 92"/>
                  <a:gd name="T45" fmla="*/ 162 h 162"/>
                  <a:gd name="T46" fmla="*/ 64 w 92"/>
                  <a:gd name="T47" fmla="*/ 154 h 162"/>
                  <a:gd name="T48" fmla="*/ 64 w 92"/>
                  <a:gd name="T49" fmla="*/ 96 h 162"/>
                  <a:gd name="T50" fmla="*/ 83 w 92"/>
                  <a:gd name="T51" fmla="*/ 96 h 162"/>
                  <a:gd name="T52" fmla="*/ 63 w 92"/>
                  <a:gd name="T53" fmla="*/ 23 h 162"/>
                  <a:gd name="T54" fmla="*/ 64 w 92"/>
                  <a:gd name="T55" fmla="*/ 23 h 162"/>
                  <a:gd name="T56" fmla="*/ 65 w 92"/>
                  <a:gd name="T57" fmla="*/ 23 h 162"/>
                  <a:gd name="T58" fmla="*/ 79 w 92"/>
                  <a:gd name="T59" fmla="*/ 64 h 162"/>
                  <a:gd name="T60" fmla="*/ 87 w 92"/>
                  <a:gd name="T61" fmla="*/ 68 h 162"/>
                  <a:gd name="T62" fmla="*/ 91 w 92"/>
                  <a:gd name="T63" fmla="*/ 60 h 1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92" h="162">
                    <a:moveTo>
                      <a:pt x="91" y="60"/>
                    </a:moveTo>
                    <a:cubicBezTo>
                      <a:pt x="75" y="10"/>
                      <a:pt x="75" y="10"/>
                      <a:pt x="75" y="10"/>
                    </a:cubicBezTo>
                    <a:cubicBezTo>
                      <a:pt x="74" y="4"/>
                      <a:pt x="70" y="0"/>
                      <a:pt x="64" y="0"/>
                    </a:cubicBezTo>
                    <a:cubicBezTo>
                      <a:pt x="28" y="0"/>
                      <a:pt x="28" y="0"/>
                      <a:pt x="28" y="0"/>
                    </a:cubicBezTo>
                    <a:cubicBezTo>
                      <a:pt x="24" y="0"/>
                      <a:pt x="21" y="2"/>
                      <a:pt x="19" y="5"/>
                    </a:cubicBezTo>
                    <a:cubicBezTo>
                      <a:pt x="18" y="5"/>
                      <a:pt x="18" y="6"/>
                      <a:pt x="18" y="7"/>
                    </a:cubicBezTo>
                    <a:cubicBezTo>
                      <a:pt x="18" y="7"/>
                      <a:pt x="18" y="7"/>
                      <a:pt x="18" y="7"/>
                    </a:cubicBezTo>
                    <a:cubicBezTo>
                      <a:pt x="18" y="7"/>
                      <a:pt x="17" y="8"/>
                      <a:pt x="17" y="8"/>
                    </a:cubicBezTo>
                    <a:cubicBezTo>
                      <a:pt x="1" y="60"/>
                      <a:pt x="1" y="60"/>
                      <a:pt x="1" y="60"/>
                    </a:cubicBezTo>
                    <a:cubicBezTo>
                      <a:pt x="0" y="63"/>
                      <a:pt x="2" y="67"/>
                      <a:pt x="5" y="68"/>
                    </a:cubicBezTo>
                    <a:cubicBezTo>
                      <a:pt x="9" y="69"/>
                      <a:pt x="13" y="67"/>
                      <a:pt x="14" y="64"/>
                    </a:cubicBezTo>
                    <a:cubicBezTo>
                      <a:pt x="26" y="23"/>
                      <a:pt x="26" y="23"/>
                      <a:pt x="26" y="23"/>
                    </a:cubicBezTo>
                    <a:cubicBezTo>
                      <a:pt x="27" y="23"/>
                      <a:pt x="27" y="23"/>
                      <a:pt x="28" y="23"/>
                    </a:cubicBezTo>
                    <a:cubicBezTo>
                      <a:pt x="29" y="23"/>
                      <a:pt x="29" y="23"/>
                      <a:pt x="29" y="23"/>
                    </a:cubicBezTo>
                    <a:cubicBezTo>
                      <a:pt x="9" y="96"/>
                      <a:pt x="9" y="96"/>
                      <a:pt x="9" y="96"/>
                    </a:cubicBezTo>
                    <a:cubicBezTo>
                      <a:pt x="29" y="96"/>
                      <a:pt x="29" y="96"/>
                      <a:pt x="29" y="96"/>
                    </a:cubicBezTo>
                    <a:cubicBezTo>
                      <a:pt x="29" y="154"/>
                      <a:pt x="29" y="154"/>
                      <a:pt x="29" y="154"/>
                    </a:cubicBezTo>
                    <a:cubicBezTo>
                      <a:pt x="29" y="159"/>
                      <a:pt x="33" y="162"/>
                      <a:pt x="37" y="162"/>
                    </a:cubicBezTo>
                    <a:cubicBezTo>
                      <a:pt x="41" y="162"/>
                      <a:pt x="44" y="159"/>
                      <a:pt x="44" y="154"/>
                    </a:cubicBezTo>
                    <a:cubicBezTo>
                      <a:pt x="44" y="96"/>
                      <a:pt x="44" y="96"/>
                      <a:pt x="44" y="96"/>
                    </a:cubicBezTo>
                    <a:cubicBezTo>
                      <a:pt x="49" y="96"/>
                      <a:pt x="49" y="96"/>
                      <a:pt x="49" y="96"/>
                    </a:cubicBezTo>
                    <a:cubicBezTo>
                      <a:pt x="49" y="154"/>
                      <a:pt x="49" y="154"/>
                      <a:pt x="49" y="154"/>
                    </a:cubicBezTo>
                    <a:cubicBezTo>
                      <a:pt x="49" y="159"/>
                      <a:pt x="52" y="162"/>
                      <a:pt x="56" y="162"/>
                    </a:cubicBezTo>
                    <a:cubicBezTo>
                      <a:pt x="60" y="162"/>
                      <a:pt x="64" y="159"/>
                      <a:pt x="64" y="154"/>
                    </a:cubicBezTo>
                    <a:cubicBezTo>
                      <a:pt x="64" y="96"/>
                      <a:pt x="64" y="96"/>
                      <a:pt x="64" y="96"/>
                    </a:cubicBezTo>
                    <a:cubicBezTo>
                      <a:pt x="83" y="96"/>
                      <a:pt x="83" y="96"/>
                      <a:pt x="83" y="96"/>
                    </a:cubicBezTo>
                    <a:cubicBezTo>
                      <a:pt x="63" y="23"/>
                      <a:pt x="63" y="23"/>
                      <a:pt x="63" y="23"/>
                    </a:cubicBezTo>
                    <a:cubicBezTo>
                      <a:pt x="64" y="23"/>
                      <a:pt x="64" y="23"/>
                      <a:pt x="64" y="23"/>
                    </a:cubicBezTo>
                    <a:cubicBezTo>
                      <a:pt x="65" y="23"/>
                      <a:pt x="65" y="23"/>
                      <a:pt x="65" y="23"/>
                    </a:cubicBezTo>
                    <a:cubicBezTo>
                      <a:pt x="79" y="64"/>
                      <a:pt x="79" y="64"/>
                      <a:pt x="79" y="64"/>
                    </a:cubicBezTo>
                    <a:cubicBezTo>
                      <a:pt x="80" y="67"/>
                      <a:pt x="84" y="69"/>
                      <a:pt x="87" y="68"/>
                    </a:cubicBezTo>
                    <a:cubicBezTo>
                      <a:pt x="91" y="67"/>
                      <a:pt x="92" y="63"/>
                      <a:pt x="91" y="60"/>
                    </a:cubicBez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txBody>
              <a:bodyPr vert="horz" wrap="square" lIns="45720" tIns="22860" rIns="45720" bIns="22860" numCol="1" anchor="t" anchorCtr="0" compatLnSpc="1"/>
              <a:lstStyle/>
              <a:p>
                <a:endParaRPr lang="en-US" sz="900">
                  <a:latin typeface="Arial" panose="020B0604020202020204" pitchFamily="34" charset="0"/>
                  <a:ea typeface="微软雅黑" panose="020B0503020204020204" pitchFamily="34" charset="-122"/>
                  <a:cs typeface="思源黑体 CN Regular" panose="020B0500000000000000" charset="-122"/>
                  <a:sym typeface="Arial" panose="020B0604020202020204" pitchFamily="34" charset="0"/>
                </a:endParaRPr>
              </a:p>
            </p:txBody>
          </p:sp>
        </p:grpSp>
        <p:grpSp>
          <p:nvGrpSpPr>
            <p:cNvPr id="198" name="Group 197"/>
            <p:cNvGrpSpPr/>
            <p:nvPr/>
          </p:nvGrpSpPr>
          <p:grpSpPr>
            <a:xfrm>
              <a:off x="8341349" y="4535510"/>
              <a:ext cx="233399" cy="503500"/>
              <a:chOff x="4395788" y="2198688"/>
              <a:chExt cx="344488" cy="742951"/>
            </a:xfrm>
            <a:solidFill>
              <a:schemeClr val="accent3"/>
            </a:solidFill>
          </p:grpSpPr>
          <p:sp>
            <p:nvSpPr>
              <p:cNvPr id="214" name="Oval 213"/>
              <p:cNvSpPr>
                <a:spLocks noChangeArrowheads="1"/>
              </p:cNvSpPr>
              <p:nvPr/>
            </p:nvSpPr>
            <p:spPr bwMode="auto">
              <a:xfrm>
                <a:off x="4511675" y="2198688"/>
                <a:ext cx="109538" cy="112713"/>
              </a:xfrm>
              <a:prstGeom prst="ellipse">
                <a:avLst/>
              </a:prstGeom>
              <a:solidFill>
                <a:schemeClr val="accent2"/>
              </a:solidFill>
              <a:ln>
                <a:noFill/>
              </a:ln>
            </p:spPr>
            <p:txBody>
              <a:bodyPr vert="horz" wrap="square" lIns="45720" tIns="22860" rIns="45720" bIns="22860" numCol="1" anchor="t" anchorCtr="0" compatLnSpc="1"/>
              <a:lstStyle/>
              <a:p>
                <a:endParaRPr lang="en-US" sz="900">
                  <a:latin typeface="Arial" panose="020B0604020202020204" pitchFamily="34" charset="0"/>
                  <a:ea typeface="微软雅黑" panose="020B0503020204020204" pitchFamily="34" charset="-122"/>
                  <a:cs typeface="思源黑体 CN Regular" panose="020B0500000000000000" charset="-122"/>
                  <a:sym typeface="Arial" panose="020B0604020202020204" pitchFamily="34" charset="0"/>
                </a:endParaRPr>
              </a:p>
            </p:txBody>
          </p:sp>
          <p:sp>
            <p:nvSpPr>
              <p:cNvPr id="215" name="Freeform 7"/>
              <p:cNvSpPr/>
              <p:nvPr/>
            </p:nvSpPr>
            <p:spPr bwMode="auto">
              <a:xfrm>
                <a:off x="4395788" y="2333626"/>
                <a:ext cx="344488" cy="608013"/>
              </a:xfrm>
              <a:custGeom>
                <a:avLst/>
                <a:gdLst>
                  <a:gd name="T0" fmla="*/ 91 w 92"/>
                  <a:gd name="T1" fmla="*/ 60 h 162"/>
                  <a:gd name="T2" fmla="*/ 75 w 92"/>
                  <a:gd name="T3" fmla="*/ 10 h 162"/>
                  <a:gd name="T4" fmla="*/ 64 w 92"/>
                  <a:gd name="T5" fmla="*/ 0 h 162"/>
                  <a:gd name="T6" fmla="*/ 28 w 92"/>
                  <a:gd name="T7" fmla="*/ 0 h 162"/>
                  <a:gd name="T8" fmla="*/ 19 w 92"/>
                  <a:gd name="T9" fmla="*/ 5 h 162"/>
                  <a:gd name="T10" fmla="*/ 18 w 92"/>
                  <a:gd name="T11" fmla="*/ 7 h 162"/>
                  <a:gd name="T12" fmla="*/ 18 w 92"/>
                  <a:gd name="T13" fmla="*/ 7 h 162"/>
                  <a:gd name="T14" fmla="*/ 17 w 92"/>
                  <a:gd name="T15" fmla="*/ 8 h 162"/>
                  <a:gd name="T16" fmla="*/ 1 w 92"/>
                  <a:gd name="T17" fmla="*/ 60 h 162"/>
                  <a:gd name="T18" fmla="*/ 5 w 92"/>
                  <a:gd name="T19" fmla="*/ 68 h 162"/>
                  <a:gd name="T20" fmla="*/ 14 w 92"/>
                  <a:gd name="T21" fmla="*/ 64 h 162"/>
                  <a:gd name="T22" fmla="*/ 26 w 92"/>
                  <a:gd name="T23" fmla="*/ 23 h 162"/>
                  <a:gd name="T24" fmla="*/ 28 w 92"/>
                  <a:gd name="T25" fmla="*/ 23 h 162"/>
                  <a:gd name="T26" fmla="*/ 29 w 92"/>
                  <a:gd name="T27" fmla="*/ 23 h 162"/>
                  <a:gd name="T28" fmla="*/ 9 w 92"/>
                  <a:gd name="T29" fmla="*/ 96 h 162"/>
                  <a:gd name="T30" fmla="*/ 29 w 92"/>
                  <a:gd name="T31" fmla="*/ 96 h 162"/>
                  <a:gd name="T32" fmla="*/ 29 w 92"/>
                  <a:gd name="T33" fmla="*/ 154 h 162"/>
                  <a:gd name="T34" fmla="*/ 37 w 92"/>
                  <a:gd name="T35" fmla="*/ 162 h 162"/>
                  <a:gd name="T36" fmla="*/ 44 w 92"/>
                  <a:gd name="T37" fmla="*/ 154 h 162"/>
                  <a:gd name="T38" fmla="*/ 44 w 92"/>
                  <a:gd name="T39" fmla="*/ 96 h 162"/>
                  <a:gd name="T40" fmla="*/ 49 w 92"/>
                  <a:gd name="T41" fmla="*/ 96 h 162"/>
                  <a:gd name="T42" fmla="*/ 49 w 92"/>
                  <a:gd name="T43" fmla="*/ 154 h 162"/>
                  <a:gd name="T44" fmla="*/ 56 w 92"/>
                  <a:gd name="T45" fmla="*/ 162 h 162"/>
                  <a:gd name="T46" fmla="*/ 64 w 92"/>
                  <a:gd name="T47" fmla="*/ 154 h 162"/>
                  <a:gd name="T48" fmla="*/ 64 w 92"/>
                  <a:gd name="T49" fmla="*/ 96 h 162"/>
                  <a:gd name="T50" fmla="*/ 83 w 92"/>
                  <a:gd name="T51" fmla="*/ 96 h 162"/>
                  <a:gd name="T52" fmla="*/ 63 w 92"/>
                  <a:gd name="T53" fmla="*/ 23 h 162"/>
                  <a:gd name="T54" fmla="*/ 64 w 92"/>
                  <a:gd name="T55" fmla="*/ 23 h 162"/>
                  <a:gd name="T56" fmla="*/ 65 w 92"/>
                  <a:gd name="T57" fmla="*/ 23 h 162"/>
                  <a:gd name="T58" fmla="*/ 79 w 92"/>
                  <a:gd name="T59" fmla="*/ 64 h 162"/>
                  <a:gd name="T60" fmla="*/ 87 w 92"/>
                  <a:gd name="T61" fmla="*/ 68 h 162"/>
                  <a:gd name="T62" fmla="*/ 91 w 92"/>
                  <a:gd name="T63" fmla="*/ 60 h 1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92" h="162">
                    <a:moveTo>
                      <a:pt x="91" y="60"/>
                    </a:moveTo>
                    <a:cubicBezTo>
                      <a:pt x="75" y="10"/>
                      <a:pt x="75" y="10"/>
                      <a:pt x="75" y="10"/>
                    </a:cubicBezTo>
                    <a:cubicBezTo>
                      <a:pt x="74" y="4"/>
                      <a:pt x="70" y="0"/>
                      <a:pt x="64" y="0"/>
                    </a:cubicBezTo>
                    <a:cubicBezTo>
                      <a:pt x="28" y="0"/>
                      <a:pt x="28" y="0"/>
                      <a:pt x="28" y="0"/>
                    </a:cubicBezTo>
                    <a:cubicBezTo>
                      <a:pt x="24" y="0"/>
                      <a:pt x="21" y="2"/>
                      <a:pt x="19" y="5"/>
                    </a:cubicBezTo>
                    <a:cubicBezTo>
                      <a:pt x="18" y="5"/>
                      <a:pt x="18" y="6"/>
                      <a:pt x="18" y="7"/>
                    </a:cubicBezTo>
                    <a:cubicBezTo>
                      <a:pt x="18" y="7"/>
                      <a:pt x="18" y="7"/>
                      <a:pt x="18" y="7"/>
                    </a:cubicBezTo>
                    <a:cubicBezTo>
                      <a:pt x="18" y="7"/>
                      <a:pt x="17" y="8"/>
                      <a:pt x="17" y="8"/>
                    </a:cubicBezTo>
                    <a:cubicBezTo>
                      <a:pt x="1" y="60"/>
                      <a:pt x="1" y="60"/>
                      <a:pt x="1" y="60"/>
                    </a:cubicBezTo>
                    <a:cubicBezTo>
                      <a:pt x="0" y="63"/>
                      <a:pt x="2" y="67"/>
                      <a:pt x="5" y="68"/>
                    </a:cubicBezTo>
                    <a:cubicBezTo>
                      <a:pt x="9" y="69"/>
                      <a:pt x="13" y="67"/>
                      <a:pt x="14" y="64"/>
                    </a:cubicBezTo>
                    <a:cubicBezTo>
                      <a:pt x="26" y="23"/>
                      <a:pt x="26" y="23"/>
                      <a:pt x="26" y="23"/>
                    </a:cubicBezTo>
                    <a:cubicBezTo>
                      <a:pt x="27" y="23"/>
                      <a:pt x="27" y="23"/>
                      <a:pt x="28" y="23"/>
                    </a:cubicBezTo>
                    <a:cubicBezTo>
                      <a:pt x="29" y="23"/>
                      <a:pt x="29" y="23"/>
                      <a:pt x="29" y="23"/>
                    </a:cubicBezTo>
                    <a:cubicBezTo>
                      <a:pt x="9" y="96"/>
                      <a:pt x="9" y="96"/>
                      <a:pt x="9" y="96"/>
                    </a:cubicBezTo>
                    <a:cubicBezTo>
                      <a:pt x="29" y="96"/>
                      <a:pt x="29" y="96"/>
                      <a:pt x="29" y="96"/>
                    </a:cubicBezTo>
                    <a:cubicBezTo>
                      <a:pt x="29" y="154"/>
                      <a:pt x="29" y="154"/>
                      <a:pt x="29" y="154"/>
                    </a:cubicBezTo>
                    <a:cubicBezTo>
                      <a:pt x="29" y="159"/>
                      <a:pt x="33" y="162"/>
                      <a:pt x="37" y="162"/>
                    </a:cubicBezTo>
                    <a:cubicBezTo>
                      <a:pt x="41" y="162"/>
                      <a:pt x="44" y="159"/>
                      <a:pt x="44" y="154"/>
                    </a:cubicBezTo>
                    <a:cubicBezTo>
                      <a:pt x="44" y="96"/>
                      <a:pt x="44" y="96"/>
                      <a:pt x="44" y="96"/>
                    </a:cubicBezTo>
                    <a:cubicBezTo>
                      <a:pt x="49" y="96"/>
                      <a:pt x="49" y="96"/>
                      <a:pt x="49" y="96"/>
                    </a:cubicBezTo>
                    <a:cubicBezTo>
                      <a:pt x="49" y="154"/>
                      <a:pt x="49" y="154"/>
                      <a:pt x="49" y="154"/>
                    </a:cubicBezTo>
                    <a:cubicBezTo>
                      <a:pt x="49" y="159"/>
                      <a:pt x="52" y="162"/>
                      <a:pt x="56" y="162"/>
                    </a:cubicBezTo>
                    <a:cubicBezTo>
                      <a:pt x="60" y="162"/>
                      <a:pt x="64" y="159"/>
                      <a:pt x="64" y="154"/>
                    </a:cubicBezTo>
                    <a:cubicBezTo>
                      <a:pt x="64" y="96"/>
                      <a:pt x="64" y="96"/>
                      <a:pt x="64" y="96"/>
                    </a:cubicBezTo>
                    <a:cubicBezTo>
                      <a:pt x="83" y="96"/>
                      <a:pt x="83" y="96"/>
                      <a:pt x="83" y="96"/>
                    </a:cubicBezTo>
                    <a:cubicBezTo>
                      <a:pt x="63" y="23"/>
                      <a:pt x="63" y="23"/>
                      <a:pt x="63" y="23"/>
                    </a:cubicBezTo>
                    <a:cubicBezTo>
                      <a:pt x="64" y="23"/>
                      <a:pt x="64" y="23"/>
                      <a:pt x="64" y="23"/>
                    </a:cubicBezTo>
                    <a:cubicBezTo>
                      <a:pt x="65" y="23"/>
                      <a:pt x="65" y="23"/>
                      <a:pt x="65" y="23"/>
                    </a:cubicBezTo>
                    <a:cubicBezTo>
                      <a:pt x="79" y="64"/>
                      <a:pt x="79" y="64"/>
                      <a:pt x="79" y="64"/>
                    </a:cubicBezTo>
                    <a:cubicBezTo>
                      <a:pt x="80" y="67"/>
                      <a:pt x="84" y="69"/>
                      <a:pt x="87" y="68"/>
                    </a:cubicBezTo>
                    <a:cubicBezTo>
                      <a:pt x="91" y="67"/>
                      <a:pt x="92" y="63"/>
                      <a:pt x="91" y="60"/>
                    </a:cubicBez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txBody>
              <a:bodyPr vert="horz" wrap="square" lIns="45720" tIns="22860" rIns="45720" bIns="22860" numCol="1" anchor="t" anchorCtr="0" compatLnSpc="1"/>
              <a:lstStyle/>
              <a:p>
                <a:endParaRPr lang="en-US" sz="900">
                  <a:latin typeface="Arial" panose="020B0604020202020204" pitchFamily="34" charset="0"/>
                  <a:ea typeface="微软雅黑" panose="020B0503020204020204" pitchFamily="34" charset="-122"/>
                  <a:cs typeface="思源黑体 CN Regular" panose="020B0500000000000000" charset="-122"/>
                  <a:sym typeface="Arial" panose="020B0604020202020204" pitchFamily="34" charset="0"/>
                </a:endParaRPr>
              </a:p>
            </p:txBody>
          </p:sp>
        </p:grpSp>
        <p:grpSp>
          <p:nvGrpSpPr>
            <p:cNvPr id="199" name="Group 198"/>
            <p:cNvGrpSpPr/>
            <p:nvPr/>
          </p:nvGrpSpPr>
          <p:grpSpPr>
            <a:xfrm>
              <a:off x="8650586" y="4535510"/>
              <a:ext cx="233399" cy="503500"/>
              <a:chOff x="4395788" y="2198688"/>
              <a:chExt cx="344488" cy="742951"/>
            </a:xfrm>
            <a:solidFill>
              <a:schemeClr val="accent2"/>
            </a:solidFill>
          </p:grpSpPr>
          <p:sp>
            <p:nvSpPr>
              <p:cNvPr id="212" name="Oval 211"/>
              <p:cNvSpPr>
                <a:spLocks noChangeArrowheads="1"/>
              </p:cNvSpPr>
              <p:nvPr/>
            </p:nvSpPr>
            <p:spPr bwMode="auto">
              <a:xfrm>
                <a:off x="4511675" y="2198688"/>
                <a:ext cx="109538" cy="112713"/>
              </a:xfrm>
              <a:prstGeom prst="ellipse">
                <a:avLst/>
              </a:prstGeom>
              <a:grpFill/>
              <a:ln>
                <a:noFill/>
              </a:ln>
            </p:spPr>
            <p:txBody>
              <a:bodyPr vert="horz" wrap="square" lIns="45720" tIns="22860" rIns="45720" bIns="22860" numCol="1" anchor="t" anchorCtr="0" compatLnSpc="1"/>
              <a:lstStyle/>
              <a:p>
                <a:endParaRPr lang="en-US" sz="900">
                  <a:latin typeface="Arial" panose="020B0604020202020204" pitchFamily="34" charset="0"/>
                  <a:ea typeface="微软雅黑" panose="020B0503020204020204" pitchFamily="34" charset="-122"/>
                  <a:cs typeface="思源黑体 CN Regular" panose="020B0500000000000000" charset="-122"/>
                  <a:sym typeface="Arial" panose="020B0604020202020204" pitchFamily="34" charset="0"/>
                </a:endParaRPr>
              </a:p>
            </p:txBody>
          </p:sp>
          <p:sp>
            <p:nvSpPr>
              <p:cNvPr id="213" name="Freeform 7"/>
              <p:cNvSpPr/>
              <p:nvPr/>
            </p:nvSpPr>
            <p:spPr bwMode="auto">
              <a:xfrm>
                <a:off x="4395788" y="2333626"/>
                <a:ext cx="344488" cy="608013"/>
              </a:xfrm>
              <a:custGeom>
                <a:avLst/>
                <a:gdLst>
                  <a:gd name="T0" fmla="*/ 91 w 92"/>
                  <a:gd name="T1" fmla="*/ 60 h 162"/>
                  <a:gd name="T2" fmla="*/ 75 w 92"/>
                  <a:gd name="T3" fmla="*/ 10 h 162"/>
                  <a:gd name="T4" fmla="*/ 64 w 92"/>
                  <a:gd name="T5" fmla="*/ 0 h 162"/>
                  <a:gd name="T6" fmla="*/ 28 w 92"/>
                  <a:gd name="T7" fmla="*/ 0 h 162"/>
                  <a:gd name="T8" fmla="*/ 19 w 92"/>
                  <a:gd name="T9" fmla="*/ 5 h 162"/>
                  <a:gd name="T10" fmla="*/ 18 w 92"/>
                  <a:gd name="T11" fmla="*/ 7 h 162"/>
                  <a:gd name="T12" fmla="*/ 18 w 92"/>
                  <a:gd name="T13" fmla="*/ 7 h 162"/>
                  <a:gd name="T14" fmla="*/ 17 w 92"/>
                  <a:gd name="T15" fmla="*/ 8 h 162"/>
                  <a:gd name="T16" fmla="*/ 1 w 92"/>
                  <a:gd name="T17" fmla="*/ 60 h 162"/>
                  <a:gd name="T18" fmla="*/ 5 w 92"/>
                  <a:gd name="T19" fmla="*/ 68 h 162"/>
                  <a:gd name="T20" fmla="*/ 14 w 92"/>
                  <a:gd name="T21" fmla="*/ 64 h 162"/>
                  <a:gd name="T22" fmla="*/ 26 w 92"/>
                  <a:gd name="T23" fmla="*/ 23 h 162"/>
                  <a:gd name="T24" fmla="*/ 28 w 92"/>
                  <a:gd name="T25" fmla="*/ 23 h 162"/>
                  <a:gd name="T26" fmla="*/ 29 w 92"/>
                  <a:gd name="T27" fmla="*/ 23 h 162"/>
                  <a:gd name="T28" fmla="*/ 9 w 92"/>
                  <a:gd name="T29" fmla="*/ 96 h 162"/>
                  <a:gd name="T30" fmla="*/ 29 w 92"/>
                  <a:gd name="T31" fmla="*/ 96 h 162"/>
                  <a:gd name="T32" fmla="*/ 29 w 92"/>
                  <a:gd name="T33" fmla="*/ 154 h 162"/>
                  <a:gd name="T34" fmla="*/ 37 w 92"/>
                  <a:gd name="T35" fmla="*/ 162 h 162"/>
                  <a:gd name="T36" fmla="*/ 44 w 92"/>
                  <a:gd name="T37" fmla="*/ 154 h 162"/>
                  <a:gd name="T38" fmla="*/ 44 w 92"/>
                  <a:gd name="T39" fmla="*/ 96 h 162"/>
                  <a:gd name="T40" fmla="*/ 49 w 92"/>
                  <a:gd name="T41" fmla="*/ 96 h 162"/>
                  <a:gd name="T42" fmla="*/ 49 w 92"/>
                  <a:gd name="T43" fmla="*/ 154 h 162"/>
                  <a:gd name="T44" fmla="*/ 56 w 92"/>
                  <a:gd name="T45" fmla="*/ 162 h 162"/>
                  <a:gd name="T46" fmla="*/ 64 w 92"/>
                  <a:gd name="T47" fmla="*/ 154 h 162"/>
                  <a:gd name="T48" fmla="*/ 64 w 92"/>
                  <a:gd name="T49" fmla="*/ 96 h 162"/>
                  <a:gd name="T50" fmla="*/ 83 w 92"/>
                  <a:gd name="T51" fmla="*/ 96 h 162"/>
                  <a:gd name="T52" fmla="*/ 63 w 92"/>
                  <a:gd name="T53" fmla="*/ 23 h 162"/>
                  <a:gd name="T54" fmla="*/ 64 w 92"/>
                  <a:gd name="T55" fmla="*/ 23 h 162"/>
                  <a:gd name="T56" fmla="*/ 65 w 92"/>
                  <a:gd name="T57" fmla="*/ 23 h 162"/>
                  <a:gd name="T58" fmla="*/ 79 w 92"/>
                  <a:gd name="T59" fmla="*/ 64 h 162"/>
                  <a:gd name="T60" fmla="*/ 87 w 92"/>
                  <a:gd name="T61" fmla="*/ 68 h 162"/>
                  <a:gd name="T62" fmla="*/ 91 w 92"/>
                  <a:gd name="T63" fmla="*/ 60 h 1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92" h="162">
                    <a:moveTo>
                      <a:pt x="91" y="60"/>
                    </a:moveTo>
                    <a:cubicBezTo>
                      <a:pt x="75" y="10"/>
                      <a:pt x="75" y="10"/>
                      <a:pt x="75" y="10"/>
                    </a:cubicBezTo>
                    <a:cubicBezTo>
                      <a:pt x="74" y="4"/>
                      <a:pt x="70" y="0"/>
                      <a:pt x="64" y="0"/>
                    </a:cubicBezTo>
                    <a:cubicBezTo>
                      <a:pt x="28" y="0"/>
                      <a:pt x="28" y="0"/>
                      <a:pt x="28" y="0"/>
                    </a:cubicBezTo>
                    <a:cubicBezTo>
                      <a:pt x="24" y="0"/>
                      <a:pt x="21" y="2"/>
                      <a:pt x="19" y="5"/>
                    </a:cubicBezTo>
                    <a:cubicBezTo>
                      <a:pt x="18" y="5"/>
                      <a:pt x="18" y="6"/>
                      <a:pt x="18" y="7"/>
                    </a:cubicBezTo>
                    <a:cubicBezTo>
                      <a:pt x="18" y="7"/>
                      <a:pt x="18" y="7"/>
                      <a:pt x="18" y="7"/>
                    </a:cubicBezTo>
                    <a:cubicBezTo>
                      <a:pt x="18" y="7"/>
                      <a:pt x="17" y="8"/>
                      <a:pt x="17" y="8"/>
                    </a:cubicBezTo>
                    <a:cubicBezTo>
                      <a:pt x="1" y="60"/>
                      <a:pt x="1" y="60"/>
                      <a:pt x="1" y="60"/>
                    </a:cubicBezTo>
                    <a:cubicBezTo>
                      <a:pt x="0" y="63"/>
                      <a:pt x="2" y="67"/>
                      <a:pt x="5" y="68"/>
                    </a:cubicBezTo>
                    <a:cubicBezTo>
                      <a:pt x="9" y="69"/>
                      <a:pt x="13" y="67"/>
                      <a:pt x="14" y="64"/>
                    </a:cubicBezTo>
                    <a:cubicBezTo>
                      <a:pt x="26" y="23"/>
                      <a:pt x="26" y="23"/>
                      <a:pt x="26" y="23"/>
                    </a:cubicBezTo>
                    <a:cubicBezTo>
                      <a:pt x="27" y="23"/>
                      <a:pt x="27" y="23"/>
                      <a:pt x="28" y="23"/>
                    </a:cubicBezTo>
                    <a:cubicBezTo>
                      <a:pt x="29" y="23"/>
                      <a:pt x="29" y="23"/>
                      <a:pt x="29" y="23"/>
                    </a:cubicBezTo>
                    <a:cubicBezTo>
                      <a:pt x="9" y="96"/>
                      <a:pt x="9" y="96"/>
                      <a:pt x="9" y="96"/>
                    </a:cubicBezTo>
                    <a:cubicBezTo>
                      <a:pt x="29" y="96"/>
                      <a:pt x="29" y="96"/>
                      <a:pt x="29" y="96"/>
                    </a:cubicBezTo>
                    <a:cubicBezTo>
                      <a:pt x="29" y="154"/>
                      <a:pt x="29" y="154"/>
                      <a:pt x="29" y="154"/>
                    </a:cubicBezTo>
                    <a:cubicBezTo>
                      <a:pt x="29" y="159"/>
                      <a:pt x="33" y="162"/>
                      <a:pt x="37" y="162"/>
                    </a:cubicBezTo>
                    <a:cubicBezTo>
                      <a:pt x="41" y="162"/>
                      <a:pt x="44" y="159"/>
                      <a:pt x="44" y="154"/>
                    </a:cubicBezTo>
                    <a:cubicBezTo>
                      <a:pt x="44" y="96"/>
                      <a:pt x="44" y="96"/>
                      <a:pt x="44" y="96"/>
                    </a:cubicBezTo>
                    <a:cubicBezTo>
                      <a:pt x="49" y="96"/>
                      <a:pt x="49" y="96"/>
                      <a:pt x="49" y="96"/>
                    </a:cubicBezTo>
                    <a:cubicBezTo>
                      <a:pt x="49" y="154"/>
                      <a:pt x="49" y="154"/>
                      <a:pt x="49" y="154"/>
                    </a:cubicBezTo>
                    <a:cubicBezTo>
                      <a:pt x="49" y="159"/>
                      <a:pt x="52" y="162"/>
                      <a:pt x="56" y="162"/>
                    </a:cubicBezTo>
                    <a:cubicBezTo>
                      <a:pt x="60" y="162"/>
                      <a:pt x="64" y="159"/>
                      <a:pt x="64" y="154"/>
                    </a:cubicBezTo>
                    <a:cubicBezTo>
                      <a:pt x="64" y="96"/>
                      <a:pt x="64" y="96"/>
                      <a:pt x="64" y="96"/>
                    </a:cubicBezTo>
                    <a:cubicBezTo>
                      <a:pt x="83" y="96"/>
                      <a:pt x="83" y="96"/>
                      <a:pt x="83" y="96"/>
                    </a:cubicBezTo>
                    <a:cubicBezTo>
                      <a:pt x="63" y="23"/>
                      <a:pt x="63" y="23"/>
                      <a:pt x="63" y="23"/>
                    </a:cubicBezTo>
                    <a:cubicBezTo>
                      <a:pt x="64" y="23"/>
                      <a:pt x="64" y="23"/>
                      <a:pt x="64" y="23"/>
                    </a:cubicBezTo>
                    <a:cubicBezTo>
                      <a:pt x="65" y="23"/>
                      <a:pt x="65" y="23"/>
                      <a:pt x="65" y="23"/>
                    </a:cubicBezTo>
                    <a:cubicBezTo>
                      <a:pt x="79" y="64"/>
                      <a:pt x="79" y="64"/>
                      <a:pt x="79" y="64"/>
                    </a:cubicBezTo>
                    <a:cubicBezTo>
                      <a:pt x="80" y="67"/>
                      <a:pt x="84" y="69"/>
                      <a:pt x="87" y="68"/>
                    </a:cubicBezTo>
                    <a:cubicBezTo>
                      <a:pt x="91" y="67"/>
                      <a:pt x="92" y="63"/>
                      <a:pt x="91" y="6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45720" tIns="22860" rIns="45720" bIns="22860" numCol="1" anchor="t" anchorCtr="0" compatLnSpc="1"/>
              <a:lstStyle/>
              <a:p>
                <a:endParaRPr lang="en-US" sz="900">
                  <a:latin typeface="Arial" panose="020B0604020202020204" pitchFamily="34" charset="0"/>
                  <a:ea typeface="微软雅黑" panose="020B0503020204020204" pitchFamily="34" charset="-122"/>
                  <a:cs typeface="思源黑体 CN Regular" panose="020B0500000000000000" charset="-122"/>
                  <a:sym typeface="Arial" panose="020B0604020202020204" pitchFamily="34" charset="0"/>
                </a:endParaRPr>
              </a:p>
            </p:txBody>
          </p:sp>
        </p:grpSp>
        <p:grpSp>
          <p:nvGrpSpPr>
            <p:cNvPr id="200" name="Group 199"/>
            <p:cNvGrpSpPr/>
            <p:nvPr/>
          </p:nvGrpSpPr>
          <p:grpSpPr>
            <a:xfrm>
              <a:off x="8961369" y="4535510"/>
              <a:ext cx="233399" cy="503500"/>
              <a:chOff x="4395788" y="2198688"/>
              <a:chExt cx="344488" cy="742951"/>
            </a:xfrm>
            <a:solidFill>
              <a:schemeClr val="accent2"/>
            </a:solidFill>
          </p:grpSpPr>
          <p:sp>
            <p:nvSpPr>
              <p:cNvPr id="210" name="Oval 209"/>
              <p:cNvSpPr>
                <a:spLocks noChangeArrowheads="1"/>
              </p:cNvSpPr>
              <p:nvPr/>
            </p:nvSpPr>
            <p:spPr bwMode="auto">
              <a:xfrm>
                <a:off x="4511675" y="2198688"/>
                <a:ext cx="109538" cy="112713"/>
              </a:xfrm>
              <a:prstGeom prst="ellipse">
                <a:avLst/>
              </a:prstGeom>
              <a:grpFill/>
              <a:ln>
                <a:noFill/>
              </a:ln>
            </p:spPr>
            <p:txBody>
              <a:bodyPr vert="horz" wrap="square" lIns="45720" tIns="22860" rIns="45720" bIns="22860" numCol="1" anchor="t" anchorCtr="0" compatLnSpc="1"/>
              <a:lstStyle/>
              <a:p>
                <a:endParaRPr lang="en-US" sz="900">
                  <a:latin typeface="Arial" panose="020B0604020202020204" pitchFamily="34" charset="0"/>
                  <a:ea typeface="微软雅黑" panose="020B0503020204020204" pitchFamily="34" charset="-122"/>
                  <a:cs typeface="思源黑体 CN Regular" panose="020B0500000000000000" charset="-122"/>
                  <a:sym typeface="Arial" panose="020B0604020202020204" pitchFamily="34" charset="0"/>
                </a:endParaRPr>
              </a:p>
            </p:txBody>
          </p:sp>
          <p:sp>
            <p:nvSpPr>
              <p:cNvPr id="211" name="Freeform 7"/>
              <p:cNvSpPr/>
              <p:nvPr/>
            </p:nvSpPr>
            <p:spPr bwMode="auto">
              <a:xfrm>
                <a:off x="4395788" y="2333626"/>
                <a:ext cx="344488" cy="608013"/>
              </a:xfrm>
              <a:custGeom>
                <a:avLst/>
                <a:gdLst>
                  <a:gd name="T0" fmla="*/ 91 w 92"/>
                  <a:gd name="T1" fmla="*/ 60 h 162"/>
                  <a:gd name="T2" fmla="*/ 75 w 92"/>
                  <a:gd name="T3" fmla="*/ 10 h 162"/>
                  <a:gd name="T4" fmla="*/ 64 w 92"/>
                  <a:gd name="T5" fmla="*/ 0 h 162"/>
                  <a:gd name="T6" fmla="*/ 28 w 92"/>
                  <a:gd name="T7" fmla="*/ 0 h 162"/>
                  <a:gd name="T8" fmla="*/ 19 w 92"/>
                  <a:gd name="T9" fmla="*/ 5 h 162"/>
                  <a:gd name="T10" fmla="*/ 18 w 92"/>
                  <a:gd name="T11" fmla="*/ 7 h 162"/>
                  <a:gd name="T12" fmla="*/ 18 w 92"/>
                  <a:gd name="T13" fmla="*/ 7 h 162"/>
                  <a:gd name="T14" fmla="*/ 17 w 92"/>
                  <a:gd name="T15" fmla="*/ 8 h 162"/>
                  <a:gd name="T16" fmla="*/ 1 w 92"/>
                  <a:gd name="T17" fmla="*/ 60 h 162"/>
                  <a:gd name="T18" fmla="*/ 5 w 92"/>
                  <a:gd name="T19" fmla="*/ 68 h 162"/>
                  <a:gd name="T20" fmla="*/ 14 w 92"/>
                  <a:gd name="T21" fmla="*/ 64 h 162"/>
                  <a:gd name="T22" fmla="*/ 26 w 92"/>
                  <a:gd name="T23" fmla="*/ 23 h 162"/>
                  <a:gd name="T24" fmla="*/ 28 w 92"/>
                  <a:gd name="T25" fmla="*/ 23 h 162"/>
                  <a:gd name="T26" fmla="*/ 29 w 92"/>
                  <a:gd name="T27" fmla="*/ 23 h 162"/>
                  <a:gd name="T28" fmla="*/ 9 w 92"/>
                  <a:gd name="T29" fmla="*/ 96 h 162"/>
                  <a:gd name="T30" fmla="*/ 29 w 92"/>
                  <a:gd name="T31" fmla="*/ 96 h 162"/>
                  <a:gd name="T32" fmla="*/ 29 w 92"/>
                  <a:gd name="T33" fmla="*/ 154 h 162"/>
                  <a:gd name="T34" fmla="*/ 37 w 92"/>
                  <a:gd name="T35" fmla="*/ 162 h 162"/>
                  <a:gd name="T36" fmla="*/ 44 w 92"/>
                  <a:gd name="T37" fmla="*/ 154 h 162"/>
                  <a:gd name="T38" fmla="*/ 44 w 92"/>
                  <a:gd name="T39" fmla="*/ 96 h 162"/>
                  <a:gd name="T40" fmla="*/ 49 w 92"/>
                  <a:gd name="T41" fmla="*/ 96 h 162"/>
                  <a:gd name="T42" fmla="*/ 49 w 92"/>
                  <a:gd name="T43" fmla="*/ 154 h 162"/>
                  <a:gd name="T44" fmla="*/ 56 w 92"/>
                  <a:gd name="T45" fmla="*/ 162 h 162"/>
                  <a:gd name="T46" fmla="*/ 64 w 92"/>
                  <a:gd name="T47" fmla="*/ 154 h 162"/>
                  <a:gd name="T48" fmla="*/ 64 w 92"/>
                  <a:gd name="T49" fmla="*/ 96 h 162"/>
                  <a:gd name="T50" fmla="*/ 83 w 92"/>
                  <a:gd name="T51" fmla="*/ 96 h 162"/>
                  <a:gd name="T52" fmla="*/ 63 w 92"/>
                  <a:gd name="T53" fmla="*/ 23 h 162"/>
                  <a:gd name="T54" fmla="*/ 64 w 92"/>
                  <a:gd name="T55" fmla="*/ 23 h 162"/>
                  <a:gd name="T56" fmla="*/ 65 w 92"/>
                  <a:gd name="T57" fmla="*/ 23 h 162"/>
                  <a:gd name="T58" fmla="*/ 79 w 92"/>
                  <a:gd name="T59" fmla="*/ 64 h 162"/>
                  <a:gd name="T60" fmla="*/ 87 w 92"/>
                  <a:gd name="T61" fmla="*/ 68 h 162"/>
                  <a:gd name="T62" fmla="*/ 91 w 92"/>
                  <a:gd name="T63" fmla="*/ 60 h 1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92" h="162">
                    <a:moveTo>
                      <a:pt x="91" y="60"/>
                    </a:moveTo>
                    <a:cubicBezTo>
                      <a:pt x="75" y="10"/>
                      <a:pt x="75" y="10"/>
                      <a:pt x="75" y="10"/>
                    </a:cubicBezTo>
                    <a:cubicBezTo>
                      <a:pt x="74" y="4"/>
                      <a:pt x="70" y="0"/>
                      <a:pt x="64" y="0"/>
                    </a:cubicBezTo>
                    <a:cubicBezTo>
                      <a:pt x="28" y="0"/>
                      <a:pt x="28" y="0"/>
                      <a:pt x="28" y="0"/>
                    </a:cubicBezTo>
                    <a:cubicBezTo>
                      <a:pt x="24" y="0"/>
                      <a:pt x="21" y="2"/>
                      <a:pt x="19" y="5"/>
                    </a:cubicBezTo>
                    <a:cubicBezTo>
                      <a:pt x="18" y="5"/>
                      <a:pt x="18" y="6"/>
                      <a:pt x="18" y="7"/>
                    </a:cubicBezTo>
                    <a:cubicBezTo>
                      <a:pt x="18" y="7"/>
                      <a:pt x="18" y="7"/>
                      <a:pt x="18" y="7"/>
                    </a:cubicBezTo>
                    <a:cubicBezTo>
                      <a:pt x="18" y="7"/>
                      <a:pt x="17" y="8"/>
                      <a:pt x="17" y="8"/>
                    </a:cubicBezTo>
                    <a:cubicBezTo>
                      <a:pt x="1" y="60"/>
                      <a:pt x="1" y="60"/>
                      <a:pt x="1" y="60"/>
                    </a:cubicBezTo>
                    <a:cubicBezTo>
                      <a:pt x="0" y="63"/>
                      <a:pt x="2" y="67"/>
                      <a:pt x="5" y="68"/>
                    </a:cubicBezTo>
                    <a:cubicBezTo>
                      <a:pt x="9" y="69"/>
                      <a:pt x="13" y="67"/>
                      <a:pt x="14" y="64"/>
                    </a:cubicBezTo>
                    <a:cubicBezTo>
                      <a:pt x="26" y="23"/>
                      <a:pt x="26" y="23"/>
                      <a:pt x="26" y="23"/>
                    </a:cubicBezTo>
                    <a:cubicBezTo>
                      <a:pt x="27" y="23"/>
                      <a:pt x="27" y="23"/>
                      <a:pt x="28" y="23"/>
                    </a:cubicBezTo>
                    <a:cubicBezTo>
                      <a:pt x="29" y="23"/>
                      <a:pt x="29" y="23"/>
                      <a:pt x="29" y="23"/>
                    </a:cubicBezTo>
                    <a:cubicBezTo>
                      <a:pt x="9" y="96"/>
                      <a:pt x="9" y="96"/>
                      <a:pt x="9" y="96"/>
                    </a:cubicBezTo>
                    <a:cubicBezTo>
                      <a:pt x="29" y="96"/>
                      <a:pt x="29" y="96"/>
                      <a:pt x="29" y="96"/>
                    </a:cubicBezTo>
                    <a:cubicBezTo>
                      <a:pt x="29" y="154"/>
                      <a:pt x="29" y="154"/>
                      <a:pt x="29" y="154"/>
                    </a:cubicBezTo>
                    <a:cubicBezTo>
                      <a:pt x="29" y="159"/>
                      <a:pt x="33" y="162"/>
                      <a:pt x="37" y="162"/>
                    </a:cubicBezTo>
                    <a:cubicBezTo>
                      <a:pt x="41" y="162"/>
                      <a:pt x="44" y="159"/>
                      <a:pt x="44" y="154"/>
                    </a:cubicBezTo>
                    <a:cubicBezTo>
                      <a:pt x="44" y="96"/>
                      <a:pt x="44" y="96"/>
                      <a:pt x="44" y="96"/>
                    </a:cubicBezTo>
                    <a:cubicBezTo>
                      <a:pt x="49" y="96"/>
                      <a:pt x="49" y="96"/>
                      <a:pt x="49" y="96"/>
                    </a:cubicBezTo>
                    <a:cubicBezTo>
                      <a:pt x="49" y="154"/>
                      <a:pt x="49" y="154"/>
                      <a:pt x="49" y="154"/>
                    </a:cubicBezTo>
                    <a:cubicBezTo>
                      <a:pt x="49" y="159"/>
                      <a:pt x="52" y="162"/>
                      <a:pt x="56" y="162"/>
                    </a:cubicBezTo>
                    <a:cubicBezTo>
                      <a:pt x="60" y="162"/>
                      <a:pt x="64" y="159"/>
                      <a:pt x="64" y="154"/>
                    </a:cubicBezTo>
                    <a:cubicBezTo>
                      <a:pt x="64" y="96"/>
                      <a:pt x="64" y="96"/>
                      <a:pt x="64" y="96"/>
                    </a:cubicBezTo>
                    <a:cubicBezTo>
                      <a:pt x="83" y="96"/>
                      <a:pt x="83" y="96"/>
                      <a:pt x="83" y="96"/>
                    </a:cubicBezTo>
                    <a:cubicBezTo>
                      <a:pt x="63" y="23"/>
                      <a:pt x="63" y="23"/>
                      <a:pt x="63" y="23"/>
                    </a:cubicBezTo>
                    <a:cubicBezTo>
                      <a:pt x="64" y="23"/>
                      <a:pt x="64" y="23"/>
                      <a:pt x="64" y="23"/>
                    </a:cubicBezTo>
                    <a:cubicBezTo>
                      <a:pt x="65" y="23"/>
                      <a:pt x="65" y="23"/>
                      <a:pt x="65" y="23"/>
                    </a:cubicBezTo>
                    <a:cubicBezTo>
                      <a:pt x="79" y="64"/>
                      <a:pt x="79" y="64"/>
                      <a:pt x="79" y="64"/>
                    </a:cubicBezTo>
                    <a:cubicBezTo>
                      <a:pt x="80" y="67"/>
                      <a:pt x="84" y="69"/>
                      <a:pt x="87" y="68"/>
                    </a:cubicBezTo>
                    <a:cubicBezTo>
                      <a:pt x="91" y="67"/>
                      <a:pt x="92" y="63"/>
                      <a:pt x="91" y="6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45720" tIns="22860" rIns="45720" bIns="22860" numCol="1" anchor="t" anchorCtr="0" compatLnSpc="1"/>
              <a:lstStyle/>
              <a:p>
                <a:endParaRPr lang="en-US" sz="900">
                  <a:latin typeface="Arial" panose="020B0604020202020204" pitchFamily="34" charset="0"/>
                  <a:ea typeface="微软雅黑" panose="020B0503020204020204" pitchFamily="34" charset="-122"/>
                  <a:cs typeface="思源黑体 CN Regular" panose="020B0500000000000000" charset="-122"/>
                  <a:sym typeface="Arial" panose="020B0604020202020204" pitchFamily="34" charset="0"/>
                </a:endParaRPr>
              </a:p>
            </p:txBody>
          </p:sp>
        </p:grpSp>
        <p:grpSp>
          <p:nvGrpSpPr>
            <p:cNvPr id="201" name="Group 200"/>
            <p:cNvGrpSpPr/>
            <p:nvPr/>
          </p:nvGrpSpPr>
          <p:grpSpPr>
            <a:xfrm>
              <a:off x="9270606" y="4535510"/>
              <a:ext cx="233399" cy="503500"/>
              <a:chOff x="4395788" y="2198688"/>
              <a:chExt cx="344488" cy="742951"/>
            </a:xfrm>
            <a:solidFill>
              <a:schemeClr val="accent2"/>
            </a:solidFill>
          </p:grpSpPr>
          <p:sp>
            <p:nvSpPr>
              <p:cNvPr id="208" name="Oval 207"/>
              <p:cNvSpPr>
                <a:spLocks noChangeArrowheads="1"/>
              </p:cNvSpPr>
              <p:nvPr/>
            </p:nvSpPr>
            <p:spPr bwMode="auto">
              <a:xfrm>
                <a:off x="4511675" y="2198688"/>
                <a:ext cx="109538" cy="112713"/>
              </a:xfrm>
              <a:prstGeom prst="ellipse">
                <a:avLst/>
              </a:prstGeom>
              <a:grpFill/>
              <a:ln>
                <a:noFill/>
              </a:ln>
            </p:spPr>
            <p:txBody>
              <a:bodyPr vert="horz" wrap="square" lIns="45720" tIns="22860" rIns="45720" bIns="22860" numCol="1" anchor="t" anchorCtr="0" compatLnSpc="1"/>
              <a:lstStyle/>
              <a:p>
                <a:endParaRPr lang="en-US" sz="900">
                  <a:latin typeface="Arial" panose="020B0604020202020204" pitchFamily="34" charset="0"/>
                  <a:ea typeface="微软雅黑" panose="020B0503020204020204" pitchFamily="34" charset="-122"/>
                  <a:cs typeface="思源黑体 CN Regular" panose="020B0500000000000000" charset="-122"/>
                  <a:sym typeface="Arial" panose="020B0604020202020204" pitchFamily="34" charset="0"/>
                </a:endParaRPr>
              </a:p>
            </p:txBody>
          </p:sp>
          <p:sp>
            <p:nvSpPr>
              <p:cNvPr id="209" name="Freeform 7"/>
              <p:cNvSpPr/>
              <p:nvPr/>
            </p:nvSpPr>
            <p:spPr bwMode="auto">
              <a:xfrm>
                <a:off x="4395788" y="2333626"/>
                <a:ext cx="344488" cy="608013"/>
              </a:xfrm>
              <a:custGeom>
                <a:avLst/>
                <a:gdLst>
                  <a:gd name="T0" fmla="*/ 91 w 92"/>
                  <a:gd name="T1" fmla="*/ 60 h 162"/>
                  <a:gd name="T2" fmla="*/ 75 w 92"/>
                  <a:gd name="T3" fmla="*/ 10 h 162"/>
                  <a:gd name="T4" fmla="*/ 64 w 92"/>
                  <a:gd name="T5" fmla="*/ 0 h 162"/>
                  <a:gd name="T6" fmla="*/ 28 w 92"/>
                  <a:gd name="T7" fmla="*/ 0 h 162"/>
                  <a:gd name="T8" fmla="*/ 19 w 92"/>
                  <a:gd name="T9" fmla="*/ 5 h 162"/>
                  <a:gd name="T10" fmla="*/ 18 w 92"/>
                  <a:gd name="T11" fmla="*/ 7 h 162"/>
                  <a:gd name="T12" fmla="*/ 18 w 92"/>
                  <a:gd name="T13" fmla="*/ 7 h 162"/>
                  <a:gd name="T14" fmla="*/ 17 w 92"/>
                  <a:gd name="T15" fmla="*/ 8 h 162"/>
                  <a:gd name="T16" fmla="*/ 1 w 92"/>
                  <a:gd name="T17" fmla="*/ 60 h 162"/>
                  <a:gd name="T18" fmla="*/ 5 w 92"/>
                  <a:gd name="T19" fmla="*/ 68 h 162"/>
                  <a:gd name="T20" fmla="*/ 14 w 92"/>
                  <a:gd name="T21" fmla="*/ 64 h 162"/>
                  <a:gd name="T22" fmla="*/ 26 w 92"/>
                  <a:gd name="T23" fmla="*/ 23 h 162"/>
                  <a:gd name="T24" fmla="*/ 28 w 92"/>
                  <a:gd name="T25" fmla="*/ 23 h 162"/>
                  <a:gd name="T26" fmla="*/ 29 w 92"/>
                  <a:gd name="T27" fmla="*/ 23 h 162"/>
                  <a:gd name="T28" fmla="*/ 9 w 92"/>
                  <a:gd name="T29" fmla="*/ 96 h 162"/>
                  <a:gd name="T30" fmla="*/ 29 w 92"/>
                  <a:gd name="T31" fmla="*/ 96 h 162"/>
                  <a:gd name="T32" fmla="*/ 29 w 92"/>
                  <a:gd name="T33" fmla="*/ 154 h 162"/>
                  <a:gd name="T34" fmla="*/ 37 w 92"/>
                  <a:gd name="T35" fmla="*/ 162 h 162"/>
                  <a:gd name="T36" fmla="*/ 44 w 92"/>
                  <a:gd name="T37" fmla="*/ 154 h 162"/>
                  <a:gd name="T38" fmla="*/ 44 w 92"/>
                  <a:gd name="T39" fmla="*/ 96 h 162"/>
                  <a:gd name="T40" fmla="*/ 49 w 92"/>
                  <a:gd name="T41" fmla="*/ 96 h 162"/>
                  <a:gd name="T42" fmla="*/ 49 w 92"/>
                  <a:gd name="T43" fmla="*/ 154 h 162"/>
                  <a:gd name="T44" fmla="*/ 56 w 92"/>
                  <a:gd name="T45" fmla="*/ 162 h 162"/>
                  <a:gd name="T46" fmla="*/ 64 w 92"/>
                  <a:gd name="T47" fmla="*/ 154 h 162"/>
                  <a:gd name="T48" fmla="*/ 64 w 92"/>
                  <a:gd name="T49" fmla="*/ 96 h 162"/>
                  <a:gd name="T50" fmla="*/ 83 w 92"/>
                  <a:gd name="T51" fmla="*/ 96 h 162"/>
                  <a:gd name="T52" fmla="*/ 63 w 92"/>
                  <a:gd name="T53" fmla="*/ 23 h 162"/>
                  <a:gd name="T54" fmla="*/ 64 w 92"/>
                  <a:gd name="T55" fmla="*/ 23 h 162"/>
                  <a:gd name="T56" fmla="*/ 65 w 92"/>
                  <a:gd name="T57" fmla="*/ 23 h 162"/>
                  <a:gd name="T58" fmla="*/ 79 w 92"/>
                  <a:gd name="T59" fmla="*/ 64 h 162"/>
                  <a:gd name="T60" fmla="*/ 87 w 92"/>
                  <a:gd name="T61" fmla="*/ 68 h 162"/>
                  <a:gd name="T62" fmla="*/ 91 w 92"/>
                  <a:gd name="T63" fmla="*/ 60 h 1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92" h="162">
                    <a:moveTo>
                      <a:pt x="91" y="60"/>
                    </a:moveTo>
                    <a:cubicBezTo>
                      <a:pt x="75" y="10"/>
                      <a:pt x="75" y="10"/>
                      <a:pt x="75" y="10"/>
                    </a:cubicBezTo>
                    <a:cubicBezTo>
                      <a:pt x="74" y="4"/>
                      <a:pt x="70" y="0"/>
                      <a:pt x="64" y="0"/>
                    </a:cubicBezTo>
                    <a:cubicBezTo>
                      <a:pt x="28" y="0"/>
                      <a:pt x="28" y="0"/>
                      <a:pt x="28" y="0"/>
                    </a:cubicBezTo>
                    <a:cubicBezTo>
                      <a:pt x="24" y="0"/>
                      <a:pt x="21" y="2"/>
                      <a:pt x="19" y="5"/>
                    </a:cubicBezTo>
                    <a:cubicBezTo>
                      <a:pt x="18" y="5"/>
                      <a:pt x="18" y="6"/>
                      <a:pt x="18" y="7"/>
                    </a:cubicBezTo>
                    <a:cubicBezTo>
                      <a:pt x="18" y="7"/>
                      <a:pt x="18" y="7"/>
                      <a:pt x="18" y="7"/>
                    </a:cubicBezTo>
                    <a:cubicBezTo>
                      <a:pt x="18" y="7"/>
                      <a:pt x="17" y="8"/>
                      <a:pt x="17" y="8"/>
                    </a:cubicBezTo>
                    <a:cubicBezTo>
                      <a:pt x="1" y="60"/>
                      <a:pt x="1" y="60"/>
                      <a:pt x="1" y="60"/>
                    </a:cubicBezTo>
                    <a:cubicBezTo>
                      <a:pt x="0" y="63"/>
                      <a:pt x="2" y="67"/>
                      <a:pt x="5" y="68"/>
                    </a:cubicBezTo>
                    <a:cubicBezTo>
                      <a:pt x="9" y="69"/>
                      <a:pt x="13" y="67"/>
                      <a:pt x="14" y="64"/>
                    </a:cubicBezTo>
                    <a:cubicBezTo>
                      <a:pt x="26" y="23"/>
                      <a:pt x="26" y="23"/>
                      <a:pt x="26" y="23"/>
                    </a:cubicBezTo>
                    <a:cubicBezTo>
                      <a:pt x="27" y="23"/>
                      <a:pt x="27" y="23"/>
                      <a:pt x="28" y="23"/>
                    </a:cubicBezTo>
                    <a:cubicBezTo>
                      <a:pt x="29" y="23"/>
                      <a:pt x="29" y="23"/>
                      <a:pt x="29" y="23"/>
                    </a:cubicBezTo>
                    <a:cubicBezTo>
                      <a:pt x="9" y="96"/>
                      <a:pt x="9" y="96"/>
                      <a:pt x="9" y="96"/>
                    </a:cubicBezTo>
                    <a:cubicBezTo>
                      <a:pt x="29" y="96"/>
                      <a:pt x="29" y="96"/>
                      <a:pt x="29" y="96"/>
                    </a:cubicBezTo>
                    <a:cubicBezTo>
                      <a:pt x="29" y="154"/>
                      <a:pt x="29" y="154"/>
                      <a:pt x="29" y="154"/>
                    </a:cubicBezTo>
                    <a:cubicBezTo>
                      <a:pt x="29" y="159"/>
                      <a:pt x="33" y="162"/>
                      <a:pt x="37" y="162"/>
                    </a:cubicBezTo>
                    <a:cubicBezTo>
                      <a:pt x="41" y="162"/>
                      <a:pt x="44" y="159"/>
                      <a:pt x="44" y="154"/>
                    </a:cubicBezTo>
                    <a:cubicBezTo>
                      <a:pt x="44" y="96"/>
                      <a:pt x="44" y="96"/>
                      <a:pt x="44" y="96"/>
                    </a:cubicBezTo>
                    <a:cubicBezTo>
                      <a:pt x="49" y="96"/>
                      <a:pt x="49" y="96"/>
                      <a:pt x="49" y="96"/>
                    </a:cubicBezTo>
                    <a:cubicBezTo>
                      <a:pt x="49" y="154"/>
                      <a:pt x="49" y="154"/>
                      <a:pt x="49" y="154"/>
                    </a:cubicBezTo>
                    <a:cubicBezTo>
                      <a:pt x="49" y="159"/>
                      <a:pt x="52" y="162"/>
                      <a:pt x="56" y="162"/>
                    </a:cubicBezTo>
                    <a:cubicBezTo>
                      <a:pt x="60" y="162"/>
                      <a:pt x="64" y="159"/>
                      <a:pt x="64" y="154"/>
                    </a:cubicBezTo>
                    <a:cubicBezTo>
                      <a:pt x="64" y="96"/>
                      <a:pt x="64" y="96"/>
                      <a:pt x="64" y="96"/>
                    </a:cubicBezTo>
                    <a:cubicBezTo>
                      <a:pt x="83" y="96"/>
                      <a:pt x="83" y="96"/>
                      <a:pt x="83" y="96"/>
                    </a:cubicBezTo>
                    <a:cubicBezTo>
                      <a:pt x="63" y="23"/>
                      <a:pt x="63" y="23"/>
                      <a:pt x="63" y="23"/>
                    </a:cubicBezTo>
                    <a:cubicBezTo>
                      <a:pt x="64" y="23"/>
                      <a:pt x="64" y="23"/>
                      <a:pt x="64" y="23"/>
                    </a:cubicBezTo>
                    <a:cubicBezTo>
                      <a:pt x="65" y="23"/>
                      <a:pt x="65" y="23"/>
                      <a:pt x="65" y="23"/>
                    </a:cubicBezTo>
                    <a:cubicBezTo>
                      <a:pt x="79" y="64"/>
                      <a:pt x="79" y="64"/>
                      <a:pt x="79" y="64"/>
                    </a:cubicBezTo>
                    <a:cubicBezTo>
                      <a:pt x="80" y="67"/>
                      <a:pt x="84" y="69"/>
                      <a:pt x="87" y="68"/>
                    </a:cubicBezTo>
                    <a:cubicBezTo>
                      <a:pt x="91" y="67"/>
                      <a:pt x="92" y="63"/>
                      <a:pt x="91" y="6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45720" tIns="22860" rIns="45720" bIns="22860" numCol="1" anchor="t" anchorCtr="0" compatLnSpc="1"/>
              <a:lstStyle/>
              <a:p>
                <a:endParaRPr lang="en-US" sz="900">
                  <a:latin typeface="Arial" panose="020B0604020202020204" pitchFamily="34" charset="0"/>
                  <a:ea typeface="微软雅黑" panose="020B0503020204020204" pitchFamily="34" charset="-122"/>
                  <a:cs typeface="思源黑体 CN Regular" panose="020B0500000000000000" charset="-122"/>
                  <a:sym typeface="Arial" panose="020B0604020202020204" pitchFamily="34" charset="0"/>
                </a:endParaRPr>
              </a:p>
            </p:txBody>
          </p:sp>
        </p:grpSp>
        <p:grpSp>
          <p:nvGrpSpPr>
            <p:cNvPr id="202" name="Group 201"/>
            <p:cNvGrpSpPr/>
            <p:nvPr/>
          </p:nvGrpSpPr>
          <p:grpSpPr>
            <a:xfrm>
              <a:off x="9594614" y="4535510"/>
              <a:ext cx="233399" cy="503500"/>
              <a:chOff x="4395788" y="2198688"/>
              <a:chExt cx="344488" cy="742951"/>
            </a:xfrm>
            <a:solidFill>
              <a:schemeClr val="bg1">
                <a:lumMod val="85000"/>
              </a:schemeClr>
            </a:solidFill>
          </p:grpSpPr>
          <p:sp>
            <p:nvSpPr>
              <p:cNvPr id="206" name="Oval 205"/>
              <p:cNvSpPr>
                <a:spLocks noChangeArrowheads="1"/>
              </p:cNvSpPr>
              <p:nvPr/>
            </p:nvSpPr>
            <p:spPr bwMode="auto">
              <a:xfrm>
                <a:off x="4511675" y="2198688"/>
                <a:ext cx="109538" cy="112713"/>
              </a:xfrm>
              <a:prstGeom prst="ellipse">
                <a:avLst/>
              </a:prstGeom>
              <a:grpFill/>
              <a:ln>
                <a:noFill/>
              </a:ln>
            </p:spPr>
            <p:txBody>
              <a:bodyPr vert="horz" wrap="square" lIns="45720" tIns="22860" rIns="45720" bIns="22860" numCol="1" anchor="t" anchorCtr="0" compatLnSpc="1"/>
              <a:lstStyle/>
              <a:p>
                <a:endParaRPr lang="en-US" sz="900">
                  <a:latin typeface="Arial" panose="020B0604020202020204" pitchFamily="34" charset="0"/>
                  <a:ea typeface="微软雅黑" panose="020B0503020204020204" pitchFamily="34" charset="-122"/>
                  <a:cs typeface="思源黑体 CN Regular" panose="020B0500000000000000" charset="-122"/>
                  <a:sym typeface="Arial" panose="020B0604020202020204" pitchFamily="34" charset="0"/>
                </a:endParaRPr>
              </a:p>
            </p:txBody>
          </p:sp>
          <p:sp>
            <p:nvSpPr>
              <p:cNvPr id="207" name="Freeform 7"/>
              <p:cNvSpPr/>
              <p:nvPr/>
            </p:nvSpPr>
            <p:spPr bwMode="auto">
              <a:xfrm>
                <a:off x="4395788" y="2333626"/>
                <a:ext cx="344488" cy="608013"/>
              </a:xfrm>
              <a:custGeom>
                <a:avLst/>
                <a:gdLst>
                  <a:gd name="T0" fmla="*/ 91 w 92"/>
                  <a:gd name="T1" fmla="*/ 60 h 162"/>
                  <a:gd name="T2" fmla="*/ 75 w 92"/>
                  <a:gd name="T3" fmla="*/ 10 h 162"/>
                  <a:gd name="T4" fmla="*/ 64 w 92"/>
                  <a:gd name="T5" fmla="*/ 0 h 162"/>
                  <a:gd name="T6" fmla="*/ 28 w 92"/>
                  <a:gd name="T7" fmla="*/ 0 h 162"/>
                  <a:gd name="T8" fmla="*/ 19 w 92"/>
                  <a:gd name="T9" fmla="*/ 5 h 162"/>
                  <a:gd name="T10" fmla="*/ 18 w 92"/>
                  <a:gd name="T11" fmla="*/ 7 h 162"/>
                  <a:gd name="T12" fmla="*/ 18 w 92"/>
                  <a:gd name="T13" fmla="*/ 7 h 162"/>
                  <a:gd name="T14" fmla="*/ 17 w 92"/>
                  <a:gd name="T15" fmla="*/ 8 h 162"/>
                  <a:gd name="T16" fmla="*/ 1 w 92"/>
                  <a:gd name="T17" fmla="*/ 60 h 162"/>
                  <a:gd name="T18" fmla="*/ 5 w 92"/>
                  <a:gd name="T19" fmla="*/ 68 h 162"/>
                  <a:gd name="T20" fmla="*/ 14 w 92"/>
                  <a:gd name="T21" fmla="*/ 64 h 162"/>
                  <a:gd name="T22" fmla="*/ 26 w 92"/>
                  <a:gd name="T23" fmla="*/ 23 h 162"/>
                  <a:gd name="T24" fmla="*/ 28 w 92"/>
                  <a:gd name="T25" fmla="*/ 23 h 162"/>
                  <a:gd name="T26" fmla="*/ 29 w 92"/>
                  <a:gd name="T27" fmla="*/ 23 h 162"/>
                  <a:gd name="T28" fmla="*/ 9 w 92"/>
                  <a:gd name="T29" fmla="*/ 96 h 162"/>
                  <a:gd name="T30" fmla="*/ 29 w 92"/>
                  <a:gd name="T31" fmla="*/ 96 h 162"/>
                  <a:gd name="T32" fmla="*/ 29 w 92"/>
                  <a:gd name="T33" fmla="*/ 154 h 162"/>
                  <a:gd name="T34" fmla="*/ 37 w 92"/>
                  <a:gd name="T35" fmla="*/ 162 h 162"/>
                  <a:gd name="T36" fmla="*/ 44 w 92"/>
                  <a:gd name="T37" fmla="*/ 154 h 162"/>
                  <a:gd name="T38" fmla="*/ 44 w 92"/>
                  <a:gd name="T39" fmla="*/ 96 h 162"/>
                  <a:gd name="T40" fmla="*/ 49 w 92"/>
                  <a:gd name="T41" fmla="*/ 96 h 162"/>
                  <a:gd name="T42" fmla="*/ 49 w 92"/>
                  <a:gd name="T43" fmla="*/ 154 h 162"/>
                  <a:gd name="T44" fmla="*/ 56 w 92"/>
                  <a:gd name="T45" fmla="*/ 162 h 162"/>
                  <a:gd name="T46" fmla="*/ 64 w 92"/>
                  <a:gd name="T47" fmla="*/ 154 h 162"/>
                  <a:gd name="T48" fmla="*/ 64 w 92"/>
                  <a:gd name="T49" fmla="*/ 96 h 162"/>
                  <a:gd name="T50" fmla="*/ 83 w 92"/>
                  <a:gd name="T51" fmla="*/ 96 h 162"/>
                  <a:gd name="T52" fmla="*/ 63 w 92"/>
                  <a:gd name="T53" fmla="*/ 23 h 162"/>
                  <a:gd name="T54" fmla="*/ 64 w 92"/>
                  <a:gd name="T55" fmla="*/ 23 h 162"/>
                  <a:gd name="T56" fmla="*/ 65 w 92"/>
                  <a:gd name="T57" fmla="*/ 23 h 162"/>
                  <a:gd name="T58" fmla="*/ 79 w 92"/>
                  <a:gd name="T59" fmla="*/ 64 h 162"/>
                  <a:gd name="T60" fmla="*/ 87 w 92"/>
                  <a:gd name="T61" fmla="*/ 68 h 162"/>
                  <a:gd name="T62" fmla="*/ 91 w 92"/>
                  <a:gd name="T63" fmla="*/ 60 h 1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92" h="162">
                    <a:moveTo>
                      <a:pt x="91" y="60"/>
                    </a:moveTo>
                    <a:cubicBezTo>
                      <a:pt x="75" y="10"/>
                      <a:pt x="75" y="10"/>
                      <a:pt x="75" y="10"/>
                    </a:cubicBezTo>
                    <a:cubicBezTo>
                      <a:pt x="74" y="4"/>
                      <a:pt x="70" y="0"/>
                      <a:pt x="64" y="0"/>
                    </a:cubicBezTo>
                    <a:cubicBezTo>
                      <a:pt x="28" y="0"/>
                      <a:pt x="28" y="0"/>
                      <a:pt x="28" y="0"/>
                    </a:cubicBezTo>
                    <a:cubicBezTo>
                      <a:pt x="24" y="0"/>
                      <a:pt x="21" y="2"/>
                      <a:pt x="19" y="5"/>
                    </a:cubicBezTo>
                    <a:cubicBezTo>
                      <a:pt x="18" y="5"/>
                      <a:pt x="18" y="6"/>
                      <a:pt x="18" y="7"/>
                    </a:cubicBezTo>
                    <a:cubicBezTo>
                      <a:pt x="18" y="7"/>
                      <a:pt x="18" y="7"/>
                      <a:pt x="18" y="7"/>
                    </a:cubicBezTo>
                    <a:cubicBezTo>
                      <a:pt x="18" y="7"/>
                      <a:pt x="17" y="8"/>
                      <a:pt x="17" y="8"/>
                    </a:cubicBezTo>
                    <a:cubicBezTo>
                      <a:pt x="1" y="60"/>
                      <a:pt x="1" y="60"/>
                      <a:pt x="1" y="60"/>
                    </a:cubicBezTo>
                    <a:cubicBezTo>
                      <a:pt x="0" y="63"/>
                      <a:pt x="2" y="67"/>
                      <a:pt x="5" y="68"/>
                    </a:cubicBezTo>
                    <a:cubicBezTo>
                      <a:pt x="9" y="69"/>
                      <a:pt x="13" y="67"/>
                      <a:pt x="14" y="64"/>
                    </a:cubicBezTo>
                    <a:cubicBezTo>
                      <a:pt x="26" y="23"/>
                      <a:pt x="26" y="23"/>
                      <a:pt x="26" y="23"/>
                    </a:cubicBezTo>
                    <a:cubicBezTo>
                      <a:pt x="27" y="23"/>
                      <a:pt x="27" y="23"/>
                      <a:pt x="28" y="23"/>
                    </a:cubicBezTo>
                    <a:cubicBezTo>
                      <a:pt x="29" y="23"/>
                      <a:pt x="29" y="23"/>
                      <a:pt x="29" y="23"/>
                    </a:cubicBezTo>
                    <a:cubicBezTo>
                      <a:pt x="9" y="96"/>
                      <a:pt x="9" y="96"/>
                      <a:pt x="9" y="96"/>
                    </a:cubicBezTo>
                    <a:cubicBezTo>
                      <a:pt x="29" y="96"/>
                      <a:pt x="29" y="96"/>
                      <a:pt x="29" y="96"/>
                    </a:cubicBezTo>
                    <a:cubicBezTo>
                      <a:pt x="29" y="154"/>
                      <a:pt x="29" y="154"/>
                      <a:pt x="29" y="154"/>
                    </a:cubicBezTo>
                    <a:cubicBezTo>
                      <a:pt x="29" y="159"/>
                      <a:pt x="33" y="162"/>
                      <a:pt x="37" y="162"/>
                    </a:cubicBezTo>
                    <a:cubicBezTo>
                      <a:pt x="41" y="162"/>
                      <a:pt x="44" y="159"/>
                      <a:pt x="44" y="154"/>
                    </a:cubicBezTo>
                    <a:cubicBezTo>
                      <a:pt x="44" y="96"/>
                      <a:pt x="44" y="96"/>
                      <a:pt x="44" y="96"/>
                    </a:cubicBezTo>
                    <a:cubicBezTo>
                      <a:pt x="49" y="96"/>
                      <a:pt x="49" y="96"/>
                      <a:pt x="49" y="96"/>
                    </a:cubicBezTo>
                    <a:cubicBezTo>
                      <a:pt x="49" y="154"/>
                      <a:pt x="49" y="154"/>
                      <a:pt x="49" y="154"/>
                    </a:cubicBezTo>
                    <a:cubicBezTo>
                      <a:pt x="49" y="159"/>
                      <a:pt x="52" y="162"/>
                      <a:pt x="56" y="162"/>
                    </a:cubicBezTo>
                    <a:cubicBezTo>
                      <a:pt x="60" y="162"/>
                      <a:pt x="64" y="159"/>
                      <a:pt x="64" y="154"/>
                    </a:cubicBezTo>
                    <a:cubicBezTo>
                      <a:pt x="64" y="96"/>
                      <a:pt x="64" y="96"/>
                      <a:pt x="64" y="96"/>
                    </a:cubicBezTo>
                    <a:cubicBezTo>
                      <a:pt x="83" y="96"/>
                      <a:pt x="83" y="96"/>
                      <a:pt x="83" y="96"/>
                    </a:cubicBezTo>
                    <a:cubicBezTo>
                      <a:pt x="63" y="23"/>
                      <a:pt x="63" y="23"/>
                      <a:pt x="63" y="23"/>
                    </a:cubicBezTo>
                    <a:cubicBezTo>
                      <a:pt x="64" y="23"/>
                      <a:pt x="64" y="23"/>
                      <a:pt x="64" y="23"/>
                    </a:cubicBezTo>
                    <a:cubicBezTo>
                      <a:pt x="65" y="23"/>
                      <a:pt x="65" y="23"/>
                      <a:pt x="65" y="23"/>
                    </a:cubicBezTo>
                    <a:cubicBezTo>
                      <a:pt x="79" y="64"/>
                      <a:pt x="79" y="64"/>
                      <a:pt x="79" y="64"/>
                    </a:cubicBezTo>
                    <a:cubicBezTo>
                      <a:pt x="80" y="67"/>
                      <a:pt x="84" y="69"/>
                      <a:pt x="87" y="68"/>
                    </a:cubicBezTo>
                    <a:cubicBezTo>
                      <a:pt x="91" y="67"/>
                      <a:pt x="92" y="63"/>
                      <a:pt x="91" y="6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45720" tIns="22860" rIns="45720" bIns="22860" numCol="1" anchor="t" anchorCtr="0" compatLnSpc="1"/>
              <a:lstStyle/>
              <a:p>
                <a:endParaRPr lang="en-US" sz="900">
                  <a:latin typeface="Arial" panose="020B0604020202020204" pitchFamily="34" charset="0"/>
                  <a:ea typeface="微软雅黑" panose="020B0503020204020204" pitchFamily="34" charset="-122"/>
                  <a:cs typeface="思源黑体 CN Regular" panose="020B0500000000000000" charset="-122"/>
                  <a:sym typeface="Arial" panose="020B0604020202020204" pitchFamily="34" charset="0"/>
                </a:endParaRPr>
              </a:p>
            </p:txBody>
          </p:sp>
        </p:grpSp>
        <p:grpSp>
          <p:nvGrpSpPr>
            <p:cNvPr id="203" name="Group 202"/>
            <p:cNvGrpSpPr/>
            <p:nvPr/>
          </p:nvGrpSpPr>
          <p:grpSpPr>
            <a:xfrm>
              <a:off x="9903851" y="4535510"/>
              <a:ext cx="233399" cy="503500"/>
              <a:chOff x="4395788" y="2198688"/>
              <a:chExt cx="344488" cy="742951"/>
            </a:xfrm>
            <a:solidFill>
              <a:schemeClr val="bg1">
                <a:lumMod val="85000"/>
              </a:schemeClr>
            </a:solidFill>
          </p:grpSpPr>
          <p:sp>
            <p:nvSpPr>
              <p:cNvPr id="204" name="Oval 203"/>
              <p:cNvSpPr>
                <a:spLocks noChangeArrowheads="1"/>
              </p:cNvSpPr>
              <p:nvPr/>
            </p:nvSpPr>
            <p:spPr bwMode="auto">
              <a:xfrm>
                <a:off x="4511675" y="2198688"/>
                <a:ext cx="109538" cy="112713"/>
              </a:xfrm>
              <a:prstGeom prst="ellipse">
                <a:avLst/>
              </a:prstGeom>
              <a:grpFill/>
              <a:ln>
                <a:noFill/>
              </a:ln>
            </p:spPr>
            <p:txBody>
              <a:bodyPr vert="horz" wrap="square" lIns="45720" tIns="22860" rIns="45720" bIns="22860" numCol="1" anchor="t" anchorCtr="0" compatLnSpc="1"/>
              <a:lstStyle/>
              <a:p>
                <a:endParaRPr lang="en-US" sz="900">
                  <a:latin typeface="Arial" panose="020B0604020202020204" pitchFamily="34" charset="0"/>
                  <a:ea typeface="微软雅黑" panose="020B0503020204020204" pitchFamily="34" charset="-122"/>
                  <a:cs typeface="思源黑体 CN Regular" panose="020B0500000000000000" charset="-122"/>
                  <a:sym typeface="Arial" panose="020B0604020202020204" pitchFamily="34" charset="0"/>
                </a:endParaRPr>
              </a:p>
            </p:txBody>
          </p:sp>
          <p:sp>
            <p:nvSpPr>
              <p:cNvPr id="205" name="Freeform 7"/>
              <p:cNvSpPr/>
              <p:nvPr/>
            </p:nvSpPr>
            <p:spPr bwMode="auto">
              <a:xfrm>
                <a:off x="4395788" y="2333626"/>
                <a:ext cx="344488" cy="608013"/>
              </a:xfrm>
              <a:custGeom>
                <a:avLst/>
                <a:gdLst>
                  <a:gd name="T0" fmla="*/ 91 w 92"/>
                  <a:gd name="T1" fmla="*/ 60 h 162"/>
                  <a:gd name="T2" fmla="*/ 75 w 92"/>
                  <a:gd name="T3" fmla="*/ 10 h 162"/>
                  <a:gd name="T4" fmla="*/ 64 w 92"/>
                  <a:gd name="T5" fmla="*/ 0 h 162"/>
                  <a:gd name="T6" fmla="*/ 28 w 92"/>
                  <a:gd name="T7" fmla="*/ 0 h 162"/>
                  <a:gd name="T8" fmla="*/ 19 w 92"/>
                  <a:gd name="T9" fmla="*/ 5 h 162"/>
                  <a:gd name="T10" fmla="*/ 18 w 92"/>
                  <a:gd name="T11" fmla="*/ 7 h 162"/>
                  <a:gd name="T12" fmla="*/ 18 w 92"/>
                  <a:gd name="T13" fmla="*/ 7 h 162"/>
                  <a:gd name="T14" fmla="*/ 17 w 92"/>
                  <a:gd name="T15" fmla="*/ 8 h 162"/>
                  <a:gd name="T16" fmla="*/ 1 w 92"/>
                  <a:gd name="T17" fmla="*/ 60 h 162"/>
                  <a:gd name="T18" fmla="*/ 5 w 92"/>
                  <a:gd name="T19" fmla="*/ 68 h 162"/>
                  <a:gd name="T20" fmla="*/ 14 w 92"/>
                  <a:gd name="T21" fmla="*/ 64 h 162"/>
                  <a:gd name="T22" fmla="*/ 26 w 92"/>
                  <a:gd name="T23" fmla="*/ 23 h 162"/>
                  <a:gd name="T24" fmla="*/ 28 w 92"/>
                  <a:gd name="T25" fmla="*/ 23 h 162"/>
                  <a:gd name="T26" fmla="*/ 29 w 92"/>
                  <a:gd name="T27" fmla="*/ 23 h 162"/>
                  <a:gd name="T28" fmla="*/ 9 w 92"/>
                  <a:gd name="T29" fmla="*/ 96 h 162"/>
                  <a:gd name="T30" fmla="*/ 29 w 92"/>
                  <a:gd name="T31" fmla="*/ 96 h 162"/>
                  <a:gd name="T32" fmla="*/ 29 w 92"/>
                  <a:gd name="T33" fmla="*/ 154 h 162"/>
                  <a:gd name="T34" fmla="*/ 37 w 92"/>
                  <a:gd name="T35" fmla="*/ 162 h 162"/>
                  <a:gd name="T36" fmla="*/ 44 w 92"/>
                  <a:gd name="T37" fmla="*/ 154 h 162"/>
                  <a:gd name="T38" fmla="*/ 44 w 92"/>
                  <a:gd name="T39" fmla="*/ 96 h 162"/>
                  <a:gd name="T40" fmla="*/ 49 w 92"/>
                  <a:gd name="T41" fmla="*/ 96 h 162"/>
                  <a:gd name="T42" fmla="*/ 49 w 92"/>
                  <a:gd name="T43" fmla="*/ 154 h 162"/>
                  <a:gd name="T44" fmla="*/ 56 w 92"/>
                  <a:gd name="T45" fmla="*/ 162 h 162"/>
                  <a:gd name="T46" fmla="*/ 64 w 92"/>
                  <a:gd name="T47" fmla="*/ 154 h 162"/>
                  <a:gd name="T48" fmla="*/ 64 w 92"/>
                  <a:gd name="T49" fmla="*/ 96 h 162"/>
                  <a:gd name="T50" fmla="*/ 83 w 92"/>
                  <a:gd name="T51" fmla="*/ 96 h 162"/>
                  <a:gd name="T52" fmla="*/ 63 w 92"/>
                  <a:gd name="T53" fmla="*/ 23 h 162"/>
                  <a:gd name="T54" fmla="*/ 64 w 92"/>
                  <a:gd name="T55" fmla="*/ 23 h 162"/>
                  <a:gd name="T56" fmla="*/ 65 w 92"/>
                  <a:gd name="T57" fmla="*/ 23 h 162"/>
                  <a:gd name="T58" fmla="*/ 79 w 92"/>
                  <a:gd name="T59" fmla="*/ 64 h 162"/>
                  <a:gd name="T60" fmla="*/ 87 w 92"/>
                  <a:gd name="T61" fmla="*/ 68 h 162"/>
                  <a:gd name="T62" fmla="*/ 91 w 92"/>
                  <a:gd name="T63" fmla="*/ 60 h 1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92" h="162">
                    <a:moveTo>
                      <a:pt x="91" y="60"/>
                    </a:moveTo>
                    <a:cubicBezTo>
                      <a:pt x="75" y="10"/>
                      <a:pt x="75" y="10"/>
                      <a:pt x="75" y="10"/>
                    </a:cubicBezTo>
                    <a:cubicBezTo>
                      <a:pt x="74" y="4"/>
                      <a:pt x="70" y="0"/>
                      <a:pt x="64" y="0"/>
                    </a:cubicBezTo>
                    <a:cubicBezTo>
                      <a:pt x="28" y="0"/>
                      <a:pt x="28" y="0"/>
                      <a:pt x="28" y="0"/>
                    </a:cubicBezTo>
                    <a:cubicBezTo>
                      <a:pt x="24" y="0"/>
                      <a:pt x="21" y="2"/>
                      <a:pt x="19" y="5"/>
                    </a:cubicBezTo>
                    <a:cubicBezTo>
                      <a:pt x="18" y="5"/>
                      <a:pt x="18" y="6"/>
                      <a:pt x="18" y="7"/>
                    </a:cubicBezTo>
                    <a:cubicBezTo>
                      <a:pt x="18" y="7"/>
                      <a:pt x="18" y="7"/>
                      <a:pt x="18" y="7"/>
                    </a:cubicBezTo>
                    <a:cubicBezTo>
                      <a:pt x="18" y="7"/>
                      <a:pt x="17" y="8"/>
                      <a:pt x="17" y="8"/>
                    </a:cubicBezTo>
                    <a:cubicBezTo>
                      <a:pt x="1" y="60"/>
                      <a:pt x="1" y="60"/>
                      <a:pt x="1" y="60"/>
                    </a:cubicBezTo>
                    <a:cubicBezTo>
                      <a:pt x="0" y="63"/>
                      <a:pt x="2" y="67"/>
                      <a:pt x="5" y="68"/>
                    </a:cubicBezTo>
                    <a:cubicBezTo>
                      <a:pt x="9" y="69"/>
                      <a:pt x="13" y="67"/>
                      <a:pt x="14" y="64"/>
                    </a:cubicBezTo>
                    <a:cubicBezTo>
                      <a:pt x="26" y="23"/>
                      <a:pt x="26" y="23"/>
                      <a:pt x="26" y="23"/>
                    </a:cubicBezTo>
                    <a:cubicBezTo>
                      <a:pt x="27" y="23"/>
                      <a:pt x="27" y="23"/>
                      <a:pt x="28" y="23"/>
                    </a:cubicBezTo>
                    <a:cubicBezTo>
                      <a:pt x="29" y="23"/>
                      <a:pt x="29" y="23"/>
                      <a:pt x="29" y="23"/>
                    </a:cubicBezTo>
                    <a:cubicBezTo>
                      <a:pt x="9" y="96"/>
                      <a:pt x="9" y="96"/>
                      <a:pt x="9" y="96"/>
                    </a:cubicBezTo>
                    <a:cubicBezTo>
                      <a:pt x="29" y="96"/>
                      <a:pt x="29" y="96"/>
                      <a:pt x="29" y="96"/>
                    </a:cubicBezTo>
                    <a:cubicBezTo>
                      <a:pt x="29" y="154"/>
                      <a:pt x="29" y="154"/>
                      <a:pt x="29" y="154"/>
                    </a:cubicBezTo>
                    <a:cubicBezTo>
                      <a:pt x="29" y="159"/>
                      <a:pt x="33" y="162"/>
                      <a:pt x="37" y="162"/>
                    </a:cubicBezTo>
                    <a:cubicBezTo>
                      <a:pt x="41" y="162"/>
                      <a:pt x="44" y="159"/>
                      <a:pt x="44" y="154"/>
                    </a:cubicBezTo>
                    <a:cubicBezTo>
                      <a:pt x="44" y="96"/>
                      <a:pt x="44" y="96"/>
                      <a:pt x="44" y="96"/>
                    </a:cubicBezTo>
                    <a:cubicBezTo>
                      <a:pt x="49" y="96"/>
                      <a:pt x="49" y="96"/>
                      <a:pt x="49" y="96"/>
                    </a:cubicBezTo>
                    <a:cubicBezTo>
                      <a:pt x="49" y="154"/>
                      <a:pt x="49" y="154"/>
                      <a:pt x="49" y="154"/>
                    </a:cubicBezTo>
                    <a:cubicBezTo>
                      <a:pt x="49" y="159"/>
                      <a:pt x="52" y="162"/>
                      <a:pt x="56" y="162"/>
                    </a:cubicBezTo>
                    <a:cubicBezTo>
                      <a:pt x="60" y="162"/>
                      <a:pt x="64" y="159"/>
                      <a:pt x="64" y="154"/>
                    </a:cubicBezTo>
                    <a:cubicBezTo>
                      <a:pt x="64" y="96"/>
                      <a:pt x="64" y="96"/>
                      <a:pt x="64" y="96"/>
                    </a:cubicBezTo>
                    <a:cubicBezTo>
                      <a:pt x="83" y="96"/>
                      <a:pt x="83" y="96"/>
                      <a:pt x="83" y="96"/>
                    </a:cubicBezTo>
                    <a:cubicBezTo>
                      <a:pt x="63" y="23"/>
                      <a:pt x="63" y="23"/>
                      <a:pt x="63" y="23"/>
                    </a:cubicBezTo>
                    <a:cubicBezTo>
                      <a:pt x="64" y="23"/>
                      <a:pt x="64" y="23"/>
                      <a:pt x="64" y="23"/>
                    </a:cubicBezTo>
                    <a:cubicBezTo>
                      <a:pt x="65" y="23"/>
                      <a:pt x="65" y="23"/>
                      <a:pt x="65" y="23"/>
                    </a:cubicBezTo>
                    <a:cubicBezTo>
                      <a:pt x="79" y="64"/>
                      <a:pt x="79" y="64"/>
                      <a:pt x="79" y="64"/>
                    </a:cubicBezTo>
                    <a:cubicBezTo>
                      <a:pt x="80" y="67"/>
                      <a:pt x="84" y="69"/>
                      <a:pt x="87" y="68"/>
                    </a:cubicBezTo>
                    <a:cubicBezTo>
                      <a:pt x="91" y="67"/>
                      <a:pt x="92" y="63"/>
                      <a:pt x="91" y="6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45720" tIns="22860" rIns="45720" bIns="22860" numCol="1" anchor="t" anchorCtr="0" compatLnSpc="1"/>
              <a:lstStyle/>
              <a:p>
                <a:endParaRPr lang="en-US" sz="900">
                  <a:latin typeface="Arial" panose="020B0604020202020204" pitchFamily="34" charset="0"/>
                  <a:ea typeface="微软雅黑" panose="020B0503020204020204" pitchFamily="34" charset="-122"/>
                  <a:cs typeface="思源黑体 CN Regular" panose="020B0500000000000000" charset="-122"/>
                  <a:sym typeface="Arial" panose="020B0604020202020204" pitchFamily="34" charset="0"/>
                </a:endParaRPr>
              </a:p>
            </p:txBody>
          </p:sp>
        </p:grpSp>
      </p:grpSp>
      <p:grpSp>
        <p:nvGrpSpPr>
          <p:cNvPr id="224" name="Group 223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GrpSpPr/>
          <p:nvPr/>
        </p:nvGrpSpPr>
        <p:grpSpPr>
          <a:xfrm>
            <a:off x="6656885" y="5450324"/>
            <a:ext cx="3017280" cy="519412"/>
            <a:chOff x="7105350" y="5323449"/>
            <a:chExt cx="3017280" cy="519412"/>
          </a:xfrm>
        </p:grpSpPr>
        <p:grpSp>
          <p:nvGrpSpPr>
            <p:cNvPr id="225" name="Group 224"/>
            <p:cNvGrpSpPr/>
            <p:nvPr/>
          </p:nvGrpSpPr>
          <p:grpSpPr>
            <a:xfrm>
              <a:off x="7105350" y="5323449"/>
              <a:ext cx="204160" cy="519412"/>
              <a:chOff x="4422775" y="2198688"/>
              <a:chExt cx="292100" cy="742950"/>
            </a:xfrm>
            <a:solidFill>
              <a:schemeClr val="accent2"/>
            </a:solidFill>
          </p:grpSpPr>
          <p:sp>
            <p:nvSpPr>
              <p:cNvPr id="253" name="Freeform 12"/>
              <p:cNvSpPr/>
              <p:nvPr/>
            </p:nvSpPr>
            <p:spPr bwMode="auto">
              <a:xfrm>
                <a:off x="4422775" y="2325688"/>
                <a:ext cx="292100" cy="615950"/>
              </a:xfrm>
              <a:custGeom>
                <a:avLst/>
                <a:gdLst>
                  <a:gd name="T0" fmla="*/ 59 w 78"/>
                  <a:gd name="T1" fmla="*/ 0 h 164"/>
                  <a:gd name="T2" fmla="*/ 20 w 78"/>
                  <a:gd name="T3" fmla="*/ 0 h 164"/>
                  <a:gd name="T4" fmla="*/ 0 w 78"/>
                  <a:gd name="T5" fmla="*/ 16 h 164"/>
                  <a:gd name="T6" fmla="*/ 0 w 78"/>
                  <a:gd name="T7" fmla="*/ 16 h 164"/>
                  <a:gd name="T8" fmla="*/ 0 w 78"/>
                  <a:gd name="T9" fmla="*/ 19 h 164"/>
                  <a:gd name="T10" fmla="*/ 0 w 78"/>
                  <a:gd name="T11" fmla="*/ 74 h 164"/>
                  <a:gd name="T12" fmla="*/ 7 w 78"/>
                  <a:gd name="T13" fmla="*/ 80 h 164"/>
                  <a:gd name="T14" fmla="*/ 13 w 78"/>
                  <a:gd name="T15" fmla="*/ 74 h 164"/>
                  <a:gd name="T16" fmla="*/ 13 w 78"/>
                  <a:gd name="T17" fmla="*/ 26 h 164"/>
                  <a:gd name="T18" fmla="*/ 19 w 78"/>
                  <a:gd name="T19" fmla="*/ 26 h 164"/>
                  <a:gd name="T20" fmla="*/ 19 w 78"/>
                  <a:gd name="T21" fmla="*/ 72 h 164"/>
                  <a:gd name="T22" fmla="*/ 19 w 78"/>
                  <a:gd name="T23" fmla="*/ 73 h 164"/>
                  <a:gd name="T24" fmla="*/ 19 w 78"/>
                  <a:gd name="T25" fmla="*/ 154 h 164"/>
                  <a:gd name="T26" fmla="*/ 28 w 78"/>
                  <a:gd name="T27" fmla="*/ 164 h 164"/>
                  <a:gd name="T28" fmla="*/ 37 w 78"/>
                  <a:gd name="T29" fmla="*/ 154 h 164"/>
                  <a:gd name="T30" fmla="*/ 37 w 78"/>
                  <a:gd name="T31" fmla="*/ 83 h 164"/>
                  <a:gd name="T32" fmla="*/ 41 w 78"/>
                  <a:gd name="T33" fmla="*/ 83 h 164"/>
                  <a:gd name="T34" fmla="*/ 41 w 78"/>
                  <a:gd name="T35" fmla="*/ 154 h 164"/>
                  <a:gd name="T36" fmla="*/ 50 w 78"/>
                  <a:gd name="T37" fmla="*/ 164 h 164"/>
                  <a:gd name="T38" fmla="*/ 59 w 78"/>
                  <a:gd name="T39" fmla="*/ 154 h 164"/>
                  <a:gd name="T40" fmla="*/ 59 w 78"/>
                  <a:gd name="T41" fmla="*/ 72 h 164"/>
                  <a:gd name="T42" fmla="*/ 59 w 78"/>
                  <a:gd name="T43" fmla="*/ 71 h 164"/>
                  <a:gd name="T44" fmla="*/ 59 w 78"/>
                  <a:gd name="T45" fmla="*/ 26 h 164"/>
                  <a:gd name="T46" fmla="*/ 64 w 78"/>
                  <a:gd name="T47" fmla="*/ 26 h 164"/>
                  <a:gd name="T48" fmla="*/ 64 w 78"/>
                  <a:gd name="T49" fmla="*/ 74 h 164"/>
                  <a:gd name="T50" fmla="*/ 71 w 78"/>
                  <a:gd name="T51" fmla="*/ 80 h 164"/>
                  <a:gd name="T52" fmla="*/ 78 w 78"/>
                  <a:gd name="T53" fmla="*/ 74 h 164"/>
                  <a:gd name="T54" fmla="*/ 78 w 78"/>
                  <a:gd name="T55" fmla="*/ 19 h 164"/>
                  <a:gd name="T56" fmla="*/ 78 w 78"/>
                  <a:gd name="T57" fmla="*/ 16 h 164"/>
                  <a:gd name="T58" fmla="*/ 78 w 78"/>
                  <a:gd name="T59" fmla="*/ 15 h 164"/>
                  <a:gd name="T60" fmla="*/ 59 w 78"/>
                  <a:gd name="T61" fmla="*/ 0 h 1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78" h="164">
                    <a:moveTo>
                      <a:pt x="59" y="0"/>
                    </a:moveTo>
                    <a:cubicBezTo>
                      <a:pt x="20" y="0"/>
                      <a:pt x="20" y="0"/>
                      <a:pt x="20" y="0"/>
                    </a:cubicBezTo>
                    <a:cubicBezTo>
                      <a:pt x="6" y="0"/>
                      <a:pt x="0" y="12"/>
                      <a:pt x="0" y="16"/>
                    </a:cubicBezTo>
                    <a:cubicBezTo>
                      <a:pt x="0" y="16"/>
                      <a:pt x="0" y="16"/>
                      <a:pt x="0" y="16"/>
                    </a:cubicBezTo>
                    <a:cubicBezTo>
                      <a:pt x="0" y="19"/>
                      <a:pt x="0" y="19"/>
                      <a:pt x="0" y="19"/>
                    </a:cubicBezTo>
                    <a:cubicBezTo>
                      <a:pt x="0" y="74"/>
                      <a:pt x="0" y="74"/>
                      <a:pt x="0" y="74"/>
                    </a:cubicBezTo>
                    <a:cubicBezTo>
                      <a:pt x="0" y="77"/>
                      <a:pt x="3" y="80"/>
                      <a:pt x="7" y="80"/>
                    </a:cubicBezTo>
                    <a:cubicBezTo>
                      <a:pt x="10" y="80"/>
                      <a:pt x="13" y="77"/>
                      <a:pt x="13" y="74"/>
                    </a:cubicBezTo>
                    <a:cubicBezTo>
                      <a:pt x="13" y="26"/>
                      <a:pt x="13" y="26"/>
                      <a:pt x="13" y="26"/>
                    </a:cubicBezTo>
                    <a:cubicBezTo>
                      <a:pt x="19" y="26"/>
                      <a:pt x="19" y="26"/>
                      <a:pt x="19" y="26"/>
                    </a:cubicBezTo>
                    <a:cubicBezTo>
                      <a:pt x="19" y="72"/>
                      <a:pt x="19" y="72"/>
                      <a:pt x="19" y="72"/>
                    </a:cubicBezTo>
                    <a:cubicBezTo>
                      <a:pt x="19" y="72"/>
                      <a:pt x="19" y="73"/>
                      <a:pt x="19" y="73"/>
                    </a:cubicBezTo>
                    <a:cubicBezTo>
                      <a:pt x="19" y="154"/>
                      <a:pt x="19" y="154"/>
                      <a:pt x="19" y="154"/>
                    </a:cubicBezTo>
                    <a:cubicBezTo>
                      <a:pt x="19" y="159"/>
                      <a:pt x="23" y="164"/>
                      <a:pt x="28" y="164"/>
                    </a:cubicBezTo>
                    <a:cubicBezTo>
                      <a:pt x="33" y="164"/>
                      <a:pt x="37" y="159"/>
                      <a:pt x="37" y="154"/>
                    </a:cubicBezTo>
                    <a:cubicBezTo>
                      <a:pt x="37" y="83"/>
                      <a:pt x="37" y="83"/>
                      <a:pt x="37" y="83"/>
                    </a:cubicBezTo>
                    <a:cubicBezTo>
                      <a:pt x="41" y="83"/>
                      <a:pt x="41" y="83"/>
                      <a:pt x="41" y="83"/>
                    </a:cubicBezTo>
                    <a:cubicBezTo>
                      <a:pt x="41" y="154"/>
                      <a:pt x="41" y="154"/>
                      <a:pt x="41" y="154"/>
                    </a:cubicBezTo>
                    <a:cubicBezTo>
                      <a:pt x="41" y="159"/>
                      <a:pt x="45" y="164"/>
                      <a:pt x="50" y="164"/>
                    </a:cubicBezTo>
                    <a:cubicBezTo>
                      <a:pt x="55" y="164"/>
                      <a:pt x="59" y="159"/>
                      <a:pt x="59" y="154"/>
                    </a:cubicBezTo>
                    <a:cubicBezTo>
                      <a:pt x="59" y="72"/>
                      <a:pt x="59" y="72"/>
                      <a:pt x="59" y="72"/>
                    </a:cubicBezTo>
                    <a:cubicBezTo>
                      <a:pt x="59" y="71"/>
                      <a:pt x="59" y="71"/>
                      <a:pt x="59" y="71"/>
                    </a:cubicBezTo>
                    <a:cubicBezTo>
                      <a:pt x="59" y="26"/>
                      <a:pt x="59" y="26"/>
                      <a:pt x="59" y="26"/>
                    </a:cubicBezTo>
                    <a:cubicBezTo>
                      <a:pt x="64" y="26"/>
                      <a:pt x="64" y="26"/>
                      <a:pt x="64" y="26"/>
                    </a:cubicBezTo>
                    <a:cubicBezTo>
                      <a:pt x="64" y="74"/>
                      <a:pt x="64" y="74"/>
                      <a:pt x="64" y="74"/>
                    </a:cubicBezTo>
                    <a:cubicBezTo>
                      <a:pt x="64" y="77"/>
                      <a:pt x="67" y="80"/>
                      <a:pt x="71" y="80"/>
                    </a:cubicBezTo>
                    <a:cubicBezTo>
                      <a:pt x="75" y="80"/>
                      <a:pt x="78" y="77"/>
                      <a:pt x="78" y="74"/>
                    </a:cubicBezTo>
                    <a:cubicBezTo>
                      <a:pt x="78" y="19"/>
                      <a:pt x="78" y="19"/>
                      <a:pt x="78" y="19"/>
                    </a:cubicBezTo>
                    <a:cubicBezTo>
                      <a:pt x="78" y="16"/>
                      <a:pt x="78" y="16"/>
                      <a:pt x="78" y="16"/>
                    </a:cubicBezTo>
                    <a:cubicBezTo>
                      <a:pt x="78" y="15"/>
                      <a:pt x="78" y="15"/>
                      <a:pt x="78" y="15"/>
                    </a:cubicBezTo>
                    <a:cubicBezTo>
                      <a:pt x="78" y="10"/>
                      <a:pt x="72" y="0"/>
                      <a:pt x="59" y="0"/>
                    </a:cubicBez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vert="horz" wrap="square" lIns="45720" tIns="22860" rIns="45720" bIns="22860" numCol="1" anchor="t" anchorCtr="0" compatLnSpc="1"/>
              <a:lstStyle/>
              <a:p>
                <a:endParaRPr lang="en-US" sz="900">
                  <a:latin typeface="Arial" panose="020B0604020202020204" pitchFamily="34" charset="0"/>
                  <a:ea typeface="微软雅黑" panose="020B0503020204020204" pitchFamily="34" charset="-122"/>
                  <a:cs typeface="思源黑体 CN Regular" panose="020B0500000000000000" charset="-122"/>
                  <a:sym typeface="Arial" panose="020B0604020202020204" pitchFamily="34" charset="0"/>
                </a:endParaRPr>
              </a:p>
            </p:txBody>
          </p:sp>
          <p:sp>
            <p:nvSpPr>
              <p:cNvPr id="254" name="Oval 13"/>
              <p:cNvSpPr>
                <a:spLocks noChangeArrowheads="1"/>
              </p:cNvSpPr>
              <p:nvPr/>
            </p:nvSpPr>
            <p:spPr bwMode="auto">
              <a:xfrm>
                <a:off x="4511675" y="2198688"/>
                <a:ext cx="115888" cy="115888"/>
              </a:xfrm>
              <a:prstGeom prst="ellipse">
                <a:avLst/>
              </a:prstGeom>
              <a:solidFill>
                <a:schemeClr val="accent3"/>
              </a:solidFill>
              <a:ln>
                <a:noFill/>
              </a:ln>
            </p:spPr>
            <p:txBody>
              <a:bodyPr vert="horz" wrap="square" lIns="45720" tIns="22860" rIns="45720" bIns="22860" numCol="1" anchor="t" anchorCtr="0" compatLnSpc="1"/>
              <a:lstStyle/>
              <a:p>
                <a:endParaRPr lang="en-US" sz="900">
                  <a:latin typeface="Arial" panose="020B0604020202020204" pitchFamily="34" charset="0"/>
                  <a:ea typeface="微软雅黑" panose="020B0503020204020204" pitchFamily="34" charset="-122"/>
                  <a:cs typeface="思源黑体 CN Regular" panose="020B0500000000000000" charset="-122"/>
                  <a:sym typeface="Arial" panose="020B0604020202020204" pitchFamily="34" charset="0"/>
                </a:endParaRPr>
              </a:p>
            </p:txBody>
          </p:sp>
        </p:grpSp>
        <p:grpSp>
          <p:nvGrpSpPr>
            <p:cNvPr id="226" name="Group 225"/>
            <p:cNvGrpSpPr/>
            <p:nvPr/>
          </p:nvGrpSpPr>
          <p:grpSpPr>
            <a:xfrm>
              <a:off x="7414587" y="5323449"/>
              <a:ext cx="204160" cy="519412"/>
              <a:chOff x="4422775" y="2198688"/>
              <a:chExt cx="292100" cy="742950"/>
            </a:xfrm>
            <a:solidFill>
              <a:schemeClr val="accent2"/>
            </a:solidFill>
          </p:grpSpPr>
          <p:sp>
            <p:nvSpPr>
              <p:cNvPr id="251" name="Freeform 12"/>
              <p:cNvSpPr/>
              <p:nvPr/>
            </p:nvSpPr>
            <p:spPr bwMode="auto">
              <a:xfrm>
                <a:off x="4422775" y="2325688"/>
                <a:ext cx="292100" cy="615950"/>
              </a:xfrm>
              <a:custGeom>
                <a:avLst/>
                <a:gdLst>
                  <a:gd name="T0" fmla="*/ 59 w 78"/>
                  <a:gd name="T1" fmla="*/ 0 h 164"/>
                  <a:gd name="T2" fmla="*/ 20 w 78"/>
                  <a:gd name="T3" fmla="*/ 0 h 164"/>
                  <a:gd name="T4" fmla="*/ 0 w 78"/>
                  <a:gd name="T5" fmla="*/ 16 h 164"/>
                  <a:gd name="T6" fmla="*/ 0 w 78"/>
                  <a:gd name="T7" fmla="*/ 16 h 164"/>
                  <a:gd name="T8" fmla="*/ 0 w 78"/>
                  <a:gd name="T9" fmla="*/ 19 h 164"/>
                  <a:gd name="T10" fmla="*/ 0 w 78"/>
                  <a:gd name="T11" fmla="*/ 74 h 164"/>
                  <a:gd name="T12" fmla="*/ 7 w 78"/>
                  <a:gd name="T13" fmla="*/ 80 h 164"/>
                  <a:gd name="T14" fmla="*/ 13 w 78"/>
                  <a:gd name="T15" fmla="*/ 74 h 164"/>
                  <a:gd name="T16" fmla="*/ 13 w 78"/>
                  <a:gd name="T17" fmla="*/ 26 h 164"/>
                  <a:gd name="T18" fmla="*/ 19 w 78"/>
                  <a:gd name="T19" fmla="*/ 26 h 164"/>
                  <a:gd name="T20" fmla="*/ 19 w 78"/>
                  <a:gd name="T21" fmla="*/ 72 h 164"/>
                  <a:gd name="T22" fmla="*/ 19 w 78"/>
                  <a:gd name="T23" fmla="*/ 73 h 164"/>
                  <a:gd name="T24" fmla="*/ 19 w 78"/>
                  <a:gd name="T25" fmla="*/ 154 h 164"/>
                  <a:gd name="T26" fmla="*/ 28 w 78"/>
                  <a:gd name="T27" fmla="*/ 164 h 164"/>
                  <a:gd name="T28" fmla="*/ 37 w 78"/>
                  <a:gd name="T29" fmla="*/ 154 h 164"/>
                  <a:gd name="T30" fmla="*/ 37 w 78"/>
                  <a:gd name="T31" fmla="*/ 83 h 164"/>
                  <a:gd name="T32" fmla="*/ 41 w 78"/>
                  <a:gd name="T33" fmla="*/ 83 h 164"/>
                  <a:gd name="T34" fmla="*/ 41 w 78"/>
                  <a:gd name="T35" fmla="*/ 154 h 164"/>
                  <a:gd name="T36" fmla="*/ 50 w 78"/>
                  <a:gd name="T37" fmla="*/ 164 h 164"/>
                  <a:gd name="T38" fmla="*/ 59 w 78"/>
                  <a:gd name="T39" fmla="*/ 154 h 164"/>
                  <a:gd name="T40" fmla="*/ 59 w 78"/>
                  <a:gd name="T41" fmla="*/ 72 h 164"/>
                  <a:gd name="T42" fmla="*/ 59 w 78"/>
                  <a:gd name="T43" fmla="*/ 71 h 164"/>
                  <a:gd name="T44" fmla="*/ 59 w 78"/>
                  <a:gd name="T45" fmla="*/ 26 h 164"/>
                  <a:gd name="T46" fmla="*/ 64 w 78"/>
                  <a:gd name="T47" fmla="*/ 26 h 164"/>
                  <a:gd name="T48" fmla="*/ 64 w 78"/>
                  <a:gd name="T49" fmla="*/ 74 h 164"/>
                  <a:gd name="T50" fmla="*/ 71 w 78"/>
                  <a:gd name="T51" fmla="*/ 80 h 164"/>
                  <a:gd name="T52" fmla="*/ 78 w 78"/>
                  <a:gd name="T53" fmla="*/ 74 h 164"/>
                  <a:gd name="T54" fmla="*/ 78 w 78"/>
                  <a:gd name="T55" fmla="*/ 19 h 164"/>
                  <a:gd name="T56" fmla="*/ 78 w 78"/>
                  <a:gd name="T57" fmla="*/ 16 h 164"/>
                  <a:gd name="T58" fmla="*/ 78 w 78"/>
                  <a:gd name="T59" fmla="*/ 15 h 164"/>
                  <a:gd name="T60" fmla="*/ 59 w 78"/>
                  <a:gd name="T61" fmla="*/ 0 h 1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78" h="164">
                    <a:moveTo>
                      <a:pt x="59" y="0"/>
                    </a:moveTo>
                    <a:cubicBezTo>
                      <a:pt x="20" y="0"/>
                      <a:pt x="20" y="0"/>
                      <a:pt x="20" y="0"/>
                    </a:cubicBezTo>
                    <a:cubicBezTo>
                      <a:pt x="6" y="0"/>
                      <a:pt x="0" y="12"/>
                      <a:pt x="0" y="16"/>
                    </a:cubicBezTo>
                    <a:cubicBezTo>
                      <a:pt x="0" y="16"/>
                      <a:pt x="0" y="16"/>
                      <a:pt x="0" y="16"/>
                    </a:cubicBezTo>
                    <a:cubicBezTo>
                      <a:pt x="0" y="19"/>
                      <a:pt x="0" y="19"/>
                      <a:pt x="0" y="19"/>
                    </a:cubicBezTo>
                    <a:cubicBezTo>
                      <a:pt x="0" y="74"/>
                      <a:pt x="0" y="74"/>
                      <a:pt x="0" y="74"/>
                    </a:cubicBezTo>
                    <a:cubicBezTo>
                      <a:pt x="0" y="77"/>
                      <a:pt x="3" y="80"/>
                      <a:pt x="7" y="80"/>
                    </a:cubicBezTo>
                    <a:cubicBezTo>
                      <a:pt x="10" y="80"/>
                      <a:pt x="13" y="77"/>
                      <a:pt x="13" y="74"/>
                    </a:cubicBezTo>
                    <a:cubicBezTo>
                      <a:pt x="13" y="26"/>
                      <a:pt x="13" y="26"/>
                      <a:pt x="13" y="26"/>
                    </a:cubicBezTo>
                    <a:cubicBezTo>
                      <a:pt x="19" y="26"/>
                      <a:pt x="19" y="26"/>
                      <a:pt x="19" y="26"/>
                    </a:cubicBezTo>
                    <a:cubicBezTo>
                      <a:pt x="19" y="72"/>
                      <a:pt x="19" y="72"/>
                      <a:pt x="19" y="72"/>
                    </a:cubicBezTo>
                    <a:cubicBezTo>
                      <a:pt x="19" y="72"/>
                      <a:pt x="19" y="73"/>
                      <a:pt x="19" y="73"/>
                    </a:cubicBezTo>
                    <a:cubicBezTo>
                      <a:pt x="19" y="154"/>
                      <a:pt x="19" y="154"/>
                      <a:pt x="19" y="154"/>
                    </a:cubicBezTo>
                    <a:cubicBezTo>
                      <a:pt x="19" y="159"/>
                      <a:pt x="23" y="164"/>
                      <a:pt x="28" y="164"/>
                    </a:cubicBezTo>
                    <a:cubicBezTo>
                      <a:pt x="33" y="164"/>
                      <a:pt x="37" y="159"/>
                      <a:pt x="37" y="154"/>
                    </a:cubicBezTo>
                    <a:cubicBezTo>
                      <a:pt x="37" y="83"/>
                      <a:pt x="37" y="83"/>
                      <a:pt x="37" y="83"/>
                    </a:cubicBezTo>
                    <a:cubicBezTo>
                      <a:pt x="41" y="83"/>
                      <a:pt x="41" y="83"/>
                      <a:pt x="41" y="83"/>
                    </a:cubicBezTo>
                    <a:cubicBezTo>
                      <a:pt x="41" y="154"/>
                      <a:pt x="41" y="154"/>
                      <a:pt x="41" y="154"/>
                    </a:cubicBezTo>
                    <a:cubicBezTo>
                      <a:pt x="41" y="159"/>
                      <a:pt x="45" y="164"/>
                      <a:pt x="50" y="164"/>
                    </a:cubicBezTo>
                    <a:cubicBezTo>
                      <a:pt x="55" y="164"/>
                      <a:pt x="59" y="159"/>
                      <a:pt x="59" y="154"/>
                    </a:cubicBezTo>
                    <a:cubicBezTo>
                      <a:pt x="59" y="72"/>
                      <a:pt x="59" y="72"/>
                      <a:pt x="59" y="72"/>
                    </a:cubicBezTo>
                    <a:cubicBezTo>
                      <a:pt x="59" y="71"/>
                      <a:pt x="59" y="71"/>
                      <a:pt x="59" y="71"/>
                    </a:cubicBezTo>
                    <a:cubicBezTo>
                      <a:pt x="59" y="26"/>
                      <a:pt x="59" y="26"/>
                      <a:pt x="59" y="26"/>
                    </a:cubicBezTo>
                    <a:cubicBezTo>
                      <a:pt x="64" y="26"/>
                      <a:pt x="64" y="26"/>
                      <a:pt x="64" y="26"/>
                    </a:cubicBezTo>
                    <a:cubicBezTo>
                      <a:pt x="64" y="74"/>
                      <a:pt x="64" y="74"/>
                      <a:pt x="64" y="74"/>
                    </a:cubicBezTo>
                    <a:cubicBezTo>
                      <a:pt x="64" y="77"/>
                      <a:pt x="67" y="80"/>
                      <a:pt x="71" y="80"/>
                    </a:cubicBezTo>
                    <a:cubicBezTo>
                      <a:pt x="75" y="80"/>
                      <a:pt x="78" y="77"/>
                      <a:pt x="78" y="74"/>
                    </a:cubicBezTo>
                    <a:cubicBezTo>
                      <a:pt x="78" y="19"/>
                      <a:pt x="78" y="19"/>
                      <a:pt x="78" y="19"/>
                    </a:cubicBezTo>
                    <a:cubicBezTo>
                      <a:pt x="78" y="16"/>
                      <a:pt x="78" y="16"/>
                      <a:pt x="78" y="16"/>
                    </a:cubicBezTo>
                    <a:cubicBezTo>
                      <a:pt x="78" y="15"/>
                      <a:pt x="78" y="15"/>
                      <a:pt x="78" y="15"/>
                    </a:cubicBezTo>
                    <a:cubicBezTo>
                      <a:pt x="78" y="10"/>
                      <a:pt x="72" y="0"/>
                      <a:pt x="59" y="0"/>
                    </a:cubicBez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vert="horz" wrap="square" lIns="45720" tIns="22860" rIns="45720" bIns="22860" numCol="1" anchor="t" anchorCtr="0" compatLnSpc="1"/>
              <a:lstStyle/>
              <a:p>
                <a:endParaRPr lang="en-US" sz="900">
                  <a:latin typeface="Arial" panose="020B0604020202020204" pitchFamily="34" charset="0"/>
                  <a:ea typeface="微软雅黑" panose="020B0503020204020204" pitchFamily="34" charset="-122"/>
                  <a:cs typeface="思源黑体 CN Regular" panose="020B0500000000000000" charset="-122"/>
                  <a:sym typeface="Arial" panose="020B0604020202020204" pitchFamily="34" charset="0"/>
                </a:endParaRPr>
              </a:p>
            </p:txBody>
          </p:sp>
          <p:sp>
            <p:nvSpPr>
              <p:cNvPr id="252" name="Oval 13"/>
              <p:cNvSpPr>
                <a:spLocks noChangeArrowheads="1"/>
              </p:cNvSpPr>
              <p:nvPr/>
            </p:nvSpPr>
            <p:spPr bwMode="auto">
              <a:xfrm>
                <a:off x="4511675" y="2198688"/>
                <a:ext cx="115888" cy="115888"/>
              </a:xfrm>
              <a:prstGeom prst="ellipse">
                <a:avLst/>
              </a:prstGeom>
              <a:solidFill>
                <a:schemeClr val="accent3"/>
              </a:solidFill>
              <a:ln>
                <a:noFill/>
              </a:ln>
            </p:spPr>
            <p:txBody>
              <a:bodyPr vert="horz" wrap="square" lIns="45720" tIns="22860" rIns="45720" bIns="22860" numCol="1" anchor="t" anchorCtr="0" compatLnSpc="1"/>
              <a:lstStyle/>
              <a:p>
                <a:endParaRPr lang="en-US" sz="900">
                  <a:latin typeface="Arial" panose="020B0604020202020204" pitchFamily="34" charset="0"/>
                  <a:ea typeface="微软雅黑" panose="020B0503020204020204" pitchFamily="34" charset="-122"/>
                  <a:cs typeface="思源黑体 CN Regular" panose="020B0500000000000000" charset="-122"/>
                  <a:sym typeface="Arial" panose="020B0604020202020204" pitchFamily="34" charset="0"/>
                </a:endParaRPr>
              </a:p>
            </p:txBody>
          </p:sp>
        </p:grpSp>
        <p:grpSp>
          <p:nvGrpSpPr>
            <p:cNvPr id="227" name="Group 226"/>
            <p:cNvGrpSpPr/>
            <p:nvPr/>
          </p:nvGrpSpPr>
          <p:grpSpPr>
            <a:xfrm>
              <a:off x="7725370" y="5323449"/>
              <a:ext cx="204160" cy="519412"/>
              <a:chOff x="4422775" y="2198688"/>
              <a:chExt cx="292100" cy="742950"/>
            </a:xfrm>
            <a:solidFill>
              <a:schemeClr val="accent2"/>
            </a:solidFill>
          </p:grpSpPr>
          <p:sp>
            <p:nvSpPr>
              <p:cNvPr id="249" name="Freeform 12"/>
              <p:cNvSpPr/>
              <p:nvPr/>
            </p:nvSpPr>
            <p:spPr bwMode="auto">
              <a:xfrm>
                <a:off x="4422775" y="2325688"/>
                <a:ext cx="292100" cy="615950"/>
              </a:xfrm>
              <a:custGeom>
                <a:avLst/>
                <a:gdLst>
                  <a:gd name="T0" fmla="*/ 59 w 78"/>
                  <a:gd name="T1" fmla="*/ 0 h 164"/>
                  <a:gd name="T2" fmla="*/ 20 w 78"/>
                  <a:gd name="T3" fmla="*/ 0 h 164"/>
                  <a:gd name="T4" fmla="*/ 0 w 78"/>
                  <a:gd name="T5" fmla="*/ 16 h 164"/>
                  <a:gd name="T6" fmla="*/ 0 w 78"/>
                  <a:gd name="T7" fmla="*/ 16 h 164"/>
                  <a:gd name="T8" fmla="*/ 0 w 78"/>
                  <a:gd name="T9" fmla="*/ 19 h 164"/>
                  <a:gd name="T10" fmla="*/ 0 w 78"/>
                  <a:gd name="T11" fmla="*/ 74 h 164"/>
                  <a:gd name="T12" fmla="*/ 7 w 78"/>
                  <a:gd name="T13" fmla="*/ 80 h 164"/>
                  <a:gd name="T14" fmla="*/ 13 w 78"/>
                  <a:gd name="T15" fmla="*/ 74 h 164"/>
                  <a:gd name="T16" fmla="*/ 13 w 78"/>
                  <a:gd name="T17" fmla="*/ 26 h 164"/>
                  <a:gd name="T18" fmla="*/ 19 w 78"/>
                  <a:gd name="T19" fmla="*/ 26 h 164"/>
                  <a:gd name="T20" fmla="*/ 19 w 78"/>
                  <a:gd name="T21" fmla="*/ 72 h 164"/>
                  <a:gd name="T22" fmla="*/ 19 w 78"/>
                  <a:gd name="T23" fmla="*/ 73 h 164"/>
                  <a:gd name="T24" fmla="*/ 19 w 78"/>
                  <a:gd name="T25" fmla="*/ 154 h 164"/>
                  <a:gd name="T26" fmla="*/ 28 w 78"/>
                  <a:gd name="T27" fmla="*/ 164 h 164"/>
                  <a:gd name="T28" fmla="*/ 37 w 78"/>
                  <a:gd name="T29" fmla="*/ 154 h 164"/>
                  <a:gd name="T30" fmla="*/ 37 w 78"/>
                  <a:gd name="T31" fmla="*/ 83 h 164"/>
                  <a:gd name="T32" fmla="*/ 41 w 78"/>
                  <a:gd name="T33" fmla="*/ 83 h 164"/>
                  <a:gd name="T34" fmla="*/ 41 w 78"/>
                  <a:gd name="T35" fmla="*/ 154 h 164"/>
                  <a:gd name="T36" fmla="*/ 50 w 78"/>
                  <a:gd name="T37" fmla="*/ 164 h 164"/>
                  <a:gd name="T38" fmla="*/ 59 w 78"/>
                  <a:gd name="T39" fmla="*/ 154 h 164"/>
                  <a:gd name="T40" fmla="*/ 59 w 78"/>
                  <a:gd name="T41" fmla="*/ 72 h 164"/>
                  <a:gd name="T42" fmla="*/ 59 w 78"/>
                  <a:gd name="T43" fmla="*/ 71 h 164"/>
                  <a:gd name="T44" fmla="*/ 59 w 78"/>
                  <a:gd name="T45" fmla="*/ 26 h 164"/>
                  <a:gd name="T46" fmla="*/ 64 w 78"/>
                  <a:gd name="T47" fmla="*/ 26 h 164"/>
                  <a:gd name="T48" fmla="*/ 64 w 78"/>
                  <a:gd name="T49" fmla="*/ 74 h 164"/>
                  <a:gd name="T50" fmla="*/ 71 w 78"/>
                  <a:gd name="T51" fmla="*/ 80 h 164"/>
                  <a:gd name="T52" fmla="*/ 78 w 78"/>
                  <a:gd name="T53" fmla="*/ 74 h 164"/>
                  <a:gd name="T54" fmla="*/ 78 w 78"/>
                  <a:gd name="T55" fmla="*/ 19 h 164"/>
                  <a:gd name="T56" fmla="*/ 78 w 78"/>
                  <a:gd name="T57" fmla="*/ 16 h 164"/>
                  <a:gd name="T58" fmla="*/ 78 w 78"/>
                  <a:gd name="T59" fmla="*/ 15 h 164"/>
                  <a:gd name="T60" fmla="*/ 59 w 78"/>
                  <a:gd name="T61" fmla="*/ 0 h 1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78" h="164">
                    <a:moveTo>
                      <a:pt x="59" y="0"/>
                    </a:moveTo>
                    <a:cubicBezTo>
                      <a:pt x="20" y="0"/>
                      <a:pt x="20" y="0"/>
                      <a:pt x="20" y="0"/>
                    </a:cubicBezTo>
                    <a:cubicBezTo>
                      <a:pt x="6" y="0"/>
                      <a:pt x="0" y="12"/>
                      <a:pt x="0" y="16"/>
                    </a:cubicBezTo>
                    <a:cubicBezTo>
                      <a:pt x="0" y="16"/>
                      <a:pt x="0" y="16"/>
                      <a:pt x="0" y="16"/>
                    </a:cubicBezTo>
                    <a:cubicBezTo>
                      <a:pt x="0" y="19"/>
                      <a:pt x="0" y="19"/>
                      <a:pt x="0" y="19"/>
                    </a:cubicBezTo>
                    <a:cubicBezTo>
                      <a:pt x="0" y="74"/>
                      <a:pt x="0" y="74"/>
                      <a:pt x="0" y="74"/>
                    </a:cubicBezTo>
                    <a:cubicBezTo>
                      <a:pt x="0" y="77"/>
                      <a:pt x="3" y="80"/>
                      <a:pt x="7" y="80"/>
                    </a:cubicBezTo>
                    <a:cubicBezTo>
                      <a:pt x="10" y="80"/>
                      <a:pt x="13" y="77"/>
                      <a:pt x="13" y="74"/>
                    </a:cubicBezTo>
                    <a:cubicBezTo>
                      <a:pt x="13" y="26"/>
                      <a:pt x="13" y="26"/>
                      <a:pt x="13" y="26"/>
                    </a:cubicBezTo>
                    <a:cubicBezTo>
                      <a:pt x="19" y="26"/>
                      <a:pt x="19" y="26"/>
                      <a:pt x="19" y="26"/>
                    </a:cubicBezTo>
                    <a:cubicBezTo>
                      <a:pt x="19" y="72"/>
                      <a:pt x="19" y="72"/>
                      <a:pt x="19" y="72"/>
                    </a:cubicBezTo>
                    <a:cubicBezTo>
                      <a:pt x="19" y="72"/>
                      <a:pt x="19" y="73"/>
                      <a:pt x="19" y="73"/>
                    </a:cubicBezTo>
                    <a:cubicBezTo>
                      <a:pt x="19" y="154"/>
                      <a:pt x="19" y="154"/>
                      <a:pt x="19" y="154"/>
                    </a:cubicBezTo>
                    <a:cubicBezTo>
                      <a:pt x="19" y="159"/>
                      <a:pt x="23" y="164"/>
                      <a:pt x="28" y="164"/>
                    </a:cubicBezTo>
                    <a:cubicBezTo>
                      <a:pt x="33" y="164"/>
                      <a:pt x="37" y="159"/>
                      <a:pt x="37" y="154"/>
                    </a:cubicBezTo>
                    <a:cubicBezTo>
                      <a:pt x="37" y="83"/>
                      <a:pt x="37" y="83"/>
                      <a:pt x="37" y="83"/>
                    </a:cubicBezTo>
                    <a:cubicBezTo>
                      <a:pt x="41" y="83"/>
                      <a:pt x="41" y="83"/>
                      <a:pt x="41" y="83"/>
                    </a:cubicBezTo>
                    <a:cubicBezTo>
                      <a:pt x="41" y="154"/>
                      <a:pt x="41" y="154"/>
                      <a:pt x="41" y="154"/>
                    </a:cubicBezTo>
                    <a:cubicBezTo>
                      <a:pt x="41" y="159"/>
                      <a:pt x="45" y="164"/>
                      <a:pt x="50" y="164"/>
                    </a:cubicBezTo>
                    <a:cubicBezTo>
                      <a:pt x="55" y="164"/>
                      <a:pt x="59" y="159"/>
                      <a:pt x="59" y="154"/>
                    </a:cubicBezTo>
                    <a:cubicBezTo>
                      <a:pt x="59" y="72"/>
                      <a:pt x="59" y="72"/>
                      <a:pt x="59" y="72"/>
                    </a:cubicBezTo>
                    <a:cubicBezTo>
                      <a:pt x="59" y="71"/>
                      <a:pt x="59" y="71"/>
                      <a:pt x="59" y="71"/>
                    </a:cubicBezTo>
                    <a:cubicBezTo>
                      <a:pt x="59" y="26"/>
                      <a:pt x="59" y="26"/>
                      <a:pt x="59" y="26"/>
                    </a:cubicBezTo>
                    <a:cubicBezTo>
                      <a:pt x="64" y="26"/>
                      <a:pt x="64" y="26"/>
                      <a:pt x="64" y="26"/>
                    </a:cubicBezTo>
                    <a:cubicBezTo>
                      <a:pt x="64" y="74"/>
                      <a:pt x="64" y="74"/>
                      <a:pt x="64" y="74"/>
                    </a:cubicBezTo>
                    <a:cubicBezTo>
                      <a:pt x="64" y="77"/>
                      <a:pt x="67" y="80"/>
                      <a:pt x="71" y="80"/>
                    </a:cubicBezTo>
                    <a:cubicBezTo>
                      <a:pt x="75" y="80"/>
                      <a:pt x="78" y="77"/>
                      <a:pt x="78" y="74"/>
                    </a:cubicBezTo>
                    <a:cubicBezTo>
                      <a:pt x="78" y="19"/>
                      <a:pt x="78" y="19"/>
                      <a:pt x="78" y="19"/>
                    </a:cubicBezTo>
                    <a:cubicBezTo>
                      <a:pt x="78" y="16"/>
                      <a:pt x="78" y="16"/>
                      <a:pt x="78" y="16"/>
                    </a:cubicBezTo>
                    <a:cubicBezTo>
                      <a:pt x="78" y="15"/>
                      <a:pt x="78" y="15"/>
                      <a:pt x="78" y="15"/>
                    </a:cubicBezTo>
                    <a:cubicBezTo>
                      <a:pt x="78" y="10"/>
                      <a:pt x="72" y="0"/>
                      <a:pt x="59" y="0"/>
                    </a:cubicBez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vert="horz" wrap="square" lIns="45720" tIns="22860" rIns="45720" bIns="22860" numCol="1" anchor="t" anchorCtr="0" compatLnSpc="1"/>
              <a:lstStyle/>
              <a:p>
                <a:endParaRPr lang="en-US" sz="900">
                  <a:latin typeface="Arial" panose="020B0604020202020204" pitchFamily="34" charset="0"/>
                  <a:ea typeface="微软雅黑" panose="020B0503020204020204" pitchFamily="34" charset="-122"/>
                  <a:cs typeface="思源黑体 CN Regular" panose="020B0500000000000000" charset="-122"/>
                  <a:sym typeface="Arial" panose="020B0604020202020204" pitchFamily="34" charset="0"/>
                </a:endParaRPr>
              </a:p>
            </p:txBody>
          </p:sp>
          <p:sp>
            <p:nvSpPr>
              <p:cNvPr id="250" name="Oval 13"/>
              <p:cNvSpPr>
                <a:spLocks noChangeArrowheads="1"/>
              </p:cNvSpPr>
              <p:nvPr/>
            </p:nvSpPr>
            <p:spPr bwMode="auto">
              <a:xfrm>
                <a:off x="4511675" y="2198688"/>
                <a:ext cx="115888" cy="115888"/>
              </a:xfrm>
              <a:prstGeom prst="ellipse">
                <a:avLst/>
              </a:prstGeom>
              <a:solidFill>
                <a:schemeClr val="accent3"/>
              </a:solidFill>
              <a:ln>
                <a:noFill/>
              </a:ln>
            </p:spPr>
            <p:txBody>
              <a:bodyPr vert="horz" wrap="square" lIns="45720" tIns="22860" rIns="45720" bIns="22860" numCol="1" anchor="t" anchorCtr="0" compatLnSpc="1"/>
              <a:lstStyle/>
              <a:p>
                <a:endParaRPr lang="en-US" sz="900">
                  <a:latin typeface="Arial" panose="020B0604020202020204" pitchFamily="34" charset="0"/>
                  <a:ea typeface="微软雅黑" panose="020B0503020204020204" pitchFamily="34" charset="-122"/>
                  <a:cs typeface="思源黑体 CN Regular" panose="020B0500000000000000" charset="-122"/>
                  <a:sym typeface="Arial" panose="020B0604020202020204" pitchFamily="34" charset="0"/>
                </a:endParaRPr>
              </a:p>
            </p:txBody>
          </p:sp>
        </p:grpSp>
        <p:grpSp>
          <p:nvGrpSpPr>
            <p:cNvPr id="228" name="Group 227"/>
            <p:cNvGrpSpPr/>
            <p:nvPr/>
          </p:nvGrpSpPr>
          <p:grpSpPr>
            <a:xfrm>
              <a:off x="8034607" y="5323449"/>
              <a:ext cx="204160" cy="519412"/>
              <a:chOff x="4422775" y="2198688"/>
              <a:chExt cx="292100" cy="742950"/>
            </a:xfrm>
            <a:solidFill>
              <a:schemeClr val="accent2"/>
            </a:solidFill>
          </p:grpSpPr>
          <p:sp>
            <p:nvSpPr>
              <p:cNvPr id="247" name="Freeform 12"/>
              <p:cNvSpPr/>
              <p:nvPr/>
            </p:nvSpPr>
            <p:spPr bwMode="auto">
              <a:xfrm>
                <a:off x="4422775" y="2325688"/>
                <a:ext cx="292100" cy="615950"/>
              </a:xfrm>
              <a:custGeom>
                <a:avLst/>
                <a:gdLst>
                  <a:gd name="T0" fmla="*/ 59 w 78"/>
                  <a:gd name="T1" fmla="*/ 0 h 164"/>
                  <a:gd name="T2" fmla="*/ 20 w 78"/>
                  <a:gd name="T3" fmla="*/ 0 h 164"/>
                  <a:gd name="T4" fmla="*/ 0 w 78"/>
                  <a:gd name="T5" fmla="*/ 16 h 164"/>
                  <a:gd name="T6" fmla="*/ 0 w 78"/>
                  <a:gd name="T7" fmla="*/ 16 h 164"/>
                  <a:gd name="T8" fmla="*/ 0 w 78"/>
                  <a:gd name="T9" fmla="*/ 19 h 164"/>
                  <a:gd name="T10" fmla="*/ 0 w 78"/>
                  <a:gd name="T11" fmla="*/ 74 h 164"/>
                  <a:gd name="T12" fmla="*/ 7 w 78"/>
                  <a:gd name="T13" fmla="*/ 80 h 164"/>
                  <a:gd name="T14" fmla="*/ 13 w 78"/>
                  <a:gd name="T15" fmla="*/ 74 h 164"/>
                  <a:gd name="T16" fmla="*/ 13 w 78"/>
                  <a:gd name="T17" fmla="*/ 26 h 164"/>
                  <a:gd name="T18" fmla="*/ 19 w 78"/>
                  <a:gd name="T19" fmla="*/ 26 h 164"/>
                  <a:gd name="T20" fmla="*/ 19 w 78"/>
                  <a:gd name="T21" fmla="*/ 72 h 164"/>
                  <a:gd name="T22" fmla="*/ 19 w 78"/>
                  <a:gd name="T23" fmla="*/ 73 h 164"/>
                  <a:gd name="T24" fmla="*/ 19 w 78"/>
                  <a:gd name="T25" fmla="*/ 154 h 164"/>
                  <a:gd name="T26" fmla="*/ 28 w 78"/>
                  <a:gd name="T27" fmla="*/ 164 h 164"/>
                  <a:gd name="T28" fmla="*/ 37 w 78"/>
                  <a:gd name="T29" fmla="*/ 154 h 164"/>
                  <a:gd name="T30" fmla="*/ 37 w 78"/>
                  <a:gd name="T31" fmla="*/ 83 h 164"/>
                  <a:gd name="T32" fmla="*/ 41 w 78"/>
                  <a:gd name="T33" fmla="*/ 83 h 164"/>
                  <a:gd name="T34" fmla="*/ 41 w 78"/>
                  <a:gd name="T35" fmla="*/ 154 h 164"/>
                  <a:gd name="T36" fmla="*/ 50 w 78"/>
                  <a:gd name="T37" fmla="*/ 164 h 164"/>
                  <a:gd name="T38" fmla="*/ 59 w 78"/>
                  <a:gd name="T39" fmla="*/ 154 h 164"/>
                  <a:gd name="T40" fmla="*/ 59 w 78"/>
                  <a:gd name="T41" fmla="*/ 72 h 164"/>
                  <a:gd name="T42" fmla="*/ 59 w 78"/>
                  <a:gd name="T43" fmla="*/ 71 h 164"/>
                  <a:gd name="T44" fmla="*/ 59 w 78"/>
                  <a:gd name="T45" fmla="*/ 26 h 164"/>
                  <a:gd name="T46" fmla="*/ 64 w 78"/>
                  <a:gd name="T47" fmla="*/ 26 h 164"/>
                  <a:gd name="T48" fmla="*/ 64 w 78"/>
                  <a:gd name="T49" fmla="*/ 74 h 164"/>
                  <a:gd name="T50" fmla="*/ 71 w 78"/>
                  <a:gd name="T51" fmla="*/ 80 h 164"/>
                  <a:gd name="T52" fmla="*/ 78 w 78"/>
                  <a:gd name="T53" fmla="*/ 74 h 164"/>
                  <a:gd name="T54" fmla="*/ 78 w 78"/>
                  <a:gd name="T55" fmla="*/ 19 h 164"/>
                  <a:gd name="T56" fmla="*/ 78 w 78"/>
                  <a:gd name="T57" fmla="*/ 16 h 164"/>
                  <a:gd name="T58" fmla="*/ 78 w 78"/>
                  <a:gd name="T59" fmla="*/ 15 h 164"/>
                  <a:gd name="T60" fmla="*/ 59 w 78"/>
                  <a:gd name="T61" fmla="*/ 0 h 1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78" h="164">
                    <a:moveTo>
                      <a:pt x="59" y="0"/>
                    </a:moveTo>
                    <a:cubicBezTo>
                      <a:pt x="20" y="0"/>
                      <a:pt x="20" y="0"/>
                      <a:pt x="20" y="0"/>
                    </a:cubicBezTo>
                    <a:cubicBezTo>
                      <a:pt x="6" y="0"/>
                      <a:pt x="0" y="12"/>
                      <a:pt x="0" y="16"/>
                    </a:cubicBezTo>
                    <a:cubicBezTo>
                      <a:pt x="0" y="16"/>
                      <a:pt x="0" y="16"/>
                      <a:pt x="0" y="16"/>
                    </a:cubicBezTo>
                    <a:cubicBezTo>
                      <a:pt x="0" y="19"/>
                      <a:pt x="0" y="19"/>
                      <a:pt x="0" y="19"/>
                    </a:cubicBezTo>
                    <a:cubicBezTo>
                      <a:pt x="0" y="74"/>
                      <a:pt x="0" y="74"/>
                      <a:pt x="0" y="74"/>
                    </a:cubicBezTo>
                    <a:cubicBezTo>
                      <a:pt x="0" y="77"/>
                      <a:pt x="3" y="80"/>
                      <a:pt x="7" y="80"/>
                    </a:cubicBezTo>
                    <a:cubicBezTo>
                      <a:pt x="10" y="80"/>
                      <a:pt x="13" y="77"/>
                      <a:pt x="13" y="74"/>
                    </a:cubicBezTo>
                    <a:cubicBezTo>
                      <a:pt x="13" y="26"/>
                      <a:pt x="13" y="26"/>
                      <a:pt x="13" y="26"/>
                    </a:cubicBezTo>
                    <a:cubicBezTo>
                      <a:pt x="19" y="26"/>
                      <a:pt x="19" y="26"/>
                      <a:pt x="19" y="26"/>
                    </a:cubicBezTo>
                    <a:cubicBezTo>
                      <a:pt x="19" y="72"/>
                      <a:pt x="19" y="72"/>
                      <a:pt x="19" y="72"/>
                    </a:cubicBezTo>
                    <a:cubicBezTo>
                      <a:pt x="19" y="72"/>
                      <a:pt x="19" y="73"/>
                      <a:pt x="19" y="73"/>
                    </a:cubicBezTo>
                    <a:cubicBezTo>
                      <a:pt x="19" y="154"/>
                      <a:pt x="19" y="154"/>
                      <a:pt x="19" y="154"/>
                    </a:cubicBezTo>
                    <a:cubicBezTo>
                      <a:pt x="19" y="159"/>
                      <a:pt x="23" y="164"/>
                      <a:pt x="28" y="164"/>
                    </a:cubicBezTo>
                    <a:cubicBezTo>
                      <a:pt x="33" y="164"/>
                      <a:pt x="37" y="159"/>
                      <a:pt x="37" y="154"/>
                    </a:cubicBezTo>
                    <a:cubicBezTo>
                      <a:pt x="37" y="83"/>
                      <a:pt x="37" y="83"/>
                      <a:pt x="37" y="83"/>
                    </a:cubicBezTo>
                    <a:cubicBezTo>
                      <a:pt x="41" y="83"/>
                      <a:pt x="41" y="83"/>
                      <a:pt x="41" y="83"/>
                    </a:cubicBezTo>
                    <a:cubicBezTo>
                      <a:pt x="41" y="154"/>
                      <a:pt x="41" y="154"/>
                      <a:pt x="41" y="154"/>
                    </a:cubicBezTo>
                    <a:cubicBezTo>
                      <a:pt x="41" y="159"/>
                      <a:pt x="45" y="164"/>
                      <a:pt x="50" y="164"/>
                    </a:cubicBezTo>
                    <a:cubicBezTo>
                      <a:pt x="55" y="164"/>
                      <a:pt x="59" y="159"/>
                      <a:pt x="59" y="154"/>
                    </a:cubicBezTo>
                    <a:cubicBezTo>
                      <a:pt x="59" y="72"/>
                      <a:pt x="59" y="72"/>
                      <a:pt x="59" y="72"/>
                    </a:cubicBezTo>
                    <a:cubicBezTo>
                      <a:pt x="59" y="71"/>
                      <a:pt x="59" y="71"/>
                      <a:pt x="59" y="71"/>
                    </a:cubicBezTo>
                    <a:cubicBezTo>
                      <a:pt x="59" y="26"/>
                      <a:pt x="59" y="26"/>
                      <a:pt x="59" y="26"/>
                    </a:cubicBezTo>
                    <a:cubicBezTo>
                      <a:pt x="64" y="26"/>
                      <a:pt x="64" y="26"/>
                      <a:pt x="64" y="26"/>
                    </a:cubicBezTo>
                    <a:cubicBezTo>
                      <a:pt x="64" y="74"/>
                      <a:pt x="64" y="74"/>
                      <a:pt x="64" y="74"/>
                    </a:cubicBezTo>
                    <a:cubicBezTo>
                      <a:pt x="64" y="77"/>
                      <a:pt x="67" y="80"/>
                      <a:pt x="71" y="80"/>
                    </a:cubicBezTo>
                    <a:cubicBezTo>
                      <a:pt x="75" y="80"/>
                      <a:pt x="78" y="77"/>
                      <a:pt x="78" y="74"/>
                    </a:cubicBezTo>
                    <a:cubicBezTo>
                      <a:pt x="78" y="19"/>
                      <a:pt x="78" y="19"/>
                      <a:pt x="78" y="19"/>
                    </a:cubicBezTo>
                    <a:cubicBezTo>
                      <a:pt x="78" y="16"/>
                      <a:pt x="78" y="16"/>
                      <a:pt x="78" y="16"/>
                    </a:cubicBezTo>
                    <a:cubicBezTo>
                      <a:pt x="78" y="15"/>
                      <a:pt x="78" y="15"/>
                      <a:pt x="78" y="15"/>
                    </a:cubicBezTo>
                    <a:cubicBezTo>
                      <a:pt x="78" y="10"/>
                      <a:pt x="72" y="0"/>
                      <a:pt x="59" y="0"/>
                    </a:cubicBez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vert="horz" wrap="square" lIns="45720" tIns="22860" rIns="45720" bIns="22860" numCol="1" anchor="t" anchorCtr="0" compatLnSpc="1"/>
              <a:lstStyle/>
              <a:p>
                <a:endParaRPr lang="en-US" sz="900">
                  <a:latin typeface="Arial" panose="020B0604020202020204" pitchFamily="34" charset="0"/>
                  <a:ea typeface="微软雅黑" panose="020B0503020204020204" pitchFamily="34" charset="-122"/>
                  <a:cs typeface="思源黑体 CN Regular" panose="020B0500000000000000" charset="-122"/>
                  <a:sym typeface="Arial" panose="020B0604020202020204" pitchFamily="34" charset="0"/>
                </a:endParaRPr>
              </a:p>
            </p:txBody>
          </p:sp>
          <p:sp>
            <p:nvSpPr>
              <p:cNvPr id="248" name="Oval 13"/>
              <p:cNvSpPr>
                <a:spLocks noChangeArrowheads="1"/>
              </p:cNvSpPr>
              <p:nvPr/>
            </p:nvSpPr>
            <p:spPr bwMode="auto">
              <a:xfrm>
                <a:off x="4511675" y="2198688"/>
                <a:ext cx="115888" cy="115888"/>
              </a:xfrm>
              <a:prstGeom prst="ellipse">
                <a:avLst/>
              </a:prstGeom>
              <a:solidFill>
                <a:schemeClr val="accent3"/>
              </a:solidFill>
              <a:ln>
                <a:noFill/>
              </a:ln>
            </p:spPr>
            <p:txBody>
              <a:bodyPr vert="horz" wrap="square" lIns="45720" tIns="22860" rIns="45720" bIns="22860" numCol="1" anchor="t" anchorCtr="0" compatLnSpc="1"/>
              <a:lstStyle/>
              <a:p>
                <a:endParaRPr lang="en-US" sz="900">
                  <a:latin typeface="Arial" panose="020B0604020202020204" pitchFamily="34" charset="0"/>
                  <a:ea typeface="微软雅黑" panose="020B0503020204020204" pitchFamily="34" charset="-122"/>
                  <a:cs typeface="思源黑体 CN Regular" panose="020B0500000000000000" charset="-122"/>
                  <a:sym typeface="Arial" panose="020B0604020202020204" pitchFamily="34" charset="0"/>
                </a:endParaRPr>
              </a:p>
            </p:txBody>
          </p:sp>
        </p:grpSp>
        <p:grpSp>
          <p:nvGrpSpPr>
            <p:cNvPr id="229" name="Group 228"/>
            <p:cNvGrpSpPr/>
            <p:nvPr/>
          </p:nvGrpSpPr>
          <p:grpSpPr>
            <a:xfrm>
              <a:off x="8355968" y="5323449"/>
              <a:ext cx="204160" cy="519412"/>
              <a:chOff x="4422775" y="2198688"/>
              <a:chExt cx="292100" cy="742950"/>
            </a:xfrm>
            <a:solidFill>
              <a:schemeClr val="accent3"/>
            </a:solidFill>
          </p:grpSpPr>
          <p:sp>
            <p:nvSpPr>
              <p:cNvPr id="245" name="Freeform 12"/>
              <p:cNvSpPr/>
              <p:nvPr/>
            </p:nvSpPr>
            <p:spPr bwMode="auto">
              <a:xfrm>
                <a:off x="4422775" y="2325688"/>
                <a:ext cx="292100" cy="615950"/>
              </a:xfrm>
              <a:custGeom>
                <a:avLst/>
                <a:gdLst>
                  <a:gd name="T0" fmla="*/ 59 w 78"/>
                  <a:gd name="T1" fmla="*/ 0 h 164"/>
                  <a:gd name="T2" fmla="*/ 20 w 78"/>
                  <a:gd name="T3" fmla="*/ 0 h 164"/>
                  <a:gd name="T4" fmla="*/ 0 w 78"/>
                  <a:gd name="T5" fmla="*/ 16 h 164"/>
                  <a:gd name="T6" fmla="*/ 0 w 78"/>
                  <a:gd name="T7" fmla="*/ 16 h 164"/>
                  <a:gd name="T8" fmla="*/ 0 w 78"/>
                  <a:gd name="T9" fmla="*/ 19 h 164"/>
                  <a:gd name="T10" fmla="*/ 0 w 78"/>
                  <a:gd name="T11" fmla="*/ 74 h 164"/>
                  <a:gd name="T12" fmla="*/ 7 w 78"/>
                  <a:gd name="T13" fmla="*/ 80 h 164"/>
                  <a:gd name="T14" fmla="*/ 13 w 78"/>
                  <a:gd name="T15" fmla="*/ 74 h 164"/>
                  <a:gd name="T16" fmla="*/ 13 w 78"/>
                  <a:gd name="T17" fmla="*/ 26 h 164"/>
                  <a:gd name="T18" fmla="*/ 19 w 78"/>
                  <a:gd name="T19" fmla="*/ 26 h 164"/>
                  <a:gd name="T20" fmla="*/ 19 w 78"/>
                  <a:gd name="T21" fmla="*/ 72 h 164"/>
                  <a:gd name="T22" fmla="*/ 19 w 78"/>
                  <a:gd name="T23" fmla="*/ 73 h 164"/>
                  <a:gd name="T24" fmla="*/ 19 w 78"/>
                  <a:gd name="T25" fmla="*/ 154 h 164"/>
                  <a:gd name="T26" fmla="*/ 28 w 78"/>
                  <a:gd name="T27" fmla="*/ 164 h 164"/>
                  <a:gd name="T28" fmla="*/ 37 w 78"/>
                  <a:gd name="T29" fmla="*/ 154 h 164"/>
                  <a:gd name="T30" fmla="*/ 37 w 78"/>
                  <a:gd name="T31" fmla="*/ 83 h 164"/>
                  <a:gd name="T32" fmla="*/ 41 w 78"/>
                  <a:gd name="T33" fmla="*/ 83 h 164"/>
                  <a:gd name="T34" fmla="*/ 41 w 78"/>
                  <a:gd name="T35" fmla="*/ 154 h 164"/>
                  <a:gd name="T36" fmla="*/ 50 w 78"/>
                  <a:gd name="T37" fmla="*/ 164 h 164"/>
                  <a:gd name="T38" fmla="*/ 59 w 78"/>
                  <a:gd name="T39" fmla="*/ 154 h 164"/>
                  <a:gd name="T40" fmla="*/ 59 w 78"/>
                  <a:gd name="T41" fmla="*/ 72 h 164"/>
                  <a:gd name="T42" fmla="*/ 59 w 78"/>
                  <a:gd name="T43" fmla="*/ 71 h 164"/>
                  <a:gd name="T44" fmla="*/ 59 w 78"/>
                  <a:gd name="T45" fmla="*/ 26 h 164"/>
                  <a:gd name="T46" fmla="*/ 64 w 78"/>
                  <a:gd name="T47" fmla="*/ 26 h 164"/>
                  <a:gd name="T48" fmla="*/ 64 w 78"/>
                  <a:gd name="T49" fmla="*/ 74 h 164"/>
                  <a:gd name="T50" fmla="*/ 71 w 78"/>
                  <a:gd name="T51" fmla="*/ 80 h 164"/>
                  <a:gd name="T52" fmla="*/ 78 w 78"/>
                  <a:gd name="T53" fmla="*/ 74 h 164"/>
                  <a:gd name="T54" fmla="*/ 78 w 78"/>
                  <a:gd name="T55" fmla="*/ 19 h 164"/>
                  <a:gd name="T56" fmla="*/ 78 w 78"/>
                  <a:gd name="T57" fmla="*/ 16 h 164"/>
                  <a:gd name="T58" fmla="*/ 78 w 78"/>
                  <a:gd name="T59" fmla="*/ 15 h 164"/>
                  <a:gd name="T60" fmla="*/ 59 w 78"/>
                  <a:gd name="T61" fmla="*/ 0 h 1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78" h="164">
                    <a:moveTo>
                      <a:pt x="59" y="0"/>
                    </a:moveTo>
                    <a:cubicBezTo>
                      <a:pt x="20" y="0"/>
                      <a:pt x="20" y="0"/>
                      <a:pt x="20" y="0"/>
                    </a:cubicBezTo>
                    <a:cubicBezTo>
                      <a:pt x="6" y="0"/>
                      <a:pt x="0" y="12"/>
                      <a:pt x="0" y="16"/>
                    </a:cubicBezTo>
                    <a:cubicBezTo>
                      <a:pt x="0" y="16"/>
                      <a:pt x="0" y="16"/>
                      <a:pt x="0" y="16"/>
                    </a:cubicBezTo>
                    <a:cubicBezTo>
                      <a:pt x="0" y="19"/>
                      <a:pt x="0" y="19"/>
                      <a:pt x="0" y="19"/>
                    </a:cubicBezTo>
                    <a:cubicBezTo>
                      <a:pt x="0" y="74"/>
                      <a:pt x="0" y="74"/>
                      <a:pt x="0" y="74"/>
                    </a:cubicBezTo>
                    <a:cubicBezTo>
                      <a:pt x="0" y="77"/>
                      <a:pt x="3" y="80"/>
                      <a:pt x="7" y="80"/>
                    </a:cubicBezTo>
                    <a:cubicBezTo>
                      <a:pt x="10" y="80"/>
                      <a:pt x="13" y="77"/>
                      <a:pt x="13" y="74"/>
                    </a:cubicBezTo>
                    <a:cubicBezTo>
                      <a:pt x="13" y="26"/>
                      <a:pt x="13" y="26"/>
                      <a:pt x="13" y="26"/>
                    </a:cubicBezTo>
                    <a:cubicBezTo>
                      <a:pt x="19" y="26"/>
                      <a:pt x="19" y="26"/>
                      <a:pt x="19" y="26"/>
                    </a:cubicBezTo>
                    <a:cubicBezTo>
                      <a:pt x="19" y="72"/>
                      <a:pt x="19" y="72"/>
                      <a:pt x="19" y="72"/>
                    </a:cubicBezTo>
                    <a:cubicBezTo>
                      <a:pt x="19" y="72"/>
                      <a:pt x="19" y="73"/>
                      <a:pt x="19" y="73"/>
                    </a:cubicBezTo>
                    <a:cubicBezTo>
                      <a:pt x="19" y="154"/>
                      <a:pt x="19" y="154"/>
                      <a:pt x="19" y="154"/>
                    </a:cubicBezTo>
                    <a:cubicBezTo>
                      <a:pt x="19" y="159"/>
                      <a:pt x="23" y="164"/>
                      <a:pt x="28" y="164"/>
                    </a:cubicBezTo>
                    <a:cubicBezTo>
                      <a:pt x="33" y="164"/>
                      <a:pt x="37" y="159"/>
                      <a:pt x="37" y="154"/>
                    </a:cubicBezTo>
                    <a:cubicBezTo>
                      <a:pt x="37" y="83"/>
                      <a:pt x="37" y="83"/>
                      <a:pt x="37" y="83"/>
                    </a:cubicBezTo>
                    <a:cubicBezTo>
                      <a:pt x="41" y="83"/>
                      <a:pt x="41" y="83"/>
                      <a:pt x="41" y="83"/>
                    </a:cubicBezTo>
                    <a:cubicBezTo>
                      <a:pt x="41" y="154"/>
                      <a:pt x="41" y="154"/>
                      <a:pt x="41" y="154"/>
                    </a:cubicBezTo>
                    <a:cubicBezTo>
                      <a:pt x="41" y="159"/>
                      <a:pt x="45" y="164"/>
                      <a:pt x="50" y="164"/>
                    </a:cubicBezTo>
                    <a:cubicBezTo>
                      <a:pt x="55" y="164"/>
                      <a:pt x="59" y="159"/>
                      <a:pt x="59" y="154"/>
                    </a:cubicBezTo>
                    <a:cubicBezTo>
                      <a:pt x="59" y="72"/>
                      <a:pt x="59" y="72"/>
                      <a:pt x="59" y="72"/>
                    </a:cubicBezTo>
                    <a:cubicBezTo>
                      <a:pt x="59" y="71"/>
                      <a:pt x="59" y="71"/>
                      <a:pt x="59" y="71"/>
                    </a:cubicBezTo>
                    <a:cubicBezTo>
                      <a:pt x="59" y="26"/>
                      <a:pt x="59" y="26"/>
                      <a:pt x="59" y="26"/>
                    </a:cubicBezTo>
                    <a:cubicBezTo>
                      <a:pt x="64" y="26"/>
                      <a:pt x="64" y="26"/>
                      <a:pt x="64" y="26"/>
                    </a:cubicBezTo>
                    <a:cubicBezTo>
                      <a:pt x="64" y="74"/>
                      <a:pt x="64" y="74"/>
                      <a:pt x="64" y="74"/>
                    </a:cubicBezTo>
                    <a:cubicBezTo>
                      <a:pt x="64" y="77"/>
                      <a:pt x="67" y="80"/>
                      <a:pt x="71" y="80"/>
                    </a:cubicBezTo>
                    <a:cubicBezTo>
                      <a:pt x="75" y="80"/>
                      <a:pt x="78" y="77"/>
                      <a:pt x="78" y="74"/>
                    </a:cubicBezTo>
                    <a:cubicBezTo>
                      <a:pt x="78" y="19"/>
                      <a:pt x="78" y="19"/>
                      <a:pt x="78" y="19"/>
                    </a:cubicBezTo>
                    <a:cubicBezTo>
                      <a:pt x="78" y="16"/>
                      <a:pt x="78" y="16"/>
                      <a:pt x="78" y="16"/>
                    </a:cubicBezTo>
                    <a:cubicBezTo>
                      <a:pt x="78" y="15"/>
                      <a:pt x="78" y="15"/>
                      <a:pt x="78" y="15"/>
                    </a:cubicBezTo>
                    <a:cubicBezTo>
                      <a:pt x="78" y="10"/>
                      <a:pt x="72" y="0"/>
                      <a:pt x="59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45720" tIns="22860" rIns="45720" bIns="22860" numCol="1" anchor="t" anchorCtr="0" compatLnSpc="1"/>
              <a:lstStyle/>
              <a:p>
                <a:endParaRPr lang="en-US" sz="900">
                  <a:latin typeface="Arial" panose="020B0604020202020204" pitchFamily="34" charset="0"/>
                  <a:ea typeface="微软雅黑" panose="020B0503020204020204" pitchFamily="34" charset="-122"/>
                  <a:cs typeface="思源黑体 CN Regular" panose="020B0500000000000000" charset="-122"/>
                  <a:sym typeface="Arial" panose="020B0604020202020204" pitchFamily="34" charset="0"/>
                </a:endParaRPr>
              </a:p>
            </p:txBody>
          </p:sp>
          <p:sp>
            <p:nvSpPr>
              <p:cNvPr id="246" name="Oval 13"/>
              <p:cNvSpPr>
                <a:spLocks noChangeArrowheads="1"/>
              </p:cNvSpPr>
              <p:nvPr/>
            </p:nvSpPr>
            <p:spPr bwMode="auto">
              <a:xfrm>
                <a:off x="4511675" y="2198688"/>
                <a:ext cx="115888" cy="115888"/>
              </a:xfrm>
              <a:prstGeom prst="ellipse">
                <a:avLst/>
              </a:prstGeom>
              <a:grpFill/>
              <a:ln>
                <a:noFill/>
              </a:ln>
            </p:spPr>
            <p:txBody>
              <a:bodyPr vert="horz" wrap="square" lIns="45720" tIns="22860" rIns="45720" bIns="22860" numCol="1" anchor="t" anchorCtr="0" compatLnSpc="1"/>
              <a:lstStyle/>
              <a:p>
                <a:endParaRPr lang="en-US" sz="900">
                  <a:latin typeface="Arial" panose="020B0604020202020204" pitchFamily="34" charset="0"/>
                  <a:ea typeface="微软雅黑" panose="020B0503020204020204" pitchFamily="34" charset="-122"/>
                  <a:cs typeface="思源黑体 CN Regular" panose="020B0500000000000000" charset="-122"/>
                  <a:sym typeface="Arial" panose="020B0604020202020204" pitchFamily="34" charset="0"/>
                </a:endParaRPr>
              </a:p>
            </p:txBody>
          </p:sp>
        </p:grpSp>
        <p:grpSp>
          <p:nvGrpSpPr>
            <p:cNvPr id="230" name="Group 229"/>
            <p:cNvGrpSpPr/>
            <p:nvPr/>
          </p:nvGrpSpPr>
          <p:grpSpPr>
            <a:xfrm>
              <a:off x="8665205" y="5323449"/>
              <a:ext cx="204160" cy="519412"/>
              <a:chOff x="4422775" y="2198688"/>
              <a:chExt cx="292100" cy="742950"/>
            </a:xfrm>
            <a:solidFill>
              <a:schemeClr val="accent3"/>
            </a:solidFill>
          </p:grpSpPr>
          <p:sp>
            <p:nvSpPr>
              <p:cNvPr id="243" name="Freeform 12"/>
              <p:cNvSpPr/>
              <p:nvPr/>
            </p:nvSpPr>
            <p:spPr bwMode="auto">
              <a:xfrm>
                <a:off x="4422775" y="2325688"/>
                <a:ext cx="292100" cy="615950"/>
              </a:xfrm>
              <a:custGeom>
                <a:avLst/>
                <a:gdLst>
                  <a:gd name="T0" fmla="*/ 59 w 78"/>
                  <a:gd name="T1" fmla="*/ 0 h 164"/>
                  <a:gd name="T2" fmla="*/ 20 w 78"/>
                  <a:gd name="T3" fmla="*/ 0 h 164"/>
                  <a:gd name="T4" fmla="*/ 0 w 78"/>
                  <a:gd name="T5" fmla="*/ 16 h 164"/>
                  <a:gd name="T6" fmla="*/ 0 w 78"/>
                  <a:gd name="T7" fmla="*/ 16 h 164"/>
                  <a:gd name="T8" fmla="*/ 0 w 78"/>
                  <a:gd name="T9" fmla="*/ 19 h 164"/>
                  <a:gd name="T10" fmla="*/ 0 w 78"/>
                  <a:gd name="T11" fmla="*/ 74 h 164"/>
                  <a:gd name="T12" fmla="*/ 7 w 78"/>
                  <a:gd name="T13" fmla="*/ 80 h 164"/>
                  <a:gd name="T14" fmla="*/ 13 w 78"/>
                  <a:gd name="T15" fmla="*/ 74 h 164"/>
                  <a:gd name="T16" fmla="*/ 13 w 78"/>
                  <a:gd name="T17" fmla="*/ 26 h 164"/>
                  <a:gd name="T18" fmla="*/ 19 w 78"/>
                  <a:gd name="T19" fmla="*/ 26 h 164"/>
                  <a:gd name="T20" fmla="*/ 19 w 78"/>
                  <a:gd name="T21" fmla="*/ 72 h 164"/>
                  <a:gd name="T22" fmla="*/ 19 w 78"/>
                  <a:gd name="T23" fmla="*/ 73 h 164"/>
                  <a:gd name="T24" fmla="*/ 19 w 78"/>
                  <a:gd name="T25" fmla="*/ 154 h 164"/>
                  <a:gd name="T26" fmla="*/ 28 w 78"/>
                  <a:gd name="T27" fmla="*/ 164 h 164"/>
                  <a:gd name="T28" fmla="*/ 37 w 78"/>
                  <a:gd name="T29" fmla="*/ 154 h 164"/>
                  <a:gd name="T30" fmla="*/ 37 w 78"/>
                  <a:gd name="T31" fmla="*/ 83 h 164"/>
                  <a:gd name="T32" fmla="*/ 41 w 78"/>
                  <a:gd name="T33" fmla="*/ 83 h 164"/>
                  <a:gd name="T34" fmla="*/ 41 w 78"/>
                  <a:gd name="T35" fmla="*/ 154 h 164"/>
                  <a:gd name="T36" fmla="*/ 50 w 78"/>
                  <a:gd name="T37" fmla="*/ 164 h 164"/>
                  <a:gd name="T38" fmla="*/ 59 w 78"/>
                  <a:gd name="T39" fmla="*/ 154 h 164"/>
                  <a:gd name="T40" fmla="*/ 59 w 78"/>
                  <a:gd name="T41" fmla="*/ 72 h 164"/>
                  <a:gd name="T42" fmla="*/ 59 w 78"/>
                  <a:gd name="T43" fmla="*/ 71 h 164"/>
                  <a:gd name="T44" fmla="*/ 59 w 78"/>
                  <a:gd name="T45" fmla="*/ 26 h 164"/>
                  <a:gd name="T46" fmla="*/ 64 w 78"/>
                  <a:gd name="T47" fmla="*/ 26 h 164"/>
                  <a:gd name="T48" fmla="*/ 64 w 78"/>
                  <a:gd name="T49" fmla="*/ 74 h 164"/>
                  <a:gd name="T50" fmla="*/ 71 w 78"/>
                  <a:gd name="T51" fmla="*/ 80 h 164"/>
                  <a:gd name="T52" fmla="*/ 78 w 78"/>
                  <a:gd name="T53" fmla="*/ 74 h 164"/>
                  <a:gd name="T54" fmla="*/ 78 w 78"/>
                  <a:gd name="T55" fmla="*/ 19 h 164"/>
                  <a:gd name="T56" fmla="*/ 78 w 78"/>
                  <a:gd name="T57" fmla="*/ 16 h 164"/>
                  <a:gd name="T58" fmla="*/ 78 w 78"/>
                  <a:gd name="T59" fmla="*/ 15 h 164"/>
                  <a:gd name="T60" fmla="*/ 59 w 78"/>
                  <a:gd name="T61" fmla="*/ 0 h 1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78" h="164">
                    <a:moveTo>
                      <a:pt x="59" y="0"/>
                    </a:moveTo>
                    <a:cubicBezTo>
                      <a:pt x="20" y="0"/>
                      <a:pt x="20" y="0"/>
                      <a:pt x="20" y="0"/>
                    </a:cubicBezTo>
                    <a:cubicBezTo>
                      <a:pt x="6" y="0"/>
                      <a:pt x="0" y="12"/>
                      <a:pt x="0" y="16"/>
                    </a:cubicBezTo>
                    <a:cubicBezTo>
                      <a:pt x="0" y="16"/>
                      <a:pt x="0" y="16"/>
                      <a:pt x="0" y="16"/>
                    </a:cubicBezTo>
                    <a:cubicBezTo>
                      <a:pt x="0" y="19"/>
                      <a:pt x="0" y="19"/>
                      <a:pt x="0" y="19"/>
                    </a:cubicBezTo>
                    <a:cubicBezTo>
                      <a:pt x="0" y="74"/>
                      <a:pt x="0" y="74"/>
                      <a:pt x="0" y="74"/>
                    </a:cubicBezTo>
                    <a:cubicBezTo>
                      <a:pt x="0" y="77"/>
                      <a:pt x="3" y="80"/>
                      <a:pt x="7" y="80"/>
                    </a:cubicBezTo>
                    <a:cubicBezTo>
                      <a:pt x="10" y="80"/>
                      <a:pt x="13" y="77"/>
                      <a:pt x="13" y="74"/>
                    </a:cubicBezTo>
                    <a:cubicBezTo>
                      <a:pt x="13" y="26"/>
                      <a:pt x="13" y="26"/>
                      <a:pt x="13" y="26"/>
                    </a:cubicBezTo>
                    <a:cubicBezTo>
                      <a:pt x="19" y="26"/>
                      <a:pt x="19" y="26"/>
                      <a:pt x="19" y="26"/>
                    </a:cubicBezTo>
                    <a:cubicBezTo>
                      <a:pt x="19" y="72"/>
                      <a:pt x="19" y="72"/>
                      <a:pt x="19" y="72"/>
                    </a:cubicBezTo>
                    <a:cubicBezTo>
                      <a:pt x="19" y="72"/>
                      <a:pt x="19" y="73"/>
                      <a:pt x="19" y="73"/>
                    </a:cubicBezTo>
                    <a:cubicBezTo>
                      <a:pt x="19" y="154"/>
                      <a:pt x="19" y="154"/>
                      <a:pt x="19" y="154"/>
                    </a:cubicBezTo>
                    <a:cubicBezTo>
                      <a:pt x="19" y="159"/>
                      <a:pt x="23" y="164"/>
                      <a:pt x="28" y="164"/>
                    </a:cubicBezTo>
                    <a:cubicBezTo>
                      <a:pt x="33" y="164"/>
                      <a:pt x="37" y="159"/>
                      <a:pt x="37" y="154"/>
                    </a:cubicBezTo>
                    <a:cubicBezTo>
                      <a:pt x="37" y="83"/>
                      <a:pt x="37" y="83"/>
                      <a:pt x="37" y="83"/>
                    </a:cubicBezTo>
                    <a:cubicBezTo>
                      <a:pt x="41" y="83"/>
                      <a:pt x="41" y="83"/>
                      <a:pt x="41" y="83"/>
                    </a:cubicBezTo>
                    <a:cubicBezTo>
                      <a:pt x="41" y="154"/>
                      <a:pt x="41" y="154"/>
                      <a:pt x="41" y="154"/>
                    </a:cubicBezTo>
                    <a:cubicBezTo>
                      <a:pt x="41" y="159"/>
                      <a:pt x="45" y="164"/>
                      <a:pt x="50" y="164"/>
                    </a:cubicBezTo>
                    <a:cubicBezTo>
                      <a:pt x="55" y="164"/>
                      <a:pt x="59" y="159"/>
                      <a:pt x="59" y="154"/>
                    </a:cubicBezTo>
                    <a:cubicBezTo>
                      <a:pt x="59" y="72"/>
                      <a:pt x="59" y="72"/>
                      <a:pt x="59" y="72"/>
                    </a:cubicBezTo>
                    <a:cubicBezTo>
                      <a:pt x="59" y="71"/>
                      <a:pt x="59" y="71"/>
                      <a:pt x="59" y="71"/>
                    </a:cubicBezTo>
                    <a:cubicBezTo>
                      <a:pt x="59" y="26"/>
                      <a:pt x="59" y="26"/>
                      <a:pt x="59" y="26"/>
                    </a:cubicBezTo>
                    <a:cubicBezTo>
                      <a:pt x="64" y="26"/>
                      <a:pt x="64" y="26"/>
                      <a:pt x="64" y="26"/>
                    </a:cubicBezTo>
                    <a:cubicBezTo>
                      <a:pt x="64" y="74"/>
                      <a:pt x="64" y="74"/>
                      <a:pt x="64" y="74"/>
                    </a:cubicBezTo>
                    <a:cubicBezTo>
                      <a:pt x="64" y="77"/>
                      <a:pt x="67" y="80"/>
                      <a:pt x="71" y="80"/>
                    </a:cubicBezTo>
                    <a:cubicBezTo>
                      <a:pt x="75" y="80"/>
                      <a:pt x="78" y="77"/>
                      <a:pt x="78" y="74"/>
                    </a:cubicBezTo>
                    <a:cubicBezTo>
                      <a:pt x="78" y="19"/>
                      <a:pt x="78" y="19"/>
                      <a:pt x="78" y="19"/>
                    </a:cubicBezTo>
                    <a:cubicBezTo>
                      <a:pt x="78" y="16"/>
                      <a:pt x="78" y="16"/>
                      <a:pt x="78" y="16"/>
                    </a:cubicBezTo>
                    <a:cubicBezTo>
                      <a:pt x="78" y="15"/>
                      <a:pt x="78" y="15"/>
                      <a:pt x="78" y="15"/>
                    </a:cubicBezTo>
                    <a:cubicBezTo>
                      <a:pt x="78" y="10"/>
                      <a:pt x="72" y="0"/>
                      <a:pt x="59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45720" tIns="22860" rIns="45720" bIns="22860" numCol="1" anchor="t" anchorCtr="0" compatLnSpc="1"/>
              <a:lstStyle/>
              <a:p>
                <a:endParaRPr lang="en-US" sz="900">
                  <a:latin typeface="Arial" panose="020B0604020202020204" pitchFamily="34" charset="0"/>
                  <a:ea typeface="微软雅黑" panose="020B0503020204020204" pitchFamily="34" charset="-122"/>
                  <a:cs typeface="思源黑体 CN Regular" panose="020B0500000000000000" charset="-122"/>
                  <a:sym typeface="Arial" panose="020B0604020202020204" pitchFamily="34" charset="0"/>
                </a:endParaRPr>
              </a:p>
            </p:txBody>
          </p:sp>
          <p:sp>
            <p:nvSpPr>
              <p:cNvPr id="244" name="Oval 13"/>
              <p:cNvSpPr>
                <a:spLocks noChangeArrowheads="1"/>
              </p:cNvSpPr>
              <p:nvPr/>
            </p:nvSpPr>
            <p:spPr bwMode="auto">
              <a:xfrm>
                <a:off x="4511675" y="2198688"/>
                <a:ext cx="115888" cy="115888"/>
              </a:xfrm>
              <a:prstGeom prst="ellipse">
                <a:avLst/>
              </a:prstGeom>
              <a:grpFill/>
              <a:ln>
                <a:noFill/>
              </a:ln>
            </p:spPr>
            <p:txBody>
              <a:bodyPr vert="horz" wrap="square" lIns="45720" tIns="22860" rIns="45720" bIns="22860" numCol="1" anchor="t" anchorCtr="0" compatLnSpc="1"/>
              <a:lstStyle/>
              <a:p>
                <a:endParaRPr lang="en-US" sz="900">
                  <a:latin typeface="Arial" panose="020B0604020202020204" pitchFamily="34" charset="0"/>
                  <a:ea typeface="微软雅黑" panose="020B0503020204020204" pitchFamily="34" charset="-122"/>
                  <a:cs typeface="思源黑体 CN Regular" panose="020B0500000000000000" charset="-122"/>
                  <a:sym typeface="Arial" panose="020B0604020202020204" pitchFamily="34" charset="0"/>
                </a:endParaRPr>
              </a:p>
            </p:txBody>
          </p:sp>
        </p:grpSp>
        <p:grpSp>
          <p:nvGrpSpPr>
            <p:cNvPr id="231" name="Group 230"/>
            <p:cNvGrpSpPr/>
            <p:nvPr/>
          </p:nvGrpSpPr>
          <p:grpSpPr>
            <a:xfrm>
              <a:off x="8975988" y="5323449"/>
              <a:ext cx="204160" cy="519412"/>
              <a:chOff x="4422775" y="2198688"/>
              <a:chExt cx="292100" cy="742950"/>
            </a:xfrm>
            <a:solidFill>
              <a:schemeClr val="bg1">
                <a:lumMod val="85000"/>
              </a:schemeClr>
            </a:solidFill>
          </p:grpSpPr>
          <p:sp>
            <p:nvSpPr>
              <p:cNvPr id="241" name="Freeform 12"/>
              <p:cNvSpPr/>
              <p:nvPr/>
            </p:nvSpPr>
            <p:spPr bwMode="auto">
              <a:xfrm>
                <a:off x="4422775" y="2325688"/>
                <a:ext cx="292100" cy="615950"/>
              </a:xfrm>
              <a:custGeom>
                <a:avLst/>
                <a:gdLst>
                  <a:gd name="T0" fmla="*/ 59 w 78"/>
                  <a:gd name="T1" fmla="*/ 0 h 164"/>
                  <a:gd name="T2" fmla="*/ 20 w 78"/>
                  <a:gd name="T3" fmla="*/ 0 h 164"/>
                  <a:gd name="T4" fmla="*/ 0 w 78"/>
                  <a:gd name="T5" fmla="*/ 16 h 164"/>
                  <a:gd name="T6" fmla="*/ 0 w 78"/>
                  <a:gd name="T7" fmla="*/ 16 h 164"/>
                  <a:gd name="T8" fmla="*/ 0 w 78"/>
                  <a:gd name="T9" fmla="*/ 19 h 164"/>
                  <a:gd name="T10" fmla="*/ 0 w 78"/>
                  <a:gd name="T11" fmla="*/ 74 h 164"/>
                  <a:gd name="T12" fmla="*/ 7 w 78"/>
                  <a:gd name="T13" fmla="*/ 80 h 164"/>
                  <a:gd name="T14" fmla="*/ 13 w 78"/>
                  <a:gd name="T15" fmla="*/ 74 h 164"/>
                  <a:gd name="T16" fmla="*/ 13 w 78"/>
                  <a:gd name="T17" fmla="*/ 26 h 164"/>
                  <a:gd name="T18" fmla="*/ 19 w 78"/>
                  <a:gd name="T19" fmla="*/ 26 h 164"/>
                  <a:gd name="T20" fmla="*/ 19 w 78"/>
                  <a:gd name="T21" fmla="*/ 72 h 164"/>
                  <a:gd name="T22" fmla="*/ 19 w 78"/>
                  <a:gd name="T23" fmla="*/ 73 h 164"/>
                  <a:gd name="T24" fmla="*/ 19 w 78"/>
                  <a:gd name="T25" fmla="*/ 154 h 164"/>
                  <a:gd name="T26" fmla="*/ 28 w 78"/>
                  <a:gd name="T27" fmla="*/ 164 h 164"/>
                  <a:gd name="T28" fmla="*/ 37 w 78"/>
                  <a:gd name="T29" fmla="*/ 154 h 164"/>
                  <a:gd name="T30" fmla="*/ 37 w 78"/>
                  <a:gd name="T31" fmla="*/ 83 h 164"/>
                  <a:gd name="T32" fmla="*/ 41 w 78"/>
                  <a:gd name="T33" fmla="*/ 83 h 164"/>
                  <a:gd name="T34" fmla="*/ 41 w 78"/>
                  <a:gd name="T35" fmla="*/ 154 h 164"/>
                  <a:gd name="T36" fmla="*/ 50 w 78"/>
                  <a:gd name="T37" fmla="*/ 164 h 164"/>
                  <a:gd name="T38" fmla="*/ 59 w 78"/>
                  <a:gd name="T39" fmla="*/ 154 h 164"/>
                  <a:gd name="T40" fmla="*/ 59 w 78"/>
                  <a:gd name="T41" fmla="*/ 72 h 164"/>
                  <a:gd name="T42" fmla="*/ 59 w 78"/>
                  <a:gd name="T43" fmla="*/ 71 h 164"/>
                  <a:gd name="T44" fmla="*/ 59 w 78"/>
                  <a:gd name="T45" fmla="*/ 26 h 164"/>
                  <a:gd name="T46" fmla="*/ 64 w 78"/>
                  <a:gd name="T47" fmla="*/ 26 h 164"/>
                  <a:gd name="T48" fmla="*/ 64 w 78"/>
                  <a:gd name="T49" fmla="*/ 74 h 164"/>
                  <a:gd name="T50" fmla="*/ 71 w 78"/>
                  <a:gd name="T51" fmla="*/ 80 h 164"/>
                  <a:gd name="T52" fmla="*/ 78 w 78"/>
                  <a:gd name="T53" fmla="*/ 74 h 164"/>
                  <a:gd name="T54" fmla="*/ 78 w 78"/>
                  <a:gd name="T55" fmla="*/ 19 h 164"/>
                  <a:gd name="T56" fmla="*/ 78 w 78"/>
                  <a:gd name="T57" fmla="*/ 16 h 164"/>
                  <a:gd name="T58" fmla="*/ 78 w 78"/>
                  <a:gd name="T59" fmla="*/ 15 h 164"/>
                  <a:gd name="T60" fmla="*/ 59 w 78"/>
                  <a:gd name="T61" fmla="*/ 0 h 1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78" h="164">
                    <a:moveTo>
                      <a:pt x="59" y="0"/>
                    </a:moveTo>
                    <a:cubicBezTo>
                      <a:pt x="20" y="0"/>
                      <a:pt x="20" y="0"/>
                      <a:pt x="20" y="0"/>
                    </a:cubicBezTo>
                    <a:cubicBezTo>
                      <a:pt x="6" y="0"/>
                      <a:pt x="0" y="12"/>
                      <a:pt x="0" y="16"/>
                    </a:cubicBezTo>
                    <a:cubicBezTo>
                      <a:pt x="0" y="16"/>
                      <a:pt x="0" y="16"/>
                      <a:pt x="0" y="16"/>
                    </a:cubicBezTo>
                    <a:cubicBezTo>
                      <a:pt x="0" y="19"/>
                      <a:pt x="0" y="19"/>
                      <a:pt x="0" y="19"/>
                    </a:cubicBezTo>
                    <a:cubicBezTo>
                      <a:pt x="0" y="74"/>
                      <a:pt x="0" y="74"/>
                      <a:pt x="0" y="74"/>
                    </a:cubicBezTo>
                    <a:cubicBezTo>
                      <a:pt x="0" y="77"/>
                      <a:pt x="3" y="80"/>
                      <a:pt x="7" y="80"/>
                    </a:cubicBezTo>
                    <a:cubicBezTo>
                      <a:pt x="10" y="80"/>
                      <a:pt x="13" y="77"/>
                      <a:pt x="13" y="74"/>
                    </a:cubicBezTo>
                    <a:cubicBezTo>
                      <a:pt x="13" y="26"/>
                      <a:pt x="13" y="26"/>
                      <a:pt x="13" y="26"/>
                    </a:cubicBezTo>
                    <a:cubicBezTo>
                      <a:pt x="19" y="26"/>
                      <a:pt x="19" y="26"/>
                      <a:pt x="19" y="26"/>
                    </a:cubicBezTo>
                    <a:cubicBezTo>
                      <a:pt x="19" y="72"/>
                      <a:pt x="19" y="72"/>
                      <a:pt x="19" y="72"/>
                    </a:cubicBezTo>
                    <a:cubicBezTo>
                      <a:pt x="19" y="72"/>
                      <a:pt x="19" y="73"/>
                      <a:pt x="19" y="73"/>
                    </a:cubicBezTo>
                    <a:cubicBezTo>
                      <a:pt x="19" y="154"/>
                      <a:pt x="19" y="154"/>
                      <a:pt x="19" y="154"/>
                    </a:cubicBezTo>
                    <a:cubicBezTo>
                      <a:pt x="19" y="159"/>
                      <a:pt x="23" y="164"/>
                      <a:pt x="28" y="164"/>
                    </a:cubicBezTo>
                    <a:cubicBezTo>
                      <a:pt x="33" y="164"/>
                      <a:pt x="37" y="159"/>
                      <a:pt x="37" y="154"/>
                    </a:cubicBezTo>
                    <a:cubicBezTo>
                      <a:pt x="37" y="83"/>
                      <a:pt x="37" y="83"/>
                      <a:pt x="37" y="83"/>
                    </a:cubicBezTo>
                    <a:cubicBezTo>
                      <a:pt x="41" y="83"/>
                      <a:pt x="41" y="83"/>
                      <a:pt x="41" y="83"/>
                    </a:cubicBezTo>
                    <a:cubicBezTo>
                      <a:pt x="41" y="154"/>
                      <a:pt x="41" y="154"/>
                      <a:pt x="41" y="154"/>
                    </a:cubicBezTo>
                    <a:cubicBezTo>
                      <a:pt x="41" y="159"/>
                      <a:pt x="45" y="164"/>
                      <a:pt x="50" y="164"/>
                    </a:cubicBezTo>
                    <a:cubicBezTo>
                      <a:pt x="55" y="164"/>
                      <a:pt x="59" y="159"/>
                      <a:pt x="59" y="154"/>
                    </a:cubicBezTo>
                    <a:cubicBezTo>
                      <a:pt x="59" y="72"/>
                      <a:pt x="59" y="72"/>
                      <a:pt x="59" y="72"/>
                    </a:cubicBezTo>
                    <a:cubicBezTo>
                      <a:pt x="59" y="71"/>
                      <a:pt x="59" y="71"/>
                      <a:pt x="59" y="71"/>
                    </a:cubicBezTo>
                    <a:cubicBezTo>
                      <a:pt x="59" y="26"/>
                      <a:pt x="59" y="26"/>
                      <a:pt x="59" y="26"/>
                    </a:cubicBezTo>
                    <a:cubicBezTo>
                      <a:pt x="64" y="26"/>
                      <a:pt x="64" y="26"/>
                      <a:pt x="64" y="26"/>
                    </a:cubicBezTo>
                    <a:cubicBezTo>
                      <a:pt x="64" y="74"/>
                      <a:pt x="64" y="74"/>
                      <a:pt x="64" y="74"/>
                    </a:cubicBezTo>
                    <a:cubicBezTo>
                      <a:pt x="64" y="77"/>
                      <a:pt x="67" y="80"/>
                      <a:pt x="71" y="80"/>
                    </a:cubicBezTo>
                    <a:cubicBezTo>
                      <a:pt x="75" y="80"/>
                      <a:pt x="78" y="77"/>
                      <a:pt x="78" y="74"/>
                    </a:cubicBezTo>
                    <a:cubicBezTo>
                      <a:pt x="78" y="19"/>
                      <a:pt x="78" y="19"/>
                      <a:pt x="78" y="19"/>
                    </a:cubicBezTo>
                    <a:cubicBezTo>
                      <a:pt x="78" y="16"/>
                      <a:pt x="78" y="16"/>
                      <a:pt x="78" y="16"/>
                    </a:cubicBezTo>
                    <a:cubicBezTo>
                      <a:pt x="78" y="15"/>
                      <a:pt x="78" y="15"/>
                      <a:pt x="78" y="15"/>
                    </a:cubicBezTo>
                    <a:cubicBezTo>
                      <a:pt x="78" y="10"/>
                      <a:pt x="72" y="0"/>
                      <a:pt x="59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45720" tIns="22860" rIns="45720" bIns="22860" numCol="1" anchor="t" anchorCtr="0" compatLnSpc="1"/>
              <a:lstStyle/>
              <a:p>
                <a:endParaRPr lang="en-US" sz="900">
                  <a:latin typeface="Arial" panose="020B0604020202020204" pitchFamily="34" charset="0"/>
                  <a:ea typeface="微软雅黑" panose="020B0503020204020204" pitchFamily="34" charset="-122"/>
                  <a:cs typeface="思源黑体 CN Regular" panose="020B0500000000000000" charset="-122"/>
                  <a:sym typeface="Arial" panose="020B0604020202020204" pitchFamily="34" charset="0"/>
                </a:endParaRPr>
              </a:p>
            </p:txBody>
          </p:sp>
          <p:sp>
            <p:nvSpPr>
              <p:cNvPr id="242" name="Oval 13"/>
              <p:cNvSpPr>
                <a:spLocks noChangeArrowheads="1"/>
              </p:cNvSpPr>
              <p:nvPr/>
            </p:nvSpPr>
            <p:spPr bwMode="auto">
              <a:xfrm>
                <a:off x="4511675" y="2198688"/>
                <a:ext cx="115888" cy="115888"/>
              </a:xfrm>
              <a:prstGeom prst="ellipse">
                <a:avLst/>
              </a:prstGeom>
              <a:grpFill/>
              <a:ln>
                <a:noFill/>
              </a:ln>
            </p:spPr>
            <p:txBody>
              <a:bodyPr vert="horz" wrap="square" lIns="45720" tIns="22860" rIns="45720" bIns="22860" numCol="1" anchor="t" anchorCtr="0" compatLnSpc="1"/>
              <a:lstStyle/>
              <a:p>
                <a:endParaRPr lang="en-US" sz="900">
                  <a:latin typeface="Arial" panose="020B0604020202020204" pitchFamily="34" charset="0"/>
                  <a:ea typeface="微软雅黑" panose="020B0503020204020204" pitchFamily="34" charset="-122"/>
                  <a:cs typeface="思源黑体 CN Regular" panose="020B0500000000000000" charset="-122"/>
                  <a:sym typeface="Arial" panose="020B0604020202020204" pitchFamily="34" charset="0"/>
                </a:endParaRPr>
              </a:p>
            </p:txBody>
          </p:sp>
        </p:grpSp>
        <p:grpSp>
          <p:nvGrpSpPr>
            <p:cNvPr id="232" name="Group 231"/>
            <p:cNvGrpSpPr/>
            <p:nvPr/>
          </p:nvGrpSpPr>
          <p:grpSpPr>
            <a:xfrm>
              <a:off x="9285225" y="5323449"/>
              <a:ext cx="204160" cy="519412"/>
              <a:chOff x="4422775" y="2198688"/>
              <a:chExt cx="292100" cy="742950"/>
            </a:xfrm>
            <a:solidFill>
              <a:schemeClr val="bg1">
                <a:lumMod val="85000"/>
              </a:schemeClr>
            </a:solidFill>
          </p:grpSpPr>
          <p:sp>
            <p:nvSpPr>
              <p:cNvPr id="239" name="Freeform 12"/>
              <p:cNvSpPr/>
              <p:nvPr/>
            </p:nvSpPr>
            <p:spPr bwMode="auto">
              <a:xfrm>
                <a:off x="4422775" y="2325688"/>
                <a:ext cx="292100" cy="615950"/>
              </a:xfrm>
              <a:custGeom>
                <a:avLst/>
                <a:gdLst>
                  <a:gd name="T0" fmla="*/ 59 w 78"/>
                  <a:gd name="T1" fmla="*/ 0 h 164"/>
                  <a:gd name="T2" fmla="*/ 20 w 78"/>
                  <a:gd name="T3" fmla="*/ 0 h 164"/>
                  <a:gd name="T4" fmla="*/ 0 w 78"/>
                  <a:gd name="T5" fmla="*/ 16 h 164"/>
                  <a:gd name="T6" fmla="*/ 0 w 78"/>
                  <a:gd name="T7" fmla="*/ 16 h 164"/>
                  <a:gd name="T8" fmla="*/ 0 w 78"/>
                  <a:gd name="T9" fmla="*/ 19 h 164"/>
                  <a:gd name="T10" fmla="*/ 0 w 78"/>
                  <a:gd name="T11" fmla="*/ 74 h 164"/>
                  <a:gd name="T12" fmla="*/ 7 w 78"/>
                  <a:gd name="T13" fmla="*/ 80 h 164"/>
                  <a:gd name="T14" fmla="*/ 13 w 78"/>
                  <a:gd name="T15" fmla="*/ 74 h 164"/>
                  <a:gd name="T16" fmla="*/ 13 w 78"/>
                  <a:gd name="T17" fmla="*/ 26 h 164"/>
                  <a:gd name="T18" fmla="*/ 19 w 78"/>
                  <a:gd name="T19" fmla="*/ 26 h 164"/>
                  <a:gd name="T20" fmla="*/ 19 w 78"/>
                  <a:gd name="T21" fmla="*/ 72 h 164"/>
                  <a:gd name="T22" fmla="*/ 19 w 78"/>
                  <a:gd name="T23" fmla="*/ 73 h 164"/>
                  <a:gd name="T24" fmla="*/ 19 w 78"/>
                  <a:gd name="T25" fmla="*/ 154 h 164"/>
                  <a:gd name="T26" fmla="*/ 28 w 78"/>
                  <a:gd name="T27" fmla="*/ 164 h 164"/>
                  <a:gd name="T28" fmla="*/ 37 w 78"/>
                  <a:gd name="T29" fmla="*/ 154 h 164"/>
                  <a:gd name="T30" fmla="*/ 37 w 78"/>
                  <a:gd name="T31" fmla="*/ 83 h 164"/>
                  <a:gd name="T32" fmla="*/ 41 w 78"/>
                  <a:gd name="T33" fmla="*/ 83 h 164"/>
                  <a:gd name="T34" fmla="*/ 41 w 78"/>
                  <a:gd name="T35" fmla="*/ 154 h 164"/>
                  <a:gd name="T36" fmla="*/ 50 w 78"/>
                  <a:gd name="T37" fmla="*/ 164 h 164"/>
                  <a:gd name="T38" fmla="*/ 59 w 78"/>
                  <a:gd name="T39" fmla="*/ 154 h 164"/>
                  <a:gd name="T40" fmla="*/ 59 w 78"/>
                  <a:gd name="T41" fmla="*/ 72 h 164"/>
                  <a:gd name="T42" fmla="*/ 59 w 78"/>
                  <a:gd name="T43" fmla="*/ 71 h 164"/>
                  <a:gd name="T44" fmla="*/ 59 w 78"/>
                  <a:gd name="T45" fmla="*/ 26 h 164"/>
                  <a:gd name="T46" fmla="*/ 64 w 78"/>
                  <a:gd name="T47" fmla="*/ 26 h 164"/>
                  <a:gd name="T48" fmla="*/ 64 w 78"/>
                  <a:gd name="T49" fmla="*/ 74 h 164"/>
                  <a:gd name="T50" fmla="*/ 71 w 78"/>
                  <a:gd name="T51" fmla="*/ 80 h 164"/>
                  <a:gd name="T52" fmla="*/ 78 w 78"/>
                  <a:gd name="T53" fmla="*/ 74 h 164"/>
                  <a:gd name="T54" fmla="*/ 78 w 78"/>
                  <a:gd name="T55" fmla="*/ 19 h 164"/>
                  <a:gd name="T56" fmla="*/ 78 w 78"/>
                  <a:gd name="T57" fmla="*/ 16 h 164"/>
                  <a:gd name="T58" fmla="*/ 78 w 78"/>
                  <a:gd name="T59" fmla="*/ 15 h 164"/>
                  <a:gd name="T60" fmla="*/ 59 w 78"/>
                  <a:gd name="T61" fmla="*/ 0 h 1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78" h="164">
                    <a:moveTo>
                      <a:pt x="59" y="0"/>
                    </a:moveTo>
                    <a:cubicBezTo>
                      <a:pt x="20" y="0"/>
                      <a:pt x="20" y="0"/>
                      <a:pt x="20" y="0"/>
                    </a:cubicBezTo>
                    <a:cubicBezTo>
                      <a:pt x="6" y="0"/>
                      <a:pt x="0" y="12"/>
                      <a:pt x="0" y="16"/>
                    </a:cubicBezTo>
                    <a:cubicBezTo>
                      <a:pt x="0" y="16"/>
                      <a:pt x="0" y="16"/>
                      <a:pt x="0" y="16"/>
                    </a:cubicBezTo>
                    <a:cubicBezTo>
                      <a:pt x="0" y="19"/>
                      <a:pt x="0" y="19"/>
                      <a:pt x="0" y="19"/>
                    </a:cubicBezTo>
                    <a:cubicBezTo>
                      <a:pt x="0" y="74"/>
                      <a:pt x="0" y="74"/>
                      <a:pt x="0" y="74"/>
                    </a:cubicBezTo>
                    <a:cubicBezTo>
                      <a:pt x="0" y="77"/>
                      <a:pt x="3" y="80"/>
                      <a:pt x="7" y="80"/>
                    </a:cubicBezTo>
                    <a:cubicBezTo>
                      <a:pt x="10" y="80"/>
                      <a:pt x="13" y="77"/>
                      <a:pt x="13" y="74"/>
                    </a:cubicBezTo>
                    <a:cubicBezTo>
                      <a:pt x="13" y="26"/>
                      <a:pt x="13" y="26"/>
                      <a:pt x="13" y="26"/>
                    </a:cubicBezTo>
                    <a:cubicBezTo>
                      <a:pt x="19" y="26"/>
                      <a:pt x="19" y="26"/>
                      <a:pt x="19" y="26"/>
                    </a:cubicBezTo>
                    <a:cubicBezTo>
                      <a:pt x="19" y="72"/>
                      <a:pt x="19" y="72"/>
                      <a:pt x="19" y="72"/>
                    </a:cubicBezTo>
                    <a:cubicBezTo>
                      <a:pt x="19" y="72"/>
                      <a:pt x="19" y="73"/>
                      <a:pt x="19" y="73"/>
                    </a:cubicBezTo>
                    <a:cubicBezTo>
                      <a:pt x="19" y="154"/>
                      <a:pt x="19" y="154"/>
                      <a:pt x="19" y="154"/>
                    </a:cubicBezTo>
                    <a:cubicBezTo>
                      <a:pt x="19" y="159"/>
                      <a:pt x="23" y="164"/>
                      <a:pt x="28" y="164"/>
                    </a:cubicBezTo>
                    <a:cubicBezTo>
                      <a:pt x="33" y="164"/>
                      <a:pt x="37" y="159"/>
                      <a:pt x="37" y="154"/>
                    </a:cubicBezTo>
                    <a:cubicBezTo>
                      <a:pt x="37" y="83"/>
                      <a:pt x="37" y="83"/>
                      <a:pt x="37" y="83"/>
                    </a:cubicBezTo>
                    <a:cubicBezTo>
                      <a:pt x="41" y="83"/>
                      <a:pt x="41" y="83"/>
                      <a:pt x="41" y="83"/>
                    </a:cubicBezTo>
                    <a:cubicBezTo>
                      <a:pt x="41" y="154"/>
                      <a:pt x="41" y="154"/>
                      <a:pt x="41" y="154"/>
                    </a:cubicBezTo>
                    <a:cubicBezTo>
                      <a:pt x="41" y="159"/>
                      <a:pt x="45" y="164"/>
                      <a:pt x="50" y="164"/>
                    </a:cubicBezTo>
                    <a:cubicBezTo>
                      <a:pt x="55" y="164"/>
                      <a:pt x="59" y="159"/>
                      <a:pt x="59" y="154"/>
                    </a:cubicBezTo>
                    <a:cubicBezTo>
                      <a:pt x="59" y="72"/>
                      <a:pt x="59" y="72"/>
                      <a:pt x="59" y="72"/>
                    </a:cubicBezTo>
                    <a:cubicBezTo>
                      <a:pt x="59" y="71"/>
                      <a:pt x="59" y="71"/>
                      <a:pt x="59" y="71"/>
                    </a:cubicBezTo>
                    <a:cubicBezTo>
                      <a:pt x="59" y="26"/>
                      <a:pt x="59" y="26"/>
                      <a:pt x="59" y="26"/>
                    </a:cubicBezTo>
                    <a:cubicBezTo>
                      <a:pt x="64" y="26"/>
                      <a:pt x="64" y="26"/>
                      <a:pt x="64" y="26"/>
                    </a:cubicBezTo>
                    <a:cubicBezTo>
                      <a:pt x="64" y="74"/>
                      <a:pt x="64" y="74"/>
                      <a:pt x="64" y="74"/>
                    </a:cubicBezTo>
                    <a:cubicBezTo>
                      <a:pt x="64" y="77"/>
                      <a:pt x="67" y="80"/>
                      <a:pt x="71" y="80"/>
                    </a:cubicBezTo>
                    <a:cubicBezTo>
                      <a:pt x="75" y="80"/>
                      <a:pt x="78" y="77"/>
                      <a:pt x="78" y="74"/>
                    </a:cubicBezTo>
                    <a:cubicBezTo>
                      <a:pt x="78" y="19"/>
                      <a:pt x="78" y="19"/>
                      <a:pt x="78" y="19"/>
                    </a:cubicBezTo>
                    <a:cubicBezTo>
                      <a:pt x="78" y="16"/>
                      <a:pt x="78" y="16"/>
                      <a:pt x="78" y="16"/>
                    </a:cubicBezTo>
                    <a:cubicBezTo>
                      <a:pt x="78" y="15"/>
                      <a:pt x="78" y="15"/>
                      <a:pt x="78" y="15"/>
                    </a:cubicBezTo>
                    <a:cubicBezTo>
                      <a:pt x="78" y="10"/>
                      <a:pt x="72" y="0"/>
                      <a:pt x="59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45720" tIns="22860" rIns="45720" bIns="22860" numCol="1" anchor="t" anchorCtr="0" compatLnSpc="1"/>
              <a:lstStyle/>
              <a:p>
                <a:endParaRPr lang="en-US" sz="900">
                  <a:latin typeface="Arial" panose="020B0604020202020204" pitchFamily="34" charset="0"/>
                  <a:ea typeface="微软雅黑" panose="020B0503020204020204" pitchFamily="34" charset="-122"/>
                  <a:cs typeface="思源黑体 CN Regular" panose="020B0500000000000000" charset="-122"/>
                  <a:sym typeface="Arial" panose="020B0604020202020204" pitchFamily="34" charset="0"/>
                </a:endParaRPr>
              </a:p>
            </p:txBody>
          </p:sp>
          <p:sp>
            <p:nvSpPr>
              <p:cNvPr id="240" name="Oval 13"/>
              <p:cNvSpPr>
                <a:spLocks noChangeArrowheads="1"/>
              </p:cNvSpPr>
              <p:nvPr/>
            </p:nvSpPr>
            <p:spPr bwMode="auto">
              <a:xfrm>
                <a:off x="4511675" y="2198688"/>
                <a:ext cx="115888" cy="115888"/>
              </a:xfrm>
              <a:prstGeom prst="ellipse">
                <a:avLst/>
              </a:prstGeom>
              <a:grpFill/>
              <a:ln>
                <a:noFill/>
              </a:ln>
            </p:spPr>
            <p:txBody>
              <a:bodyPr vert="horz" wrap="square" lIns="45720" tIns="22860" rIns="45720" bIns="22860" numCol="1" anchor="t" anchorCtr="0" compatLnSpc="1"/>
              <a:lstStyle/>
              <a:p>
                <a:endParaRPr lang="en-US" sz="900">
                  <a:latin typeface="Arial" panose="020B0604020202020204" pitchFamily="34" charset="0"/>
                  <a:ea typeface="微软雅黑" panose="020B0503020204020204" pitchFamily="34" charset="-122"/>
                  <a:cs typeface="思源黑体 CN Regular" panose="020B0500000000000000" charset="-122"/>
                  <a:sym typeface="Arial" panose="020B0604020202020204" pitchFamily="34" charset="0"/>
                </a:endParaRPr>
              </a:p>
            </p:txBody>
          </p:sp>
        </p:grpSp>
        <p:grpSp>
          <p:nvGrpSpPr>
            <p:cNvPr id="233" name="Group 232"/>
            <p:cNvGrpSpPr/>
            <p:nvPr/>
          </p:nvGrpSpPr>
          <p:grpSpPr>
            <a:xfrm>
              <a:off x="9609233" y="5323449"/>
              <a:ext cx="204160" cy="519412"/>
              <a:chOff x="4422775" y="2198688"/>
              <a:chExt cx="292100" cy="742950"/>
            </a:xfrm>
            <a:solidFill>
              <a:schemeClr val="bg1">
                <a:lumMod val="85000"/>
              </a:schemeClr>
            </a:solidFill>
          </p:grpSpPr>
          <p:sp>
            <p:nvSpPr>
              <p:cNvPr id="237" name="Freeform 12"/>
              <p:cNvSpPr/>
              <p:nvPr/>
            </p:nvSpPr>
            <p:spPr bwMode="auto">
              <a:xfrm>
                <a:off x="4422775" y="2325688"/>
                <a:ext cx="292100" cy="615950"/>
              </a:xfrm>
              <a:custGeom>
                <a:avLst/>
                <a:gdLst>
                  <a:gd name="T0" fmla="*/ 59 w 78"/>
                  <a:gd name="T1" fmla="*/ 0 h 164"/>
                  <a:gd name="T2" fmla="*/ 20 w 78"/>
                  <a:gd name="T3" fmla="*/ 0 h 164"/>
                  <a:gd name="T4" fmla="*/ 0 w 78"/>
                  <a:gd name="T5" fmla="*/ 16 h 164"/>
                  <a:gd name="T6" fmla="*/ 0 w 78"/>
                  <a:gd name="T7" fmla="*/ 16 h 164"/>
                  <a:gd name="T8" fmla="*/ 0 w 78"/>
                  <a:gd name="T9" fmla="*/ 19 h 164"/>
                  <a:gd name="T10" fmla="*/ 0 w 78"/>
                  <a:gd name="T11" fmla="*/ 74 h 164"/>
                  <a:gd name="T12" fmla="*/ 7 w 78"/>
                  <a:gd name="T13" fmla="*/ 80 h 164"/>
                  <a:gd name="T14" fmla="*/ 13 w 78"/>
                  <a:gd name="T15" fmla="*/ 74 h 164"/>
                  <a:gd name="T16" fmla="*/ 13 w 78"/>
                  <a:gd name="T17" fmla="*/ 26 h 164"/>
                  <a:gd name="T18" fmla="*/ 19 w 78"/>
                  <a:gd name="T19" fmla="*/ 26 h 164"/>
                  <a:gd name="T20" fmla="*/ 19 w 78"/>
                  <a:gd name="T21" fmla="*/ 72 h 164"/>
                  <a:gd name="T22" fmla="*/ 19 w 78"/>
                  <a:gd name="T23" fmla="*/ 73 h 164"/>
                  <a:gd name="T24" fmla="*/ 19 w 78"/>
                  <a:gd name="T25" fmla="*/ 154 h 164"/>
                  <a:gd name="T26" fmla="*/ 28 w 78"/>
                  <a:gd name="T27" fmla="*/ 164 h 164"/>
                  <a:gd name="T28" fmla="*/ 37 w 78"/>
                  <a:gd name="T29" fmla="*/ 154 h 164"/>
                  <a:gd name="T30" fmla="*/ 37 w 78"/>
                  <a:gd name="T31" fmla="*/ 83 h 164"/>
                  <a:gd name="T32" fmla="*/ 41 w 78"/>
                  <a:gd name="T33" fmla="*/ 83 h 164"/>
                  <a:gd name="T34" fmla="*/ 41 w 78"/>
                  <a:gd name="T35" fmla="*/ 154 h 164"/>
                  <a:gd name="T36" fmla="*/ 50 w 78"/>
                  <a:gd name="T37" fmla="*/ 164 h 164"/>
                  <a:gd name="T38" fmla="*/ 59 w 78"/>
                  <a:gd name="T39" fmla="*/ 154 h 164"/>
                  <a:gd name="T40" fmla="*/ 59 w 78"/>
                  <a:gd name="T41" fmla="*/ 72 h 164"/>
                  <a:gd name="T42" fmla="*/ 59 w 78"/>
                  <a:gd name="T43" fmla="*/ 71 h 164"/>
                  <a:gd name="T44" fmla="*/ 59 w 78"/>
                  <a:gd name="T45" fmla="*/ 26 h 164"/>
                  <a:gd name="T46" fmla="*/ 64 w 78"/>
                  <a:gd name="T47" fmla="*/ 26 h 164"/>
                  <a:gd name="T48" fmla="*/ 64 w 78"/>
                  <a:gd name="T49" fmla="*/ 74 h 164"/>
                  <a:gd name="T50" fmla="*/ 71 w 78"/>
                  <a:gd name="T51" fmla="*/ 80 h 164"/>
                  <a:gd name="T52" fmla="*/ 78 w 78"/>
                  <a:gd name="T53" fmla="*/ 74 h 164"/>
                  <a:gd name="T54" fmla="*/ 78 w 78"/>
                  <a:gd name="T55" fmla="*/ 19 h 164"/>
                  <a:gd name="T56" fmla="*/ 78 w 78"/>
                  <a:gd name="T57" fmla="*/ 16 h 164"/>
                  <a:gd name="T58" fmla="*/ 78 w 78"/>
                  <a:gd name="T59" fmla="*/ 15 h 164"/>
                  <a:gd name="T60" fmla="*/ 59 w 78"/>
                  <a:gd name="T61" fmla="*/ 0 h 1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78" h="164">
                    <a:moveTo>
                      <a:pt x="59" y="0"/>
                    </a:moveTo>
                    <a:cubicBezTo>
                      <a:pt x="20" y="0"/>
                      <a:pt x="20" y="0"/>
                      <a:pt x="20" y="0"/>
                    </a:cubicBezTo>
                    <a:cubicBezTo>
                      <a:pt x="6" y="0"/>
                      <a:pt x="0" y="12"/>
                      <a:pt x="0" y="16"/>
                    </a:cubicBezTo>
                    <a:cubicBezTo>
                      <a:pt x="0" y="16"/>
                      <a:pt x="0" y="16"/>
                      <a:pt x="0" y="16"/>
                    </a:cubicBezTo>
                    <a:cubicBezTo>
                      <a:pt x="0" y="19"/>
                      <a:pt x="0" y="19"/>
                      <a:pt x="0" y="19"/>
                    </a:cubicBezTo>
                    <a:cubicBezTo>
                      <a:pt x="0" y="74"/>
                      <a:pt x="0" y="74"/>
                      <a:pt x="0" y="74"/>
                    </a:cubicBezTo>
                    <a:cubicBezTo>
                      <a:pt x="0" y="77"/>
                      <a:pt x="3" y="80"/>
                      <a:pt x="7" y="80"/>
                    </a:cubicBezTo>
                    <a:cubicBezTo>
                      <a:pt x="10" y="80"/>
                      <a:pt x="13" y="77"/>
                      <a:pt x="13" y="74"/>
                    </a:cubicBezTo>
                    <a:cubicBezTo>
                      <a:pt x="13" y="26"/>
                      <a:pt x="13" y="26"/>
                      <a:pt x="13" y="26"/>
                    </a:cubicBezTo>
                    <a:cubicBezTo>
                      <a:pt x="19" y="26"/>
                      <a:pt x="19" y="26"/>
                      <a:pt x="19" y="26"/>
                    </a:cubicBezTo>
                    <a:cubicBezTo>
                      <a:pt x="19" y="72"/>
                      <a:pt x="19" y="72"/>
                      <a:pt x="19" y="72"/>
                    </a:cubicBezTo>
                    <a:cubicBezTo>
                      <a:pt x="19" y="72"/>
                      <a:pt x="19" y="73"/>
                      <a:pt x="19" y="73"/>
                    </a:cubicBezTo>
                    <a:cubicBezTo>
                      <a:pt x="19" y="154"/>
                      <a:pt x="19" y="154"/>
                      <a:pt x="19" y="154"/>
                    </a:cubicBezTo>
                    <a:cubicBezTo>
                      <a:pt x="19" y="159"/>
                      <a:pt x="23" y="164"/>
                      <a:pt x="28" y="164"/>
                    </a:cubicBezTo>
                    <a:cubicBezTo>
                      <a:pt x="33" y="164"/>
                      <a:pt x="37" y="159"/>
                      <a:pt x="37" y="154"/>
                    </a:cubicBezTo>
                    <a:cubicBezTo>
                      <a:pt x="37" y="83"/>
                      <a:pt x="37" y="83"/>
                      <a:pt x="37" y="83"/>
                    </a:cubicBezTo>
                    <a:cubicBezTo>
                      <a:pt x="41" y="83"/>
                      <a:pt x="41" y="83"/>
                      <a:pt x="41" y="83"/>
                    </a:cubicBezTo>
                    <a:cubicBezTo>
                      <a:pt x="41" y="154"/>
                      <a:pt x="41" y="154"/>
                      <a:pt x="41" y="154"/>
                    </a:cubicBezTo>
                    <a:cubicBezTo>
                      <a:pt x="41" y="159"/>
                      <a:pt x="45" y="164"/>
                      <a:pt x="50" y="164"/>
                    </a:cubicBezTo>
                    <a:cubicBezTo>
                      <a:pt x="55" y="164"/>
                      <a:pt x="59" y="159"/>
                      <a:pt x="59" y="154"/>
                    </a:cubicBezTo>
                    <a:cubicBezTo>
                      <a:pt x="59" y="72"/>
                      <a:pt x="59" y="72"/>
                      <a:pt x="59" y="72"/>
                    </a:cubicBezTo>
                    <a:cubicBezTo>
                      <a:pt x="59" y="71"/>
                      <a:pt x="59" y="71"/>
                      <a:pt x="59" y="71"/>
                    </a:cubicBezTo>
                    <a:cubicBezTo>
                      <a:pt x="59" y="26"/>
                      <a:pt x="59" y="26"/>
                      <a:pt x="59" y="26"/>
                    </a:cubicBezTo>
                    <a:cubicBezTo>
                      <a:pt x="64" y="26"/>
                      <a:pt x="64" y="26"/>
                      <a:pt x="64" y="26"/>
                    </a:cubicBezTo>
                    <a:cubicBezTo>
                      <a:pt x="64" y="74"/>
                      <a:pt x="64" y="74"/>
                      <a:pt x="64" y="74"/>
                    </a:cubicBezTo>
                    <a:cubicBezTo>
                      <a:pt x="64" y="77"/>
                      <a:pt x="67" y="80"/>
                      <a:pt x="71" y="80"/>
                    </a:cubicBezTo>
                    <a:cubicBezTo>
                      <a:pt x="75" y="80"/>
                      <a:pt x="78" y="77"/>
                      <a:pt x="78" y="74"/>
                    </a:cubicBezTo>
                    <a:cubicBezTo>
                      <a:pt x="78" y="19"/>
                      <a:pt x="78" y="19"/>
                      <a:pt x="78" y="19"/>
                    </a:cubicBezTo>
                    <a:cubicBezTo>
                      <a:pt x="78" y="16"/>
                      <a:pt x="78" y="16"/>
                      <a:pt x="78" y="16"/>
                    </a:cubicBezTo>
                    <a:cubicBezTo>
                      <a:pt x="78" y="15"/>
                      <a:pt x="78" y="15"/>
                      <a:pt x="78" y="15"/>
                    </a:cubicBezTo>
                    <a:cubicBezTo>
                      <a:pt x="78" y="10"/>
                      <a:pt x="72" y="0"/>
                      <a:pt x="59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45720" tIns="22860" rIns="45720" bIns="22860" numCol="1" anchor="t" anchorCtr="0" compatLnSpc="1"/>
              <a:lstStyle/>
              <a:p>
                <a:endParaRPr lang="en-US" sz="900">
                  <a:latin typeface="Arial" panose="020B0604020202020204" pitchFamily="34" charset="0"/>
                  <a:ea typeface="微软雅黑" panose="020B0503020204020204" pitchFamily="34" charset="-122"/>
                  <a:cs typeface="思源黑体 CN Regular" panose="020B0500000000000000" charset="-122"/>
                  <a:sym typeface="Arial" panose="020B0604020202020204" pitchFamily="34" charset="0"/>
                </a:endParaRPr>
              </a:p>
            </p:txBody>
          </p:sp>
          <p:sp>
            <p:nvSpPr>
              <p:cNvPr id="238" name="Oval 13"/>
              <p:cNvSpPr>
                <a:spLocks noChangeArrowheads="1"/>
              </p:cNvSpPr>
              <p:nvPr/>
            </p:nvSpPr>
            <p:spPr bwMode="auto">
              <a:xfrm>
                <a:off x="4511675" y="2198688"/>
                <a:ext cx="115888" cy="115888"/>
              </a:xfrm>
              <a:prstGeom prst="ellipse">
                <a:avLst/>
              </a:prstGeom>
              <a:grpFill/>
              <a:ln>
                <a:noFill/>
              </a:ln>
            </p:spPr>
            <p:txBody>
              <a:bodyPr vert="horz" wrap="square" lIns="45720" tIns="22860" rIns="45720" bIns="22860" numCol="1" anchor="t" anchorCtr="0" compatLnSpc="1"/>
              <a:lstStyle/>
              <a:p>
                <a:endParaRPr lang="en-US" sz="900">
                  <a:latin typeface="Arial" panose="020B0604020202020204" pitchFamily="34" charset="0"/>
                  <a:ea typeface="微软雅黑" panose="020B0503020204020204" pitchFamily="34" charset="-122"/>
                  <a:cs typeface="思源黑体 CN Regular" panose="020B0500000000000000" charset="-122"/>
                  <a:sym typeface="Arial" panose="020B0604020202020204" pitchFamily="34" charset="0"/>
                </a:endParaRPr>
              </a:p>
            </p:txBody>
          </p:sp>
        </p:grpSp>
        <p:grpSp>
          <p:nvGrpSpPr>
            <p:cNvPr id="234" name="Group 233"/>
            <p:cNvGrpSpPr/>
            <p:nvPr/>
          </p:nvGrpSpPr>
          <p:grpSpPr>
            <a:xfrm>
              <a:off x="9918470" y="5323449"/>
              <a:ext cx="204160" cy="519412"/>
              <a:chOff x="4422775" y="2198688"/>
              <a:chExt cx="292100" cy="742950"/>
            </a:xfrm>
            <a:solidFill>
              <a:schemeClr val="bg1">
                <a:lumMod val="85000"/>
              </a:schemeClr>
            </a:solidFill>
          </p:grpSpPr>
          <p:sp>
            <p:nvSpPr>
              <p:cNvPr id="235" name="Freeform 12"/>
              <p:cNvSpPr/>
              <p:nvPr/>
            </p:nvSpPr>
            <p:spPr bwMode="auto">
              <a:xfrm>
                <a:off x="4422775" y="2325688"/>
                <a:ext cx="292100" cy="615950"/>
              </a:xfrm>
              <a:custGeom>
                <a:avLst/>
                <a:gdLst>
                  <a:gd name="T0" fmla="*/ 59 w 78"/>
                  <a:gd name="T1" fmla="*/ 0 h 164"/>
                  <a:gd name="T2" fmla="*/ 20 w 78"/>
                  <a:gd name="T3" fmla="*/ 0 h 164"/>
                  <a:gd name="T4" fmla="*/ 0 w 78"/>
                  <a:gd name="T5" fmla="*/ 16 h 164"/>
                  <a:gd name="T6" fmla="*/ 0 w 78"/>
                  <a:gd name="T7" fmla="*/ 16 h 164"/>
                  <a:gd name="T8" fmla="*/ 0 w 78"/>
                  <a:gd name="T9" fmla="*/ 19 h 164"/>
                  <a:gd name="T10" fmla="*/ 0 w 78"/>
                  <a:gd name="T11" fmla="*/ 74 h 164"/>
                  <a:gd name="T12" fmla="*/ 7 w 78"/>
                  <a:gd name="T13" fmla="*/ 80 h 164"/>
                  <a:gd name="T14" fmla="*/ 13 w 78"/>
                  <a:gd name="T15" fmla="*/ 74 h 164"/>
                  <a:gd name="T16" fmla="*/ 13 w 78"/>
                  <a:gd name="T17" fmla="*/ 26 h 164"/>
                  <a:gd name="T18" fmla="*/ 19 w 78"/>
                  <a:gd name="T19" fmla="*/ 26 h 164"/>
                  <a:gd name="T20" fmla="*/ 19 w 78"/>
                  <a:gd name="T21" fmla="*/ 72 h 164"/>
                  <a:gd name="T22" fmla="*/ 19 w 78"/>
                  <a:gd name="T23" fmla="*/ 73 h 164"/>
                  <a:gd name="T24" fmla="*/ 19 w 78"/>
                  <a:gd name="T25" fmla="*/ 154 h 164"/>
                  <a:gd name="T26" fmla="*/ 28 w 78"/>
                  <a:gd name="T27" fmla="*/ 164 h 164"/>
                  <a:gd name="T28" fmla="*/ 37 w 78"/>
                  <a:gd name="T29" fmla="*/ 154 h 164"/>
                  <a:gd name="T30" fmla="*/ 37 w 78"/>
                  <a:gd name="T31" fmla="*/ 83 h 164"/>
                  <a:gd name="T32" fmla="*/ 41 w 78"/>
                  <a:gd name="T33" fmla="*/ 83 h 164"/>
                  <a:gd name="T34" fmla="*/ 41 w 78"/>
                  <a:gd name="T35" fmla="*/ 154 h 164"/>
                  <a:gd name="T36" fmla="*/ 50 w 78"/>
                  <a:gd name="T37" fmla="*/ 164 h 164"/>
                  <a:gd name="T38" fmla="*/ 59 w 78"/>
                  <a:gd name="T39" fmla="*/ 154 h 164"/>
                  <a:gd name="T40" fmla="*/ 59 w 78"/>
                  <a:gd name="T41" fmla="*/ 72 h 164"/>
                  <a:gd name="T42" fmla="*/ 59 w 78"/>
                  <a:gd name="T43" fmla="*/ 71 h 164"/>
                  <a:gd name="T44" fmla="*/ 59 w 78"/>
                  <a:gd name="T45" fmla="*/ 26 h 164"/>
                  <a:gd name="T46" fmla="*/ 64 w 78"/>
                  <a:gd name="T47" fmla="*/ 26 h 164"/>
                  <a:gd name="T48" fmla="*/ 64 w 78"/>
                  <a:gd name="T49" fmla="*/ 74 h 164"/>
                  <a:gd name="T50" fmla="*/ 71 w 78"/>
                  <a:gd name="T51" fmla="*/ 80 h 164"/>
                  <a:gd name="T52" fmla="*/ 78 w 78"/>
                  <a:gd name="T53" fmla="*/ 74 h 164"/>
                  <a:gd name="T54" fmla="*/ 78 w 78"/>
                  <a:gd name="T55" fmla="*/ 19 h 164"/>
                  <a:gd name="T56" fmla="*/ 78 w 78"/>
                  <a:gd name="T57" fmla="*/ 16 h 164"/>
                  <a:gd name="T58" fmla="*/ 78 w 78"/>
                  <a:gd name="T59" fmla="*/ 15 h 164"/>
                  <a:gd name="T60" fmla="*/ 59 w 78"/>
                  <a:gd name="T61" fmla="*/ 0 h 1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78" h="164">
                    <a:moveTo>
                      <a:pt x="59" y="0"/>
                    </a:moveTo>
                    <a:cubicBezTo>
                      <a:pt x="20" y="0"/>
                      <a:pt x="20" y="0"/>
                      <a:pt x="20" y="0"/>
                    </a:cubicBezTo>
                    <a:cubicBezTo>
                      <a:pt x="6" y="0"/>
                      <a:pt x="0" y="12"/>
                      <a:pt x="0" y="16"/>
                    </a:cubicBezTo>
                    <a:cubicBezTo>
                      <a:pt x="0" y="16"/>
                      <a:pt x="0" y="16"/>
                      <a:pt x="0" y="16"/>
                    </a:cubicBezTo>
                    <a:cubicBezTo>
                      <a:pt x="0" y="19"/>
                      <a:pt x="0" y="19"/>
                      <a:pt x="0" y="19"/>
                    </a:cubicBezTo>
                    <a:cubicBezTo>
                      <a:pt x="0" y="74"/>
                      <a:pt x="0" y="74"/>
                      <a:pt x="0" y="74"/>
                    </a:cubicBezTo>
                    <a:cubicBezTo>
                      <a:pt x="0" y="77"/>
                      <a:pt x="3" y="80"/>
                      <a:pt x="7" y="80"/>
                    </a:cubicBezTo>
                    <a:cubicBezTo>
                      <a:pt x="10" y="80"/>
                      <a:pt x="13" y="77"/>
                      <a:pt x="13" y="74"/>
                    </a:cubicBezTo>
                    <a:cubicBezTo>
                      <a:pt x="13" y="26"/>
                      <a:pt x="13" y="26"/>
                      <a:pt x="13" y="26"/>
                    </a:cubicBezTo>
                    <a:cubicBezTo>
                      <a:pt x="19" y="26"/>
                      <a:pt x="19" y="26"/>
                      <a:pt x="19" y="26"/>
                    </a:cubicBezTo>
                    <a:cubicBezTo>
                      <a:pt x="19" y="72"/>
                      <a:pt x="19" y="72"/>
                      <a:pt x="19" y="72"/>
                    </a:cubicBezTo>
                    <a:cubicBezTo>
                      <a:pt x="19" y="72"/>
                      <a:pt x="19" y="73"/>
                      <a:pt x="19" y="73"/>
                    </a:cubicBezTo>
                    <a:cubicBezTo>
                      <a:pt x="19" y="154"/>
                      <a:pt x="19" y="154"/>
                      <a:pt x="19" y="154"/>
                    </a:cubicBezTo>
                    <a:cubicBezTo>
                      <a:pt x="19" y="159"/>
                      <a:pt x="23" y="164"/>
                      <a:pt x="28" y="164"/>
                    </a:cubicBezTo>
                    <a:cubicBezTo>
                      <a:pt x="33" y="164"/>
                      <a:pt x="37" y="159"/>
                      <a:pt x="37" y="154"/>
                    </a:cubicBezTo>
                    <a:cubicBezTo>
                      <a:pt x="37" y="83"/>
                      <a:pt x="37" y="83"/>
                      <a:pt x="37" y="83"/>
                    </a:cubicBezTo>
                    <a:cubicBezTo>
                      <a:pt x="41" y="83"/>
                      <a:pt x="41" y="83"/>
                      <a:pt x="41" y="83"/>
                    </a:cubicBezTo>
                    <a:cubicBezTo>
                      <a:pt x="41" y="154"/>
                      <a:pt x="41" y="154"/>
                      <a:pt x="41" y="154"/>
                    </a:cubicBezTo>
                    <a:cubicBezTo>
                      <a:pt x="41" y="159"/>
                      <a:pt x="45" y="164"/>
                      <a:pt x="50" y="164"/>
                    </a:cubicBezTo>
                    <a:cubicBezTo>
                      <a:pt x="55" y="164"/>
                      <a:pt x="59" y="159"/>
                      <a:pt x="59" y="154"/>
                    </a:cubicBezTo>
                    <a:cubicBezTo>
                      <a:pt x="59" y="72"/>
                      <a:pt x="59" y="72"/>
                      <a:pt x="59" y="72"/>
                    </a:cubicBezTo>
                    <a:cubicBezTo>
                      <a:pt x="59" y="71"/>
                      <a:pt x="59" y="71"/>
                      <a:pt x="59" y="71"/>
                    </a:cubicBezTo>
                    <a:cubicBezTo>
                      <a:pt x="59" y="26"/>
                      <a:pt x="59" y="26"/>
                      <a:pt x="59" y="26"/>
                    </a:cubicBezTo>
                    <a:cubicBezTo>
                      <a:pt x="64" y="26"/>
                      <a:pt x="64" y="26"/>
                      <a:pt x="64" y="26"/>
                    </a:cubicBezTo>
                    <a:cubicBezTo>
                      <a:pt x="64" y="74"/>
                      <a:pt x="64" y="74"/>
                      <a:pt x="64" y="74"/>
                    </a:cubicBezTo>
                    <a:cubicBezTo>
                      <a:pt x="64" y="77"/>
                      <a:pt x="67" y="80"/>
                      <a:pt x="71" y="80"/>
                    </a:cubicBezTo>
                    <a:cubicBezTo>
                      <a:pt x="75" y="80"/>
                      <a:pt x="78" y="77"/>
                      <a:pt x="78" y="74"/>
                    </a:cubicBezTo>
                    <a:cubicBezTo>
                      <a:pt x="78" y="19"/>
                      <a:pt x="78" y="19"/>
                      <a:pt x="78" y="19"/>
                    </a:cubicBezTo>
                    <a:cubicBezTo>
                      <a:pt x="78" y="16"/>
                      <a:pt x="78" y="16"/>
                      <a:pt x="78" y="16"/>
                    </a:cubicBezTo>
                    <a:cubicBezTo>
                      <a:pt x="78" y="15"/>
                      <a:pt x="78" y="15"/>
                      <a:pt x="78" y="15"/>
                    </a:cubicBezTo>
                    <a:cubicBezTo>
                      <a:pt x="78" y="10"/>
                      <a:pt x="72" y="0"/>
                      <a:pt x="59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45720" tIns="22860" rIns="45720" bIns="22860" numCol="1" anchor="t" anchorCtr="0" compatLnSpc="1"/>
              <a:lstStyle/>
              <a:p>
                <a:endParaRPr lang="en-US" sz="900">
                  <a:latin typeface="Arial" panose="020B0604020202020204" pitchFamily="34" charset="0"/>
                  <a:ea typeface="微软雅黑" panose="020B0503020204020204" pitchFamily="34" charset="-122"/>
                  <a:cs typeface="思源黑体 CN Regular" panose="020B0500000000000000" charset="-122"/>
                  <a:sym typeface="Arial" panose="020B0604020202020204" pitchFamily="34" charset="0"/>
                </a:endParaRPr>
              </a:p>
            </p:txBody>
          </p:sp>
          <p:sp>
            <p:nvSpPr>
              <p:cNvPr id="236" name="Oval 13"/>
              <p:cNvSpPr>
                <a:spLocks noChangeArrowheads="1"/>
              </p:cNvSpPr>
              <p:nvPr/>
            </p:nvSpPr>
            <p:spPr bwMode="auto">
              <a:xfrm>
                <a:off x="4511675" y="2198688"/>
                <a:ext cx="115888" cy="115888"/>
              </a:xfrm>
              <a:prstGeom prst="ellipse">
                <a:avLst/>
              </a:prstGeom>
              <a:grpFill/>
              <a:ln>
                <a:noFill/>
              </a:ln>
            </p:spPr>
            <p:txBody>
              <a:bodyPr vert="horz" wrap="square" lIns="45720" tIns="22860" rIns="45720" bIns="22860" numCol="1" anchor="t" anchorCtr="0" compatLnSpc="1"/>
              <a:lstStyle/>
              <a:p>
                <a:endParaRPr lang="en-US" sz="900">
                  <a:latin typeface="Arial" panose="020B0604020202020204" pitchFamily="34" charset="0"/>
                  <a:ea typeface="微软雅黑" panose="020B0503020204020204" pitchFamily="34" charset="-122"/>
                  <a:cs typeface="思源黑体 CN Regular" panose="020B0500000000000000" charset="-122"/>
                  <a:sym typeface="Arial" panose="020B0604020202020204" pitchFamily="34" charset="0"/>
                </a:endParaRPr>
              </a:p>
            </p:txBody>
          </p:sp>
        </p:grpSp>
      </p:grpSp>
      <p:sp>
        <p:nvSpPr>
          <p:cNvPr id="179" name="TextBox 43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SpPr txBox="1"/>
          <p:nvPr/>
        </p:nvSpPr>
        <p:spPr>
          <a:xfrm>
            <a:off x="864324" y="660991"/>
            <a:ext cx="5993676" cy="1446550"/>
          </a:xfrm>
          <a:prstGeom prst="rect">
            <a:avLst/>
          </a:prstGeom>
          <a:noFill/>
          <a:ln>
            <a:noFill/>
          </a:ln>
        </p:spPr>
        <p:txBody>
          <a:bodyPr wrap="square" rtlCol="0" anchor="ctr">
            <a:spAutoFit/>
          </a:bodyPr>
          <a:lstStyle>
            <a:defPPr>
              <a:defRPr lang="zh-CN"/>
            </a:defPPr>
            <a:lvl1pPr>
              <a:defRPr sz="4400" b="1">
                <a:ln w="9525">
                  <a:noFill/>
                </a:ln>
                <a:latin typeface="+mj-ea"/>
                <a:ea typeface="+mj-ea"/>
              </a:defRPr>
            </a:lvl1pPr>
          </a:lstStyle>
          <a:p>
            <a:r>
              <a:rPr lang="en-US"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rPr>
              <a:t>ESSENTIAL SERVICE </a:t>
            </a:r>
            <a:r>
              <a:rPr lang="en-US">
                <a:solidFill>
                  <a:schemeClr val="tx2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rPr>
              <a:t>MARKETING</a:t>
            </a:r>
          </a:p>
        </p:txBody>
      </p:sp>
      <p:grpSp>
        <p:nvGrpSpPr>
          <p:cNvPr id="180" name="组合 179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GrpSpPr/>
          <p:nvPr/>
        </p:nvGrpSpPr>
        <p:grpSpPr>
          <a:xfrm>
            <a:off x="537464" y="0"/>
            <a:ext cx="596900" cy="723900"/>
            <a:chOff x="537464" y="0"/>
            <a:chExt cx="596900" cy="723900"/>
          </a:xfrm>
        </p:grpSpPr>
        <p:sp>
          <p:nvSpPr>
            <p:cNvPr id="181" name="矩形 180"/>
            <p:cNvSpPr/>
            <p:nvPr/>
          </p:nvSpPr>
          <p:spPr>
            <a:xfrm>
              <a:off x="537464" y="0"/>
              <a:ext cx="596900" cy="723900"/>
            </a:xfrm>
            <a:prstGeom prst="rect">
              <a:avLst/>
            </a:prstGeom>
            <a:solidFill>
              <a:srgbClr val="002BF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endParaRPr>
            </a:p>
          </p:txBody>
        </p:sp>
        <p:sp>
          <p:nvSpPr>
            <p:cNvPr id="255" name="Shape 3891"/>
            <p:cNvSpPr/>
            <p:nvPr/>
          </p:nvSpPr>
          <p:spPr>
            <a:xfrm>
              <a:off x="698957" y="162829"/>
              <a:ext cx="279033" cy="27903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8429" y="14128"/>
                  </a:moveTo>
                  <a:cubicBezTo>
                    <a:pt x="17041" y="13430"/>
                    <a:pt x="15777" y="12523"/>
                    <a:pt x="14684" y="11440"/>
                  </a:cubicBezTo>
                  <a:cubicBezTo>
                    <a:pt x="15214" y="10618"/>
                    <a:pt x="15664" y="9739"/>
                    <a:pt x="16034" y="8820"/>
                  </a:cubicBezTo>
                  <a:cubicBezTo>
                    <a:pt x="16089" y="8826"/>
                    <a:pt x="16143" y="8836"/>
                    <a:pt x="16200" y="8836"/>
                  </a:cubicBezTo>
                  <a:cubicBezTo>
                    <a:pt x="17013" y="8836"/>
                    <a:pt x="17673" y="8178"/>
                    <a:pt x="17673" y="7364"/>
                  </a:cubicBezTo>
                  <a:cubicBezTo>
                    <a:pt x="17673" y="6787"/>
                    <a:pt x="17339" y="6295"/>
                    <a:pt x="16856" y="6052"/>
                  </a:cubicBezTo>
                  <a:cubicBezTo>
                    <a:pt x="17033" y="5170"/>
                    <a:pt x="17144" y="4264"/>
                    <a:pt x="17167" y="3336"/>
                  </a:cubicBezTo>
                  <a:cubicBezTo>
                    <a:pt x="19277" y="5136"/>
                    <a:pt x="20618" y="7809"/>
                    <a:pt x="20618" y="10800"/>
                  </a:cubicBezTo>
                  <a:cubicBezTo>
                    <a:pt x="20618" y="11764"/>
                    <a:pt x="20469" y="12690"/>
                    <a:pt x="20209" y="13568"/>
                  </a:cubicBezTo>
                  <a:cubicBezTo>
                    <a:pt x="19628" y="13783"/>
                    <a:pt x="19034" y="13971"/>
                    <a:pt x="18429" y="14128"/>
                  </a:cubicBezTo>
                  <a:moveTo>
                    <a:pt x="10800" y="20618"/>
                  </a:moveTo>
                  <a:cubicBezTo>
                    <a:pt x="8406" y="20618"/>
                    <a:pt x="6213" y="19759"/>
                    <a:pt x="4509" y="18335"/>
                  </a:cubicBezTo>
                  <a:cubicBezTo>
                    <a:pt x="6552" y="17934"/>
                    <a:pt x="8450" y="17135"/>
                    <a:pt x="10128" y="16031"/>
                  </a:cubicBezTo>
                  <a:cubicBezTo>
                    <a:pt x="10330" y="16136"/>
                    <a:pt x="10556" y="16200"/>
                    <a:pt x="10800" y="16200"/>
                  </a:cubicBezTo>
                  <a:cubicBezTo>
                    <a:pt x="11273" y="16200"/>
                    <a:pt x="11689" y="15974"/>
                    <a:pt x="11959" y="15627"/>
                  </a:cubicBezTo>
                  <a:cubicBezTo>
                    <a:pt x="12547" y="15680"/>
                    <a:pt x="13142" y="15709"/>
                    <a:pt x="13745" y="15709"/>
                  </a:cubicBezTo>
                  <a:cubicBezTo>
                    <a:pt x="15323" y="15709"/>
                    <a:pt x="16852" y="15508"/>
                    <a:pt x="18322" y="15156"/>
                  </a:cubicBezTo>
                  <a:cubicBezTo>
                    <a:pt x="18660" y="15317"/>
                    <a:pt x="18998" y="15480"/>
                    <a:pt x="19350" y="15618"/>
                  </a:cubicBezTo>
                  <a:cubicBezTo>
                    <a:pt x="17665" y="18601"/>
                    <a:pt x="14470" y="20618"/>
                    <a:pt x="10800" y="20618"/>
                  </a:cubicBezTo>
                  <a:moveTo>
                    <a:pt x="3539" y="17393"/>
                  </a:moveTo>
                  <a:cubicBezTo>
                    <a:pt x="3476" y="16840"/>
                    <a:pt x="3436" y="16280"/>
                    <a:pt x="3436" y="15709"/>
                  </a:cubicBezTo>
                  <a:cubicBezTo>
                    <a:pt x="3436" y="14764"/>
                    <a:pt x="3536" y="13842"/>
                    <a:pt x="3707" y="12946"/>
                  </a:cubicBezTo>
                  <a:cubicBezTo>
                    <a:pt x="5455" y="13988"/>
                    <a:pt x="7377" y="14767"/>
                    <a:pt x="9421" y="15227"/>
                  </a:cubicBezTo>
                  <a:cubicBezTo>
                    <a:pt x="9431" y="15254"/>
                    <a:pt x="9436" y="15282"/>
                    <a:pt x="9447" y="15308"/>
                  </a:cubicBezTo>
                  <a:cubicBezTo>
                    <a:pt x="7724" y="16421"/>
                    <a:pt x="5761" y="17193"/>
                    <a:pt x="3643" y="17507"/>
                  </a:cubicBezTo>
                  <a:cubicBezTo>
                    <a:pt x="3608" y="17469"/>
                    <a:pt x="3573" y="17430"/>
                    <a:pt x="3539" y="17393"/>
                  </a:cubicBezTo>
                  <a:moveTo>
                    <a:pt x="3075" y="11369"/>
                  </a:moveTo>
                  <a:cubicBezTo>
                    <a:pt x="2361" y="10869"/>
                    <a:pt x="1683" y="10322"/>
                    <a:pt x="1046" y="9729"/>
                  </a:cubicBezTo>
                  <a:cubicBezTo>
                    <a:pt x="1528" y="5299"/>
                    <a:pt x="4955" y="1762"/>
                    <a:pt x="9331" y="1104"/>
                  </a:cubicBezTo>
                  <a:cubicBezTo>
                    <a:pt x="9335" y="1629"/>
                    <a:pt x="9363" y="2148"/>
                    <a:pt x="9417" y="2660"/>
                  </a:cubicBezTo>
                  <a:cubicBezTo>
                    <a:pt x="8572" y="3227"/>
                    <a:pt x="7787" y="3879"/>
                    <a:pt x="7069" y="4597"/>
                  </a:cubicBezTo>
                  <a:cubicBezTo>
                    <a:pt x="6863" y="4486"/>
                    <a:pt x="6632" y="4418"/>
                    <a:pt x="6382" y="4418"/>
                  </a:cubicBezTo>
                  <a:cubicBezTo>
                    <a:pt x="5569" y="4418"/>
                    <a:pt x="4909" y="5078"/>
                    <a:pt x="4909" y="5891"/>
                  </a:cubicBezTo>
                  <a:cubicBezTo>
                    <a:pt x="4909" y="6236"/>
                    <a:pt x="5033" y="6549"/>
                    <a:pt x="5231" y="6800"/>
                  </a:cubicBezTo>
                  <a:cubicBezTo>
                    <a:pt x="4279" y="8179"/>
                    <a:pt x="3550" y="9719"/>
                    <a:pt x="3075" y="11369"/>
                  </a:cubicBezTo>
                  <a:moveTo>
                    <a:pt x="2466" y="15973"/>
                  </a:moveTo>
                  <a:cubicBezTo>
                    <a:pt x="1563" y="14521"/>
                    <a:pt x="1025" y="12821"/>
                    <a:pt x="989" y="10995"/>
                  </a:cubicBezTo>
                  <a:cubicBezTo>
                    <a:pt x="1570" y="11492"/>
                    <a:pt x="2180" y="11955"/>
                    <a:pt x="2817" y="12383"/>
                  </a:cubicBezTo>
                  <a:cubicBezTo>
                    <a:pt x="2585" y="13456"/>
                    <a:pt x="2455" y="14567"/>
                    <a:pt x="2455" y="15709"/>
                  </a:cubicBezTo>
                  <a:cubicBezTo>
                    <a:pt x="2455" y="15798"/>
                    <a:pt x="2464" y="15885"/>
                    <a:pt x="2466" y="15973"/>
                  </a:cubicBezTo>
                  <a:moveTo>
                    <a:pt x="13428" y="11540"/>
                  </a:moveTo>
                  <a:cubicBezTo>
                    <a:pt x="12907" y="12264"/>
                    <a:pt x="12315" y="12931"/>
                    <a:pt x="11674" y="13548"/>
                  </a:cubicBezTo>
                  <a:cubicBezTo>
                    <a:pt x="11429" y="13366"/>
                    <a:pt x="11129" y="13255"/>
                    <a:pt x="10800" y="13255"/>
                  </a:cubicBezTo>
                  <a:cubicBezTo>
                    <a:pt x="10166" y="13255"/>
                    <a:pt x="9631" y="13657"/>
                    <a:pt x="9423" y="14218"/>
                  </a:cubicBezTo>
                  <a:cubicBezTo>
                    <a:pt x="7455" y="13751"/>
                    <a:pt x="5607" y="12974"/>
                    <a:pt x="3936" y="11937"/>
                  </a:cubicBezTo>
                  <a:cubicBezTo>
                    <a:pt x="4379" y="10266"/>
                    <a:pt x="5100" y="8709"/>
                    <a:pt x="6060" y="7326"/>
                  </a:cubicBezTo>
                  <a:cubicBezTo>
                    <a:pt x="6164" y="7349"/>
                    <a:pt x="6271" y="7364"/>
                    <a:pt x="6382" y="7364"/>
                  </a:cubicBezTo>
                  <a:cubicBezTo>
                    <a:pt x="7195" y="7364"/>
                    <a:pt x="7855" y="6705"/>
                    <a:pt x="7855" y="5891"/>
                  </a:cubicBezTo>
                  <a:cubicBezTo>
                    <a:pt x="7855" y="5688"/>
                    <a:pt x="7813" y="5494"/>
                    <a:pt x="7739" y="5318"/>
                  </a:cubicBezTo>
                  <a:cubicBezTo>
                    <a:pt x="8307" y="4747"/>
                    <a:pt x="8920" y="4221"/>
                    <a:pt x="9575" y="3749"/>
                  </a:cubicBezTo>
                  <a:cubicBezTo>
                    <a:pt x="10104" y="6723"/>
                    <a:pt x="11479" y="9397"/>
                    <a:pt x="13428" y="11540"/>
                  </a:cubicBezTo>
                  <a:moveTo>
                    <a:pt x="10800" y="982"/>
                  </a:moveTo>
                  <a:cubicBezTo>
                    <a:pt x="11347" y="982"/>
                    <a:pt x="11881" y="1038"/>
                    <a:pt x="12403" y="1125"/>
                  </a:cubicBezTo>
                  <a:cubicBezTo>
                    <a:pt x="11696" y="1401"/>
                    <a:pt x="11005" y="1708"/>
                    <a:pt x="10354" y="2082"/>
                  </a:cubicBezTo>
                  <a:cubicBezTo>
                    <a:pt x="10328" y="1726"/>
                    <a:pt x="10311" y="1368"/>
                    <a:pt x="10310" y="1007"/>
                  </a:cubicBezTo>
                  <a:cubicBezTo>
                    <a:pt x="10474" y="999"/>
                    <a:pt x="10635" y="982"/>
                    <a:pt x="10800" y="982"/>
                  </a:cubicBezTo>
                  <a:moveTo>
                    <a:pt x="14120" y="12262"/>
                  </a:moveTo>
                  <a:cubicBezTo>
                    <a:pt x="14982" y="13097"/>
                    <a:pt x="15950" y="13819"/>
                    <a:pt x="16986" y="14440"/>
                  </a:cubicBezTo>
                  <a:cubicBezTo>
                    <a:pt x="15933" y="14626"/>
                    <a:pt x="14852" y="14727"/>
                    <a:pt x="13745" y="14727"/>
                  </a:cubicBezTo>
                  <a:cubicBezTo>
                    <a:pt x="13246" y="14727"/>
                    <a:pt x="12754" y="14702"/>
                    <a:pt x="12265" y="14664"/>
                  </a:cubicBezTo>
                  <a:cubicBezTo>
                    <a:pt x="12259" y="14569"/>
                    <a:pt x="12250" y="14475"/>
                    <a:pt x="12229" y="14386"/>
                  </a:cubicBezTo>
                  <a:cubicBezTo>
                    <a:pt x="12921" y="13737"/>
                    <a:pt x="13555" y="13027"/>
                    <a:pt x="14120" y="12262"/>
                  </a:cubicBezTo>
                  <a:moveTo>
                    <a:pt x="16188" y="2597"/>
                  </a:moveTo>
                  <a:cubicBezTo>
                    <a:pt x="16191" y="2713"/>
                    <a:pt x="16200" y="2828"/>
                    <a:pt x="16200" y="2945"/>
                  </a:cubicBezTo>
                  <a:cubicBezTo>
                    <a:pt x="16200" y="3967"/>
                    <a:pt x="16092" y="4962"/>
                    <a:pt x="15894" y="5924"/>
                  </a:cubicBezTo>
                  <a:cubicBezTo>
                    <a:pt x="15227" y="6065"/>
                    <a:pt x="14727" y="6656"/>
                    <a:pt x="14727" y="7364"/>
                  </a:cubicBezTo>
                  <a:cubicBezTo>
                    <a:pt x="14727" y="7765"/>
                    <a:pt x="14888" y="8128"/>
                    <a:pt x="15149" y="8393"/>
                  </a:cubicBezTo>
                  <a:cubicBezTo>
                    <a:pt x="14827" y="9199"/>
                    <a:pt x="14443" y="9974"/>
                    <a:pt x="13991" y="10701"/>
                  </a:cubicBezTo>
                  <a:cubicBezTo>
                    <a:pt x="12159" y="8620"/>
                    <a:pt x="10894" y="6025"/>
                    <a:pt x="10469" y="3152"/>
                  </a:cubicBezTo>
                  <a:cubicBezTo>
                    <a:pt x="11590" y="2463"/>
                    <a:pt x="12813" y="1934"/>
                    <a:pt x="14106" y="1565"/>
                  </a:cubicBezTo>
                  <a:cubicBezTo>
                    <a:pt x="14844" y="1829"/>
                    <a:pt x="15544" y="2174"/>
                    <a:pt x="16188" y="2597"/>
                  </a:cubicBezTo>
                  <a:moveTo>
                    <a:pt x="10800" y="0"/>
                  </a:moveTo>
                  <a:cubicBezTo>
                    <a:pt x="4835" y="0"/>
                    <a:pt x="0" y="4835"/>
                    <a:pt x="0" y="10800"/>
                  </a:cubicBezTo>
                  <a:cubicBezTo>
                    <a:pt x="0" y="16765"/>
                    <a:pt x="4835" y="21600"/>
                    <a:pt x="10800" y="21600"/>
                  </a:cubicBezTo>
                  <a:cubicBezTo>
                    <a:pt x="16765" y="21600"/>
                    <a:pt x="21600" y="16765"/>
                    <a:pt x="21600" y="10800"/>
                  </a:cubicBezTo>
                  <a:cubicBezTo>
                    <a:pt x="21600" y="4835"/>
                    <a:pt x="16765" y="0"/>
                    <a:pt x="10800" y="0"/>
                  </a:cubicBezTo>
                </a:path>
              </a:pathLst>
            </a:custGeom>
            <a:solidFill>
              <a:schemeClr val="bg1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endParaRPr>
                <a:solidFill>
                  <a:prstClr val="black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endParaRPr>
            </a:p>
          </p:txBody>
        </p:sp>
        <p:sp>
          <p:nvSpPr>
            <p:cNvPr id="256" name="文本框 255"/>
            <p:cNvSpPr txBox="1"/>
            <p:nvPr/>
          </p:nvSpPr>
          <p:spPr>
            <a:xfrm>
              <a:off x="554398" y="448734"/>
              <a:ext cx="572593" cy="25391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sz="1050">
                  <a:solidFill>
                    <a:schemeClr val="bg1"/>
                  </a:solidFill>
                  <a:latin typeface="Arial" panose="020B0604020202020204" pitchFamily="34" charset="0"/>
                  <a:ea typeface="微软雅黑" panose="020B0503020204020204" pitchFamily="34" charset="-122"/>
                  <a:cs typeface="思源黑体 CN Regular" panose="020B0500000000000000" charset="-122"/>
                  <a:sym typeface="Arial" panose="020B0604020202020204" pitchFamily="34" charset="0"/>
                </a:rPr>
                <a:t>LOGO</a:t>
              </a:r>
              <a:endParaRPr lang="zh-CN" altLang="en-US" sz="1050">
                <a:solidFill>
                  <a:schemeClr val="bg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endParaRPr>
            </a:p>
          </p:txBody>
        </p:sp>
      </p:grpSp>
      <p:sp>
        <p:nvSpPr>
          <p:cNvPr id="257" name="Прямоугольник 25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SpPr/>
          <p:nvPr/>
        </p:nvSpPr>
        <p:spPr>
          <a:xfrm>
            <a:off x="0" y="0"/>
            <a:ext cx="45719" cy="3429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rial" panose="020B0604020202020204" pitchFamily="34" charset="0"/>
              <a:ea typeface="微软雅黑" panose="020B0503020204020204" pitchFamily="34" charset="-122"/>
              <a:cs typeface="思源黑体 CN Regular" panose="020B0500000000000000" charset="-122"/>
              <a:sym typeface="Arial" panose="020B0604020202020204" pitchFamily="34" charset="0"/>
            </a:endParaRPr>
          </a:p>
        </p:txBody>
      </p:sp>
      <p:sp>
        <p:nvSpPr>
          <p:cNvPr id="4" name="e7d195523061f1c0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 hidden="1"/>
          <p:cNvSpPr txBox="1"/>
          <p:nvPr/>
        </p:nvSpPr>
        <p:spPr>
          <a:xfrm>
            <a:off x="-355600" y="1803400"/>
            <a:ext cx="284693" cy="1016000"/>
          </a:xfrm>
          <a:prstGeom prst="rect">
            <a:avLst/>
          </a:prstGeom>
          <a:noFill/>
        </p:spPr>
        <p:txBody>
          <a:bodyPr vert="wordArtVert" rtlCol="0">
            <a:spAutoFit/>
          </a:bodyPr>
          <a:lstStyle/>
          <a:p>
            <a:r>
              <a:rPr lang="en-US" altLang="zh-CN" sz="100"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rPr>
              <a:t>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</a:t>
            </a:r>
            <a:endParaRPr lang="zh-CN" altLang="en-US" sz="100">
              <a:latin typeface="Arial" panose="020B0604020202020204" pitchFamily="34" charset="0"/>
              <a:ea typeface="微软雅黑" panose="020B0503020204020204" pitchFamily="34" charset="-122"/>
              <a:cs typeface="思源黑体 CN Regular" panose="020B0500000000000000" charset="-122"/>
              <a:sym typeface="Arial" panose="020B0604020202020204" pitchFamily="34" charset="0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random/>
      </p:transition>
    </mc:Choice>
    <mc:Fallback xmlns:p159="http://schemas.microsoft.com/office/powerpoint/2015/09/main" xmlns:p15="http://schemas.microsoft.com/office/powerpoint/2012/main" xmlns:a14="http://schemas.microsoft.com/office/drawing/2010/main" xmlns:wp="http://schemas.openxmlformats.org/drawingml/2006/wordprocessingDrawing" xmlns:w="http://schemas.openxmlformats.org/wordprocessingml/2006/main" xmlns:m="http://schemas.openxmlformats.org/officeDocument/2006/math" xmlns="">
      <p:transition spd="slow">
        <p:random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21" dur="50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7" dur="500"/>
                                        <p:tgtEl>
                                          <p:spTgt spid="1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6" presetClass="entr" presetSubtype="21" dur="5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0" dur="500"/>
                                        <p:tgtEl>
                                          <p:spTgt spid="1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6" presetClass="entr" presetSubtype="21" dur="5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3" dur="500"/>
                                        <p:tgtEl>
                                          <p:spTgt spid="1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6" presetClass="entr" presetSubtype="21" dur="5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6" dur="500"/>
                                        <p:tgtEl>
                                          <p:spTgt spid="1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6" presetClass="entr" presetSubtype="21" dur="5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9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6" presetClass="entr" presetSubtype="21" dur="5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22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6" presetClass="entr" presetSubtype="21" dur="5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25" dur="5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6" presetClass="entr" presetSubtype="21" dur="5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28" dur="50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6" presetClass="entr" presetSubtype="21" dur="5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31" dur="500"/>
                                        <p:tgtEl>
                                          <p:spTgt spid="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6" presetClass="entr" presetSubtype="21" dur="5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34" dur="500"/>
                                        <p:tgtEl>
                                          <p:spTgt spid="18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 nodeType="clickPar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6" presetClass="entr" presetSubtype="21" dur="50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39" dur="500"/>
                                        <p:tgtEl>
                                          <p:spTgt spid="18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16" presetClass="entr" presetSubtype="21" dur="5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42" dur="500"/>
                                        <p:tgtEl>
                                          <p:spTgt spid="18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" presetID="16" presetClass="entr" presetSubtype="21" dur="5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45" dur="500"/>
                                        <p:tgtEl>
                                          <p:spTgt spid="18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6" presetID="16" presetClass="entr" presetSubtype="21" dur="5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48" dur="500"/>
                                        <p:tgtEl>
                                          <p:spTgt spid="18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9" presetID="16" presetClass="entr" presetSubtype="21" dur="5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51" dur="500"/>
                                        <p:tgtEl>
                                          <p:spTgt spid="19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2" presetID="16" presetClass="entr" presetSubtype="21" dur="5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54" dur="500"/>
                                        <p:tgtEl>
                                          <p:spTgt spid="19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5" presetID="16" presetClass="entr" presetSubtype="21" dur="5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57" dur="500"/>
                                        <p:tgtEl>
                                          <p:spTgt spid="2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3" grpId="0"/>
      <p:bldP spid="114" grpId="0"/>
      <p:bldP spid="115" grpId="0"/>
      <p:bldP spid="116" grpId="0"/>
      <p:bldP spid="182" grpId="0"/>
      <p:bldP spid="186" grpId="0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100000">
              <a:srgbClr val="C8C8C8"/>
            </a:gs>
            <a:gs pos="0">
              <a:schemeClr val="bg1">
                <a:alpha val="64000"/>
              </a:schemeClr>
            </a:gs>
          </a:gsLst>
          <a:path path="circle">
            <a:fillToRect l="50000" t="50000" r="50000" b="50000"/>
          </a:path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SpPr txBox="1"/>
          <p:nvPr/>
        </p:nvSpPr>
        <p:spPr>
          <a:xfrm>
            <a:off x="5549381" y="2319521"/>
            <a:ext cx="1093249" cy="14773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lnSpc>
                <a:spcPct val="80000"/>
              </a:lnSpc>
            </a:pPr>
            <a:r>
              <a:rPr lang="en-US" sz="1200" b="1" spc="200"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rPr>
              <a:t>HOMEPAGE</a:t>
            </a:r>
          </a:p>
        </p:txBody>
      </p:sp>
      <p:sp>
        <p:nvSpPr>
          <p:cNvPr id="3" name="TextBox 2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SpPr txBox="1"/>
          <p:nvPr/>
        </p:nvSpPr>
        <p:spPr>
          <a:xfrm>
            <a:off x="1822114" y="3808079"/>
            <a:ext cx="1349537" cy="14773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lnSpc>
                <a:spcPct val="80000"/>
              </a:lnSpc>
            </a:pPr>
            <a:r>
              <a:rPr lang="en-US" sz="1200" b="1" spc="200"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rPr>
              <a:t>WHAT WE DO!</a:t>
            </a:r>
          </a:p>
        </p:txBody>
      </p:sp>
      <p:sp>
        <p:nvSpPr>
          <p:cNvPr id="4" name="TextBox 3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SpPr txBox="1"/>
          <p:nvPr/>
        </p:nvSpPr>
        <p:spPr>
          <a:xfrm>
            <a:off x="3937370" y="3808079"/>
            <a:ext cx="718145" cy="14773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lnSpc>
                <a:spcPct val="80000"/>
              </a:lnSpc>
            </a:pPr>
            <a:r>
              <a:rPr lang="en-US" sz="1200" b="1" spc="200"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rPr>
              <a:t>WORKS</a:t>
            </a:r>
          </a:p>
        </p:txBody>
      </p:sp>
      <p:sp>
        <p:nvSpPr>
          <p:cNvPr id="5" name="TextBox 4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SpPr txBox="1"/>
          <p:nvPr/>
        </p:nvSpPr>
        <p:spPr>
          <a:xfrm>
            <a:off x="5591858" y="3808079"/>
            <a:ext cx="1008289" cy="14773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lnSpc>
                <a:spcPct val="80000"/>
              </a:lnSpc>
            </a:pPr>
            <a:r>
              <a:rPr lang="en-US" sz="1200" b="1" spc="200"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rPr>
              <a:t>ABOUT US</a:t>
            </a:r>
          </a:p>
        </p:txBody>
      </p:sp>
      <p:sp>
        <p:nvSpPr>
          <p:cNvPr id="6" name="TextBox 5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SpPr txBox="1"/>
          <p:nvPr/>
        </p:nvSpPr>
        <p:spPr>
          <a:xfrm>
            <a:off x="7494814" y="3808079"/>
            <a:ext cx="801502" cy="14773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lnSpc>
                <a:spcPct val="80000"/>
              </a:lnSpc>
            </a:pPr>
            <a:r>
              <a:rPr lang="en-US" sz="1200" b="1" spc="200"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rPr>
              <a:t>CAREER</a:t>
            </a:r>
          </a:p>
        </p:txBody>
      </p:sp>
      <p:sp>
        <p:nvSpPr>
          <p:cNvPr id="7" name="TextBox 6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SpPr txBox="1"/>
          <p:nvPr/>
        </p:nvSpPr>
        <p:spPr>
          <a:xfrm>
            <a:off x="9233459" y="3808079"/>
            <a:ext cx="923330" cy="14773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lnSpc>
                <a:spcPct val="80000"/>
              </a:lnSpc>
            </a:pPr>
            <a:r>
              <a:rPr lang="en-US" sz="1200" b="1" spc="200"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rPr>
              <a:t>CONTACT</a:t>
            </a:r>
          </a:p>
        </p:txBody>
      </p:sp>
      <p:sp>
        <p:nvSpPr>
          <p:cNvPr id="8" name="TextBox 7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SpPr txBox="1"/>
          <p:nvPr/>
        </p:nvSpPr>
        <p:spPr>
          <a:xfrm>
            <a:off x="1833240" y="5371065"/>
            <a:ext cx="1327286" cy="14773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lnSpc>
                <a:spcPct val="80000"/>
              </a:lnSpc>
            </a:pPr>
            <a:r>
              <a:rPr lang="en-US" sz="1200" b="1" spc="200"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rPr>
              <a:t>INNOVATIONS</a:t>
            </a:r>
          </a:p>
        </p:txBody>
      </p:sp>
      <p:sp>
        <p:nvSpPr>
          <p:cNvPr id="9" name="TextBox 8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SpPr txBox="1"/>
          <p:nvPr/>
        </p:nvSpPr>
        <p:spPr>
          <a:xfrm>
            <a:off x="3843595" y="5371065"/>
            <a:ext cx="905697" cy="14773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lnSpc>
                <a:spcPct val="80000"/>
              </a:lnSpc>
            </a:pPr>
            <a:r>
              <a:rPr lang="en-US" sz="1200" b="1" spc="200"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rPr>
              <a:t>PROJECT</a:t>
            </a:r>
          </a:p>
        </p:txBody>
      </p:sp>
      <p:sp>
        <p:nvSpPr>
          <p:cNvPr id="10" name="TextBox 9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SpPr txBox="1"/>
          <p:nvPr/>
        </p:nvSpPr>
        <p:spPr>
          <a:xfrm>
            <a:off x="7339322" y="5371065"/>
            <a:ext cx="1112485" cy="14773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lnSpc>
                <a:spcPct val="80000"/>
              </a:lnSpc>
            </a:pPr>
            <a:r>
              <a:rPr lang="en-US" sz="1200" b="1" spc="200"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rPr>
              <a:t>JOB OFFER</a:t>
            </a:r>
          </a:p>
        </p:txBody>
      </p:sp>
      <p:sp>
        <p:nvSpPr>
          <p:cNvPr id="11" name="Shape 3598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SpPr/>
          <p:nvPr/>
        </p:nvSpPr>
        <p:spPr>
          <a:xfrm>
            <a:off x="5890600" y="1728537"/>
            <a:ext cx="410797" cy="410797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1291" y="17673"/>
                </a:moveTo>
                <a:cubicBezTo>
                  <a:pt x="11562" y="17673"/>
                  <a:pt x="11782" y="17453"/>
                  <a:pt x="11782" y="17182"/>
                </a:cubicBezTo>
                <a:cubicBezTo>
                  <a:pt x="11782" y="16911"/>
                  <a:pt x="11562" y="16691"/>
                  <a:pt x="11291" y="16691"/>
                </a:cubicBezTo>
                <a:cubicBezTo>
                  <a:pt x="11020" y="16691"/>
                  <a:pt x="10800" y="16911"/>
                  <a:pt x="10800" y="17182"/>
                </a:cubicBezTo>
                <a:cubicBezTo>
                  <a:pt x="10800" y="17453"/>
                  <a:pt x="11020" y="17673"/>
                  <a:pt x="11291" y="17673"/>
                </a:cubicBezTo>
                <a:moveTo>
                  <a:pt x="17673" y="18655"/>
                </a:moveTo>
                <a:lnTo>
                  <a:pt x="13745" y="18655"/>
                </a:lnTo>
                <a:lnTo>
                  <a:pt x="13745" y="12273"/>
                </a:lnTo>
                <a:cubicBezTo>
                  <a:pt x="13745" y="12002"/>
                  <a:pt x="13525" y="11782"/>
                  <a:pt x="13255" y="11782"/>
                </a:cubicBezTo>
                <a:lnTo>
                  <a:pt x="8345" y="11782"/>
                </a:lnTo>
                <a:cubicBezTo>
                  <a:pt x="8075" y="11782"/>
                  <a:pt x="7855" y="12002"/>
                  <a:pt x="7855" y="12273"/>
                </a:cubicBezTo>
                <a:lnTo>
                  <a:pt x="7855" y="18655"/>
                </a:lnTo>
                <a:lnTo>
                  <a:pt x="3927" y="18655"/>
                </a:lnTo>
                <a:lnTo>
                  <a:pt x="3927" y="8058"/>
                </a:lnTo>
                <a:lnTo>
                  <a:pt x="10800" y="1185"/>
                </a:lnTo>
                <a:lnTo>
                  <a:pt x="17673" y="8058"/>
                </a:lnTo>
                <a:cubicBezTo>
                  <a:pt x="17673" y="8058"/>
                  <a:pt x="17673" y="18655"/>
                  <a:pt x="17673" y="18655"/>
                </a:cubicBezTo>
                <a:close/>
                <a:moveTo>
                  <a:pt x="17673" y="20618"/>
                </a:moveTo>
                <a:lnTo>
                  <a:pt x="13745" y="20618"/>
                </a:lnTo>
                <a:lnTo>
                  <a:pt x="13745" y="19636"/>
                </a:lnTo>
                <a:lnTo>
                  <a:pt x="17673" y="19636"/>
                </a:lnTo>
                <a:cubicBezTo>
                  <a:pt x="17673" y="19636"/>
                  <a:pt x="17673" y="20618"/>
                  <a:pt x="17673" y="20618"/>
                </a:cubicBezTo>
                <a:close/>
                <a:moveTo>
                  <a:pt x="12764" y="20618"/>
                </a:moveTo>
                <a:lnTo>
                  <a:pt x="8836" y="20618"/>
                </a:lnTo>
                <a:lnTo>
                  <a:pt x="8836" y="12764"/>
                </a:lnTo>
                <a:lnTo>
                  <a:pt x="12764" y="12764"/>
                </a:lnTo>
                <a:cubicBezTo>
                  <a:pt x="12764" y="12764"/>
                  <a:pt x="12764" y="20618"/>
                  <a:pt x="12764" y="20618"/>
                </a:cubicBezTo>
                <a:close/>
                <a:moveTo>
                  <a:pt x="7855" y="20618"/>
                </a:moveTo>
                <a:lnTo>
                  <a:pt x="3927" y="20618"/>
                </a:lnTo>
                <a:lnTo>
                  <a:pt x="3927" y="19636"/>
                </a:lnTo>
                <a:lnTo>
                  <a:pt x="7855" y="19636"/>
                </a:lnTo>
                <a:cubicBezTo>
                  <a:pt x="7855" y="19636"/>
                  <a:pt x="7855" y="20618"/>
                  <a:pt x="7855" y="20618"/>
                </a:cubicBezTo>
                <a:close/>
                <a:moveTo>
                  <a:pt x="14727" y="1964"/>
                </a:moveTo>
                <a:lnTo>
                  <a:pt x="16691" y="1964"/>
                </a:lnTo>
                <a:lnTo>
                  <a:pt x="16691" y="5688"/>
                </a:lnTo>
                <a:lnTo>
                  <a:pt x="14727" y="3724"/>
                </a:lnTo>
                <a:cubicBezTo>
                  <a:pt x="14727" y="3724"/>
                  <a:pt x="14727" y="1964"/>
                  <a:pt x="14727" y="1964"/>
                </a:cubicBezTo>
                <a:close/>
                <a:moveTo>
                  <a:pt x="21456" y="10453"/>
                </a:moveTo>
                <a:lnTo>
                  <a:pt x="17673" y="6670"/>
                </a:lnTo>
                <a:lnTo>
                  <a:pt x="17673" y="1473"/>
                </a:lnTo>
                <a:cubicBezTo>
                  <a:pt x="17673" y="1202"/>
                  <a:pt x="17453" y="982"/>
                  <a:pt x="17182" y="982"/>
                </a:cubicBezTo>
                <a:lnTo>
                  <a:pt x="14236" y="982"/>
                </a:lnTo>
                <a:cubicBezTo>
                  <a:pt x="13966" y="982"/>
                  <a:pt x="13745" y="1202"/>
                  <a:pt x="13745" y="1473"/>
                </a:cubicBezTo>
                <a:lnTo>
                  <a:pt x="13745" y="2742"/>
                </a:lnTo>
                <a:lnTo>
                  <a:pt x="11147" y="144"/>
                </a:lnTo>
                <a:cubicBezTo>
                  <a:pt x="11058" y="55"/>
                  <a:pt x="10935" y="0"/>
                  <a:pt x="10800" y="0"/>
                </a:cubicBezTo>
                <a:cubicBezTo>
                  <a:pt x="10665" y="0"/>
                  <a:pt x="10542" y="55"/>
                  <a:pt x="10453" y="144"/>
                </a:cubicBezTo>
                <a:lnTo>
                  <a:pt x="144" y="10453"/>
                </a:lnTo>
                <a:cubicBezTo>
                  <a:pt x="55" y="10542"/>
                  <a:pt x="0" y="10665"/>
                  <a:pt x="0" y="10800"/>
                </a:cubicBezTo>
                <a:cubicBezTo>
                  <a:pt x="0" y="11072"/>
                  <a:pt x="220" y="11291"/>
                  <a:pt x="491" y="11291"/>
                </a:cubicBezTo>
                <a:cubicBezTo>
                  <a:pt x="626" y="11291"/>
                  <a:pt x="749" y="11236"/>
                  <a:pt x="838" y="11147"/>
                </a:cubicBezTo>
                <a:lnTo>
                  <a:pt x="2945" y="9040"/>
                </a:lnTo>
                <a:lnTo>
                  <a:pt x="2945" y="21109"/>
                </a:lnTo>
                <a:cubicBezTo>
                  <a:pt x="2945" y="21381"/>
                  <a:pt x="3166" y="21600"/>
                  <a:pt x="3436" y="21600"/>
                </a:cubicBezTo>
                <a:lnTo>
                  <a:pt x="18164" y="21600"/>
                </a:lnTo>
                <a:cubicBezTo>
                  <a:pt x="18434" y="21600"/>
                  <a:pt x="18655" y="21381"/>
                  <a:pt x="18655" y="21109"/>
                </a:cubicBezTo>
                <a:lnTo>
                  <a:pt x="18655" y="9040"/>
                </a:lnTo>
                <a:lnTo>
                  <a:pt x="20762" y="11147"/>
                </a:lnTo>
                <a:cubicBezTo>
                  <a:pt x="20851" y="11236"/>
                  <a:pt x="20974" y="11291"/>
                  <a:pt x="21109" y="11291"/>
                </a:cubicBezTo>
                <a:cubicBezTo>
                  <a:pt x="21380" y="11291"/>
                  <a:pt x="21600" y="11072"/>
                  <a:pt x="21600" y="10800"/>
                </a:cubicBezTo>
                <a:cubicBezTo>
                  <a:pt x="21600" y="10665"/>
                  <a:pt x="21545" y="10542"/>
                  <a:pt x="21456" y="10453"/>
                </a:cubicBezTo>
              </a:path>
            </a:pathLst>
          </a:custGeom>
          <a:solidFill>
            <a:schemeClr val="accent1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endParaRPr>
              <a:latin typeface="Arial" panose="020B0604020202020204" pitchFamily="34" charset="0"/>
              <a:ea typeface="微软雅黑" panose="020B0503020204020204" pitchFamily="34" charset="-122"/>
              <a:cs typeface="思源黑体 CN Regular" panose="020B0500000000000000" charset="-122"/>
              <a:sym typeface="Arial" panose="020B0604020202020204" pitchFamily="34" charset="0"/>
            </a:endParaRPr>
          </a:p>
        </p:txBody>
      </p:sp>
      <p:sp>
        <p:nvSpPr>
          <p:cNvPr id="12" name="Shape 3690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SpPr/>
          <p:nvPr/>
        </p:nvSpPr>
        <p:spPr>
          <a:xfrm>
            <a:off x="5890605" y="3290822"/>
            <a:ext cx="410797" cy="33614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4457" y="20400"/>
                </a:moveTo>
                <a:cubicBezTo>
                  <a:pt x="4686" y="18710"/>
                  <a:pt x="5897" y="18036"/>
                  <a:pt x="7134" y="17493"/>
                </a:cubicBezTo>
                <a:lnTo>
                  <a:pt x="7173" y="17477"/>
                </a:lnTo>
                <a:cubicBezTo>
                  <a:pt x="8055" y="17190"/>
                  <a:pt x="9626" y="16039"/>
                  <a:pt x="9626" y="13569"/>
                </a:cubicBezTo>
                <a:cubicBezTo>
                  <a:pt x="9626" y="11474"/>
                  <a:pt x="8932" y="10452"/>
                  <a:pt x="8558" y="9902"/>
                </a:cubicBezTo>
                <a:cubicBezTo>
                  <a:pt x="8484" y="9791"/>
                  <a:pt x="8394" y="9649"/>
                  <a:pt x="8414" y="9680"/>
                </a:cubicBezTo>
                <a:cubicBezTo>
                  <a:pt x="8384" y="9599"/>
                  <a:pt x="8237" y="9129"/>
                  <a:pt x="8449" y="8035"/>
                </a:cubicBezTo>
                <a:cubicBezTo>
                  <a:pt x="8549" y="7523"/>
                  <a:pt x="8380" y="7241"/>
                  <a:pt x="8380" y="7241"/>
                </a:cubicBezTo>
                <a:cubicBezTo>
                  <a:pt x="8112" y="6504"/>
                  <a:pt x="7614" y="5133"/>
                  <a:pt x="7988" y="4025"/>
                </a:cubicBezTo>
                <a:cubicBezTo>
                  <a:pt x="8490" y="2492"/>
                  <a:pt x="8935" y="2190"/>
                  <a:pt x="9741" y="1747"/>
                </a:cubicBezTo>
                <a:cubicBezTo>
                  <a:pt x="9788" y="1721"/>
                  <a:pt x="9834" y="1692"/>
                  <a:pt x="9877" y="1657"/>
                </a:cubicBezTo>
                <a:cubicBezTo>
                  <a:pt x="10029" y="1535"/>
                  <a:pt x="10674" y="1200"/>
                  <a:pt x="11403" y="1200"/>
                </a:cubicBezTo>
                <a:cubicBezTo>
                  <a:pt x="11768" y="1200"/>
                  <a:pt x="12075" y="1285"/>
                  <a:pt x="12318" y="1454"/>
                </a:cubicBezTo>
                <a:cubicBezTo>
                  <a:pt x="12610" y="1656"/>
                  <a:pt x="12890" y="2039"/>
                  <a:pt x="13313" y="3272"/>
                </a:cubicBezTo>
                <a:cubicBezTo>
                  <a:pt x="14101" y="5469"/>
                  <a:pt x="13602" y="6698"/>
                  <a:pt x="13350" y="7124"/>
                </a:cubicBezTo>
                <a:cubicBezTo>
                  <a:pt x="13183" y="7407"/>
                  <a:pt x="13126" y="7764"/>
                  <a:pt x="13191" y="8103"/>
                </a:cubicBezTo>
                <a:cubicBezTo>
                  <a:pt x="13386" y="9109"/>
                  <a:pt x="13260" y="9535"/>
                  <a:pt x="13227" y="9619"/>
                </a:cubicBezTo>
                <a:cubicBezTo>
                  <a:pt x="13219" y="9631"/>
                  <a:pt x="13101" y="9813"/>
                  <a:pt x="13041" y="9902"/>
                </a:cubicBezTo>
                <a:cubicBezTo>
                  <a:pt x="12668" y="10452"/>
                  <a:pt x="11973" y="11474"/>
                  <a:pt x="11973" y="13569"/>
                </a:cubicBezTo>
                <a:cubicBezTo>
                  <a:pt x="11973" y="16039"/>
                  <a:pt x="13545" y="17190"/>
                  <a:pt x="14427" y="17477"/>
                </a:cubicBezTo>
                <a:lnTo>
                  <a:pt x="14466" y="17493"/>
                </a:lnTo>
                <a:cubicBezTo>
                  <a:pt x="15703" y="18036"/>
                  <a:pt x="16914" y="18710"/>
                  <a:pt x="17143" y="20400"/>
                </a:cubicBezTo>
                <a:cubicBezTo>
                  <a:pt x="17143" y="20400"/>
                  <a:pt x="4457" y="20400"/>
                  <a:pt x="4457" y="20400"/>
                </a:cubicBezTo>
                <a:close/>
                <a:moveTo>
                  <a:pt x="14715" y="16328"/>
                </a:moveTo>
                <a:cubicBezTo>
                  <a:pt x="14715" y="16328"/>
                  <a:pt x="12955" y="15815"/>
                  <a:pt x="12955" y="13569"/>
                </a:cubicBezTo>
                <a:cubicBezTo>
                  <a:pt x="12955" y="11596"/>
                  <a:pt x="13678" y="10901"/>
                  <a:pt x="13957" y="10422"/>
                </a:cubicBezTo>
                <a:cubicBezTo>
                  <a:pt x="13957" y="10422"/>
                  <a:pt x="14531" y="9808"/>
                  <a:pt x="14146" y="7826"/>
                </a:cubicBezTo>
                <a:cubicBezTo>
                  <a:pt x="14787" y="6740"/>
                  <a:pt x="14995" y="4972"/>
                  <a:pt x="14211" y="2789"/>
                </a:cubicBezTo>
                <a:cubicBezTo>
                  <a:pt x="13774" y="1514"/>
                  <a:pt x="13389" y="814"/>
                  <a:pt x="12801" y="409"/>
                </a:cubicBezTo>
                <a:cubicBezTo>
                  <a:pt x="12370" y="110"/>
                  <a:pt x="11880" y="0"/>
                  <a:pt x="11403" y="0"/>
                </a:cubicBezTo>
                <a:cubicBezTo>
                  <a:pt x="10516" y="0"/>
                  <a:pt x="9675" y="384"/>
                  <a:pt x="9339" y="653"/>
                </a:cubicBezTo>
                <a:cubicBezTo>
                  <a:pt x="8357" y="1192"/>
                  <a:pt x="7697" y="1688"/>
                  <a:pt x="7077" y="3580"/>
                </a:cubicBezTo>
                <a:cubicBezTo>
                  <a:pt x="6540" y="5169"/>
                  <a:pt x="7179" y="6892"/>
                  <a:pt x="7494" y="7758"/>
                </a:cubicBezTo>
                <a:cubicBezTo>
                  <a:pt x="7110" y="9740"/>
                  <a:pt x="7642" y="10422"/>
                  <a:pt x="7642" y="10422"/>
                </a:cubicBezTo>
                <a:cubicBezTo>
                  <a:pt x="7922" y="10901"/>
                  <a:pt x="8644" y="11596"/>
                  <a:pt x="8644" y="13569"/>
                </a:cubicBezTo>
                <a:cubicBezTo>
                  <a:pt x="8644" y="15815"/>
                  <a:pt x="6885" y="16328"/>
                  <a:pt x="6885" y="16328"/>
                </a:cubicBezTo>
                <a:cubicBezTo>
                  <a:pt x="5768" y="16819"/>
                  <a:pt x="3436" y="17760"/>
                  <a:pt x="3436" y="21000"/>
                </a:cubicBezTo>
                <a:cubicBezTo>
                  <a:pt x="3436" y="21000"/>
                  <a:pt x="3436" y="21600"/>
                  <a:pt x="3927" y="21600"/>
                </a:cubicBezTo>
                <a:lnTo>
                  <a:pt x="17673" y="21600"/>
                </a:lnTo>
                <a:cubicBezTo>
                  <a:pt x="18164" y="21600"/>
                  <a:pt x="18164" y="21000"/>
                  <a:pt x="18164" y="21000"/>
                </a:cubicBezTo>
                <a:cubicBezTo>
                  <a:pt x="18164" y="17760"/>
                  <a:pt x="15832" y="16819"/>
                  <a:pt x="14715" y="16328"/>
                </a:cubicBezTo>
                <a:moveTo>
                  <a:pt x="19516" y="15007"/>
                </a:moveTo>
                <a:cubicBezTo>
                  <a:pt x="19516" y="15007"/>
                  <a:pt x="18416" y="14701"/>
                  <a:pt x="18416" y="12954"/>
                </a:cubicBezTo>
                <a:cubicBezTo>
                  <a:pt x="18416" y="11419"/>
                  <a:pt x="18794" y="10879"/>
                  <a:pt x="19017" y="10506"/>
                </a:cubicBezTo>
                <a:cubicBezTo>
                  <a:pt x="19017" y="10506"/>
                  <a:pt x="19443" y="9975"/>
                  <a:pt x="19136" y="8434"/>
                </a:cubicBezTo>
                <a:cubicBezTo>
                  <a:pt x="19388" y="7760"/>
                  <a:pt x="19900" y="6420"/>
                  <a:pt x="19470" y="5184"/>
                </a:cubicBezTo>
                <a:cubicBezTo>
                  <a:pt x="18974" y="3713"/>
                  <a:pt x="18645" y="3327"/>
                  <a:pt x="17860" y="2908"/>
                </a:cubicBezTo>
                <a:cubicBezTo>
                  <a:pt x="17591" y="2699"/>
                  <a:pt x="16918" y="2400"/>
                  <a:pt x="16208" y="2400"/>
                </a:cubicBezTo>
                <a:cubicBezTo>
                  <a:pt x="15873" y="2400"/>
                  <a:pt x="15531" y="2474"/>
                  <a:pt x="15218" y="2647"/>
                </a:cubicBezTo>
                <a:cubicBezTo>
                  <a:pt x="15343" y="3035"/>
                  <a:pt x="15449" y="3420"/>
                  <a:pt x="15525" y="3799"/>
                </a:cubicBezTo>
                <a:cubicBezTo>
                  <a:pt x="15537" y="3791"/>
                  <a:pt x="15550" y="3779"/>
                  <a:pt x="15563" y="3770"/>
                </a:cubicBezTo>
                <a:cubicBezTo>
                  <a:pt x="15730" y="3657"/>
                  <a:pt x="15948" y="3600"/>
                  <a:pt x="16208" y="3600"/>
                </a:cubicBezTo>
                <a:cubicBezTo>
                  <a:pt x="16716" y="3600"/>
                  <a:pt x="17211" y="3826"/>
                  <a:pt x="17332" y="3919"/>
                </a:cubicBezTo>
                <a:cubicBezTo>
                  <a:pt x="17375" y="3953"/>
                  <a:pt x="17421" y="3983"/>
                  <a:pt x="17467" y="4007"/>
                </a:cubicBezTo>
                <a:cubicBezTo>
                  <a:pt x="17950" y="4265"/>
                  <a:pt x="18131" y="4361"/>
                  <a:pt x="18562" y="5641"/>
                </a:cubicBezTo>
                <a:cubicBezTo>
                  <a:pt x="18822" y="6387"/>
                  <a:pt x="18452" y="7378"/>
                  <a:pt x="18253" y="7910"/>
                </a:cubicBezTo>
                <a:cubicBezTo>
                  <a:pt x="18161" y="8155"/>
                  <a:pt x="18130" y="8457"/>
                  <a:pt x="18182" y="8719"/>
                </a:cubicBezTo>
                <a:cubicBezTo>
                  <a:pt x="18316" y="9392"/>
                  <a:pt x="18254" y="9707"/>
                  <a:pt x="18232" y="9784"/>
                </a:cubicBezTo>
                <a:cubicBezTo>
                  <a:pt x="18230" y="9789"/>
                  <a:pt x="18227" y="9793"/>
                  <a:pt x="18224" y="9798"/>
                </a:cubicBezTo>
                <a:lnTo>
                  <a:pt x="18191" y="9853"/>
                </a:lnTo>
                <a:cubicBezTo>
                  <a:pt x="17926" y="10290"/>
                  <a:pt x="17434" y="11106"/>
                  <a:pt x="17434" y="12954"/>
                </a:cubicBezTo>
                <a:cubicBezTo>
                  <a:pt x="17434" y="15019"/>
                  <a:pt x="18570" y="15932"/>
                  <a:pt x="19229" y="16155"/>
                </a:cubicBezTo>
                <a:cubicBezTo>
                  <a:pt x="19856" y="16429"/>
                  <a:pt x="20435" y="16859"/>
                  <a:pt x="20582" y="17999"/>
                </a:cubicBezTo>
                <a:lnTo>
                  <a:pt x="18459" y="18000"/>
                </a:lnTo>
                <a:cubicBezTo>
                  <a:pt x="18647" y="18353"/>
                  <a:pt x="18802" y="18755"/>
                  <a:pt x="18920" y="19200"/>
                </a:cubicBezTo>
                <a:lnTo>
                  <a:pt x="21109" y="19199"/>
                </a:lnTo>
                <a:cubicBezTo>
                  <a:pt x="21600" y="19199"/>
                  <a:pt x="21600" y="18599"/>
                  <a:pt x="21600" y="18599"/>
                </a:cubicBezTo>
                <a:cubicBezTo>
                  <a:pt x="21600" y="16199"/>
                  <a:pt x="20410" y="15387"/>
                  <a:pt x="19516" y="15007"/>
                </a:cubicBezTo>
                <a:moveTo>
                  <a:pt x="2371" y="16155"/>
                </a:moveTo>
                <a:cubicBezTo>
                  <a:pt x="3030" y="15932"/>
                  <a:pt x="4166" y="15019"/>
                  <a:pt x="4166" y="12954"/>
                </a:cubicBezTo>
                <a:cubicBezTo>
                  <a:pt x="4166" y="11106"/>
                  <a:pt x="3673" y="10290"/>
                  <a:pt x="3409" y="9853"/>
                </a:cubicBezTo>
                <a:lnTo>
                  <a:pt x="3376" y="9798"/>
                </a:lnTo>
                <a:cubicBezTo>
                  <a:pt x="3373" y="9793"/>
                  <a:pt x="3370" y="9789"/>
                  <a:pt x="3367" y="9784"/>
                </a:cubicBezTo>
                <a:cubicBezTo>
                  <a:pt x="3346" y="9707"/>
                  <a:pt x="3283" y="9392"/>
                  <a:pt x="3418" y="8719"/>
                </a:cubicBezTo>
                <a:cubicBezTo>
                  <a:pt x="3470" y="8457"/>
                  <a:pt x="3439" y="8155"/>
                  <a:pt x="3347" y="7910"/>
                </a:cubicBezTo>
                <a:cubicBezTo>
                  <a:pt x="3148" y="7378"/>
                  <a:pt x="2778" y="6387"/>
                  <a:pt x="3038" y="5641"/>
                </a:cubicBezTo>
                <a:cubicBezTo>
                  <a:pt x="3469" y="4361"/>
                  <a:pt x="3649" y="4265"/>
                  <a:pt x="4133" y="4007"/>
                </a:cubicBezTo>
                <a:cubicBezTo>
                  <a:pt x="4180" y="3983"/>
                  <a:pt x="4225" y="3953"/>
                  <a:pt x="4268" y="3919"/>
                </a:cubicBezTo>
                <a:cubicBezTo>
                  <a:pt x="4389" y="3826"/>
                  <a:pt x="4884" y="3600"/>
                  <a:pt x="5392" y="3600"/>
                </a:cubicBezTo>
                <a:cubicBezTo>
                  <a:pt x="5636" y="3600"/>
                  <a:pt x="5839" y="3655"/>
                  <a:pt x="6002" y="3754"/>
                </a:cubicBezTo>
                <a:cubicBezTo>
                  <a:pt x="6045" y="3548"/>
                  <a:pt x="6096" y="3341"/>
                  <a:pt x="6165" y="3133"/>
                </a:cubicBezTo>
                <a:cubicBezTo>
                  <a:pt x="6225" y="2950"/>
                  <a:pt x="6289" y="2793"/>
                  <a:pt x="6351" y="2631"/>
                </a:cubicBezTo>
                <a:cubicBezTo>
                  <a:pt x="6046" y="2469"/>
                  <a:pt x="5716" y="2400"/>
                  <a:pt x="5392" y="2400"/>
                </a:cubicBezTo>
                <a:cubicBezTo>
                  <a:pt x="4682" y="2400"/>
                  <a:pt x="4009" y="2699"/>
                  <a:pt x="3740" y="2908"/>
                </a:cubicBezTo>
                <a:cubicBezTo>
                  <a:pt x="2955" y="3327"/>
                  <a:pt x="2625" y="3713"/>
                  <a:pt x="2130" y="5184"/>
                </a:cubicBezTo>
                <a:cubicBezTo>
                  <a:pt x="1700" y="6420"/>
                  <a:pt x="2212" y="7760"/>
                  <a:pt x="2464" y="8434"/>
                </a:cubicBezTo>
                <a:cubicBezTo>
                  <a:pt x="2156" y="9975"/>
                  <a:pt x="2583" y="10506"/>
                  <a:pt x="2583" y="10506"/>
                </a:cubicBezTo>
                <a:cubicBezTo>
                  <a:pt x="2806" y="10879"/>
                  <a:pt x="3185" y="11419"/>
                  <a:pt x="3185" y="12954"/>
                </a:cubicBezTo>
                <a:cubicBezTo>
                  <a:pt x="3185" y="14701"/>
                  <a:pt x="2084" y="15007"/>
                  <a:pt x="2084" y="15007"/>
                </a:cubicBezTo>
                <a:cubicBezTo>
                  <a:pt x="1191" y="15387"/>
                  <a:pt x="0" y="16199"/>
                  <a:pt x="0" y="18599"/>
                </a:cubicBezTo>
                <a:cubicBezTo>
                  <a:pt x="0" y="18599"/>
                  <a:pt x="0" y="19199"/>
                  <a:pt x="491" y="19199"/>
                </a:cubicBezTo>
                <a:lnTo>
                  <a:pt x="2680" y="19200"/>
                </a:lnTo>
                <a:cubicBezTo>
                  <a:pt x="2798" y="18755"/>
                  <a:pt x="2952" y="18353"/>
                  <a:pt x="3141" y="18000"/>
                </a:cubicBezTo>
                <a:lnTo>
                  <a:pt x="1018" y="17999"/>
                </a:lnTo>
                <a:cubicBezTo>
                  <a:pt x="1165" y="16859"/>
                  <a:pt x="1744" y="16429"/>
                  <a:pt x="2371" y="16155"/>
                </a:cubicBezTo>
              </a:path>
            </a:pathLst>
          </a:custGeom>
          <a:solidFill>
            <a:schemeClr val="accent1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endParaRPr>
              <a:solidFill>
                <a:prstClr val="black"/>
              </a:solidFill>
              <a:latin typeface="Arial" panose="020B0604020202020204" pitchFamily="34" charset="0"/>
              <a:ea typeface="微软雅黑" panose="020B0503020204020204" pitchFamily="34" charset="-122"/>
              <a:cs typeface="思源黑体 CN Regular" panose="020B0500000000000000" charset="-122"/>
              <a:sym typeface="Arial" panose="020B0604020202020204" pitchFamily="34" charset="0"/>
            </a:endParaRPr>
          </a:p>
        </p:txBody>
      </p:sp>
      <p:sp>
        <p:nvSpPr>
          <p:cNvPr id="13" name="Shape 3660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SpPr/>
          <p:nvPr/>
        </p:nvSpPr>
        <p:spPr>
          <a:xfrm>
            <a:off x="7690162" y="3253494"/>
            <a:ext cx="410797" cy="410797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2281" y="19846"/>
                </a:moveTo>
                <a:lnTo>
                  <a:pt x="9413" y="12882"/>
                </a:lnTo>
                <a:lnTo>
                  <a:pt x="19655" y="2641"/>
                </a:lnTo>
                <a:cubicBezTo>
                  <a:pt x="19655" y="2641"/>
                  <a:pt x="12281" y="19846"/>
                  <a:pt x="12281" y="19846"/>
                </a:cubicBezTo>
                <a:close/>
                <a:moveTo>
                  <a:pt x="1755" y="9320"/>
                </a:moveTo>
                <a:lnTo>
                  <a:pt x="18960" y="1945"/>
                </a:lnTo>
                <a:lnTo>
                  <a:pt x="8719" y="12187"/>
                </a:lnTo>
                <a:cubicBezTo>
                  <a:pt x="8719" y="12187"/>
                  <a:pt x="1755" y="9320"/>
                  <a:pt x="1755" y="9320"/>
                </a:cubicBezTo>
                <a:close/>
                <a:moveTo>
                  <a:pt x="21600" y="491"/>
                </a:moveTo>
                <a:cubicBezTo>
                  <a:pt x="21600" y="221"/>
                  <a:pt x="21380" y="0"/>
                  <a:pt x="21109" y="0"/>
                </a:cubicBezTo>
                <a:cubicBezTo>
                  <a:pt x="21034" y="0"/>
                  <a:pt x="20964" y="20"/>
                  <a:pt x="20900" y="52"/>
                </a:cubicBezTo>
                <a:lnTo>
                  <a:pt x="20898" y="48"/>
                </a:lnTo>
                <a:lnTo>
                  <a:pt x="302" y="8875"/>
                </a:lnTo>
                <a:cubicBezTo>
                  <a:pt x="301" y="8876"/>
                  <a:pt x="299" y="8876"/>
                  <a:pt x="297" y="8877"/>
                </a:cubicBezTo>
                <a:lnTo>
                  <a:pt x="280" y="8884"/>
                </a:lnTo>
                <a:lnTo>
                  <a:pt x="281" y="8887"/>
                </a:lnTo>
                <a:cubicBezTo>
                  <a:pt x="116" y="8967"/>
                  <a:pt x="0" y="9133"/>
                  <a:pt x="0" y="9327"/>
                </a:cubicBezTo>
                <a:cubicBezTo>
                  <a:pt x="0" y="9551"/>
                  <a:pt x="151" y="9732"/>
                  <a:pt x="355" y="9791"/>
                </a:cubicBezTo>
                <a:lnTo>
                  <a:pt x="353" y="9799"/>
                </a:lnTo>
                <a:lnTo>
                  <a:pt x="8462" y="13138"/>
                </a:lnTo>
                <a:lnTo>
                  <a:pt x="11801" y="21248"/>
                </a:lnTo>
                <a:lnTo>
                  <a:pt x="11809" y="21245"/>
                </a:lnTo>
                <a:cubicBezTo>
                  <a:pt x="11869" y="21449"/>
                  <a:pt x="12050" y="21600"/>
                  <a:pt x="12273" y="21600"/>
                </a:cubicBezTo>
                <a:cubicBezTo>
                  <a:pt x="12468" y="21600"/>
                  <a:pt x="12634" y="21484"/>
                  <a:pt x="12713" y="21319"/>
                </a:cubicBezTo>
                <a:lnTo>
                  <a:pt x="12716" y="21320"/>
                </a:lnTo>
                <a:lnTo>
                  <a:pt x="12723" y="21303"/>
                </a:lnTo>
                <a:cubicBezTo>
                  <a:pt x="12724" y="21301"/>
                  <a:pt x="12725" y="21300"/>
                  <a:pt x="12725" y="21298"/>
                </a:cubicBezTo>
                <a:lnTo>
                  <a:pt x="21553" y="702"/>
                </a:lnTo>
                <a:lnTo>
                  <a:pt x="21547" y="700"/>
                </a:lnTo>
                <a:cubicBezTo>
                  <a:pt x="21578" y="637"/>
                  <a:pt x="21600" y="567"/>
                  <a:pt x="21600" y="491"/>
                </a:cubicBezTo>
                <a:moveTo>
                  <a:pt x="7855" y="16200"/>
                </a:moveTo>
                <a:cubicBezTo>
                  <a:pt x="7719" y="16200"/>
                  <a:pt x="7596" y="16256"/>
                  <a:pt x="7507" y="16344"/>
                </a:cubicBezTo>
                <a:lnTo>
                  <a:pt x="6035" y="17817"/>
                </a:lnTo>
                <a:cubicBezTo>
                  <a:pt x="5946" y="17906"/>
                  <a:pt x="5891" y="18028"/>
                  <a:pt x="5891" y="18164"/>
                </a:cubicBezTo>
                <a:cubicBezTo>
                  <a:pt x="5891" y="18435"/>
                  <a:pt x="6111" y="18655"/>
                  <a:pt x="6382" y="18655"/>
                </a:cubicBezTo>
                <a:cubicBezTo>
                  <a:pt x="6517" y="18655"/>
                  <a:pt x="6640" y="18600"/>
                  <a:pt x="6729" y="18511"/>
                </a:cubicBezTo>
                <a:lnTo>
                  <a:pt x="8202" y="17038"/>
                </a:lnTo>
                <a:cubicBezTo>
                  <a:pt x="8291" y="16950"/>
                  <a:pt x="8345" y="16827"/>
                  <a:pt x="8345" y="16691"/>
                </a:cubicBezTo>
                <a:cubicBezTo>
                  <a:pt x="8345" y="16421"/>
                  <a:pt x="8126" y="16200"/>
                  <a:pt x="7855" y="16200"/>
                </a:cubicBezTo>
                <a:moveTo>
                  <a:pt x="7855" y="14237"/>
                </a:moveTo>
                <a:cubicBezTo>
                  <a:pt x="7855" y="13966"/>
                  <a:pt x="7635" y="13745"/>
                  <a:pt x="7364" y="13745"/>
                </a:cubicBezTo>
                <a:cubicBezTo>
                  <a:pt x="7228" y="13745"/>
                  <a:pt x="7105" y="13801"/>
                  <a:pt x="7017" y="13889"/>
                </a:cubicBezTo>
                <a:lnTo>
                  <a:pt x="2107" y="18798"/>
                </a:lnTo>
                <a:cubicBezTo>
                  <a:pt x="2019" y="18888"/>
                  <a:pt x="1964" y="19010"/>
                  <a:pt x="1964" y="19145"/>
                </a:cubicBezTo>
                <a:cubicBezTo>
                  <a:pt x="1964" y="19417"/>
                  <a:pt x="2184" y="19636"/>
                  <a:pt x="2455" y="19636"/>
                </a:cubicBezTo>
                <a:cubicBezTo>
                  <a:pt x="2590" y="19636"/>
                  <a:pt x="2713" y="19582"/>
                  <a:pt x="2802" y="19493"/>
                </a:cubicBezTo>
                <a:lnTo>
                  <a:pt x="7711" y="14583"/>
                </a:lnTo>
                <a:cubicBezTo>
                  <a:pt x="7800" y="14495"/>
                  <a:pt x="7855" y="14373"/>
                  <a:pt x="7855" y="14237"/>
                </a:cubicBezTo>
                <a:moveTo>
                  <a:pt x="4765" y="14583"/>
                </a:moveTo>
                <a:lnTo>
                  <a:pt x="5256" y="14093"/>
                </a:lnTo>
                <a:cubicBezTo>
                  <a:pt x="5345" y="14004"/>
                  <a:pt x="5400" y="13882"/>
                  <a:pt x="5400" y="13745"/>
                </a:cubicBezTo>
                <a:cubicBezTo>
                  <a:pt x="5400" y="13475"/>
                  <a:pt x="5180" y="13255"/>
                  <a:pt x="4909" y="13255"/>
                </a:cubicBezTo>
                <a:cubicBezTo>
                  <a:pt x="4774" y="13255"/>
                  <a:pt x="4651" y="13310"/>
                  <a:pt x="4562" y="13398"/>
                </a:cubicBezTo>
                <a:lnTo>
                  <a:pt x="4071" y="13889"/>
                </a:lnTo>
                <a:cubicBezTo>
                  <a:pt x="3982" y="13978"/>
                  <a:pt x="3927" y="14101"/>
                  <a:pt x="3927" y="14237"/>
                </a:cubicBezTo>
                <a:cubicBezTo>
                  <a:pt x="3927" y="14508"/>
                  <a:pt x="4147" y="14727"/>
                  <a:pt x="4418" y="14727"/>
                </a:cubicBezTo>
                <a:cubicBezTo>
                  <a:pt x="4554" y="14727"/>
                  <a:pt x="4676" y="14673"/>
                  <a:pt x="4765" y="14583"/>
                </a:cubicBezTo>
              </a:path>
            </a:pathLst>
          </a:custGeom>
          <a:solidFill>
            <a:schemeClr val="accent1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endParaRPr>
              <a:solidFill>
                <a:prstClr val="black"/>
              </a:solidFill>
              <a:latin typeface="Arial" panose="020B0604020202020204" pitchFamily="34" charset="0"/>
              <a:ea typeface="微软雅黑" panose="020B0503020204020204" pitchFamily="34" charset="-122"/>
              <a:cs typeface="思源黑体 CN Regular" panose="020B0500000000000000" charset="-122"/>
              <a:sym typeface="Arial" panose="020B0604020202020204" pitchFamily="34" charset="0"/>
            </a:endParaRPr>
          </a:p>
        </p:txBody>
      </p:sp>
      <p:sp>
        <p:nvSpPr>
          <p:cNvPr id="14" name="Shape 3694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SpPr/>
          <p:nvPr/>
        </p:nvSpPr>
        <p:spPr>
          <a:xfrm>
            <a:off x="2291480" y="3334380"/>
            <a:ext cx="410797" cy="261417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20057"/>
                </a:moveTo>
                <a:cubicBezTo>
                  <a:pt x="5378" y="20057"/>
                  <a:pt x="982" y="13446"/>
                  <a:pt x="982" y="10800"/>
                </a:cubicBezTo>
                <a:cubicBezTo>
                  <a:pt x="982" y="8156"/>
                  <a:pt x="5378" y="1543"/>
                  <a:pt x="10800" y="1543"/>
                </a:cubicBezTo>
                <a:cubicBezTo>
                  <a:pt x="16223" y="1543"/>
                  <a:pt x="20618" y="8156"/>
                  <a:pt x="20618" y="10800"/>
                </a:cubicBezTo>
                <a:cubicBezTo>
                  <a:pt x="20618" y="13446"/>
                  <a:pt x="16223" y="20057"/>
                  <a:pt x="10800" y="20057"/>
                </a:cubicBezTo>
                <a:moveTo>
                  <a:pt x="10800" y="0"/>
                </a:moveTo>
                <a:cubicBezTo>
                  <a:pt x="4835" y="0"/>
                  <a:pt x="0" y="7714"/>
                  <a:pt x="0" y="10800"/>
                </a:cubicBezTo>
                <a:cubicBezTo>
                  <a:pt x="0" y="13886"/>
                  <a:pt x="4835" y="21600"/>
                  <a:pt x="10800" y="21600"/>
                </a:cubicBezTo>
                <a:cubicBezTo>
                  <a:pt x="16765" y="21600"/>
                  <a:pt x="21600" y="13886"/>
                  <a:pt x="21600" y="10800"/>
                </a:cubicBezTo>
                <a:cubicBezTo>
                  <a:pt x="21600" y="7714"/>
                  <a:pt x="16765" y="0"/>
                  <a:pt x="10800" y="0"/>
                </a:cubicBezTo>
                <a:moveTo>
                  <a:pt x="10800" y="16971"/>
                </a:moveTo>
                <a:cubicBezTo>
                  <a:pt x="8631" y="16971"/>
                  <a:pt x="6873" y="14210"/>
                  <a:pt x="6873" y="10800"/>
                </a:cubicBezTo>
                <a:cubicBezTo>
                  <a:pt x="6873" y="7392"/>
                  <a:pt x="8631" y="4629"/>
                  <a:pt x="10800" y="4629"/>
                </a:cubicBezTo>
                <a:cubicBezTo>
                  <a:pt x="12969" y="4629"/>
                  <a:pt x="14727" y="7392"/>
                  <a:pt x="14727" y="10800"/>
                </a:cubicBezTo>
                <a:cubicBezTo>
                  <a:pt x="14727" y="14210"/>
                  <a:pt x="12969" y="16971"/>
                  <a:pt x="10800" y="16971"/>
                </a:cubicBezTo>
                <a:moveTo>
                  <a:pt x="10800" y="3087"/>
                </a:moveTo>
                <a:cubicBezTo>
                  <a:pt x="8088" y="3087"/>
                  <a:pt x="5891" y="6541"/>
                  <a:pt x="5891" y="10800"/>
                </a:cubicBezTo>
                <a:cubicBezTo>
                  <a:pt x="5891" y="15061"/>
                  <a:pt x="8088" y="18514"/>
                  <a:pt x="10800" y="18514"/>
                </a:cubicBezTo>
                <a:cubicBezTo>
                  <a:pt x="13512" y="18514"/>
                  <a:pt x="15709" y="15061"/>
                  <a:pt x="15709" y="10800"/>
                </a:cubicBezTo>
                <a:cubicBezTo>
                  <a:pt x="15709" y="6541"/>
                  <a:pt x="13512" y="3087"/>
                  <a:pt x="10800" y="3087"/>
                </a:cubicBezTo>
                <a:moveTo>
                  <a:pt x="10800" y="8486"/>
                </a:moveTo>
                <a:cubicBezTo>
                  <a:pt x="9987" y="8486"/>
                  <a:pt x="9327" y="9522"/>
                  <a:pt x="9327" y="10800"/>
                </a:cubicBezTo>
                <a:cubicBezTo>
                  <a:pt x="9327" y="12079"/>
                  <a:pt x="9987" y="13114"/>
                  <a:pt x="10800" y="13114"/>
                </a:cubicBezTo>
                <a:cubicBezTo>
                  <a:pt x="11613" y="13114"/>
                  <a:pt x="12273" y="12079"/>
                  <a:pt x="12273" y="10800"/>
                </a:cubicBezTo>
                <a:cubicBezTo>
                  <a:pt x="12273" y="9522"/>
                  <a:pt x="11613" y="8486"/>
                  <a:pt x="10800" y="8486"/>
                </a:cubicBezTo>
              </a:path>
            </a:pathLst>
          </a:custGeom>
          <a:solidFill>
            <a:schemeClr val="accent1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endParaRPr>
              <a:solidFill>
                <a:prstClr val="black"/>
              </a:solidFill>
              <a:latin typeface="Arial" panose="020B0604020202020204" pitchFamily="34" charset="0"/>
              <a:ea typeface="微软雅黑" panose="020B0503020204020204" pitchFamily="34" charset="-122"/>
              <a:cs typeface="思源黑体 CN Regular" panose="020B0500000000000000" charset="-122"/>
              <a:sym typeface="Arial" panose="020B0604020202020204" pitchFamily="34" charset="0"/>
            </a:endParaRPr>
          </a:p>
        </p:txBody>
      </p:sp>
      <p:sp>
        <p:nvSpPr>
          <p:cNvPr id="15" name="Shape 3717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SpPr/>
          <p:nvPr/>
        </p:nvSpPr>
        <p:spPr>
          <a:xfrm>
            <a:off x="4091041" y="3253494"/>
            <a:ext cx="410797" cy="410797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14727"/>
                </a:moveTo>
                <a:lnTo>
                  <a:pt x="982" y="14727"/>
                </a:lnTo>
                <a:lnTo>
                  <a:pt x="982" y="1964"/>
                </a:lnTo>
                <a:cubicBezTo>
                  <a:pt x="982" y="1422"/>
                  <a:pt x="1422" y="982"/>
                  <a:pt x="1964" y="982"/>
                </a:cubicBezTo>
                <a:lnTo>
                  <a:pt x="19636" y="982"/>
                </a:lnTo>
                <a:cubicBezTo>
                  <a:pt x="20178" y="982"/>
                  <a:pt x="20618" y="1422"/>
                  <a:pt x="20618" y="1964"/>
                </a:cubicBezTo>
                <a:cubicBezTo>
                  <a:pt x="20618" y="1964"/>
                  <a:pt x="20618" y="14727"/>
                  <a:pt x="20618" y="14727"/>
                </a:cubicBezTo>
                <a:close/>
                <a:moveTo>
                  <a:pt x="20618" y="16691"/>
                </a:moveTo>
                <a:cubicBezTo>
                  <a:pt x="20618" y="17233"/>
                  <a:pt x="20178" y="17673"/>
                  <a:pt x="19636" y="17673"/>
                </a:cubicBezTo>
                <a:lnTo>
                  <a:pt x="1964" y="17673"/>
                </a:lnTo>
                <a:cubicBezTo>
                  <a:pt x="1422" y="17673"/>
                  <a:pt x="982" y="17233"/>
                  <a:pt x="982" y="16691"/>
                </a:cubicBezTo>
                <a:lnTo>
                  <a:pt x="982" y="15709"/>
                </a:lnTo>
                <a:lnTo>
                  <a:pt x="20618" y="15709"/>
                </a:lnTo>
                <a:cubicBezTo>
                  <a:pt x="20618" y="15709"/>
                  <a:pt x="20618" y="16691"/>
                  <a:pt x="20618" y="16691"/>
                </a:cubicBezTo>
                <a:close/>
                <a:moveTo>
                  <a:pt x="11782" y="20618"/>
                </a:moveTo>
                <a:lnTo>
                  <a:pt x="9818" y="20618"/>
                </a:lnTo>
                <a:lnTo>
                  <a:pt x="9818" y="18655"/>
                </a:lnTo>
                <a:lnTo>
                  <a:pt x="11782" y="18655"/>
                </a:lnTo>
                <a:cubicBezTo>
                  <a:pt x="11782" y="18655"/>
                  <a:pt x="11782" y="20618"/>
                  <a:pt x="11782" y="20618"/>
                </a:cubicBezTo>
                <a:close/>
                <a:moveTo>
                  <a:pt x="19636" y="0"/>
                </a:moveTo>
                <a:lnTo>
                  <a:pt x="1964" y="0"/>
                </a:lnTo>
                <a:cubicBezTo>
                  <a:pt x="879" y="0"/>
                  <a:pt x="0" y="879"/>
                  <a:pt x="0" y="1964"/>
                </a:cubicBezTo>
                <a:lnTo>
                  <a:pt x="0" y="16691"/>
                </a:lnTo>
                <a:cubicBezTo>
                  <a:pt x="0" y="17775"/>
                  <a:pt x="879" y="18655"/>
                  <a:pt x="1964" y="18655"/>
                </a:cubicBezTo>
                <a:lnTo>
                  <a:pt x="8836" y="18655"/>
                </a:lnTo>
                <a:lnTo>
                  <a:pt x="8836" y="20618"/>
                </a:lnTo>
                <a:lnTo>
                  <a:pt x="7364" y="20618"/>
                </a:lnTo>
                <a:cubicBezTo>
                  <a:pt x="7092" y="20618"/>
                  <a:pt x="6873" y="20839"/>
                  <a:pt x="6873" y="21109"/>
                </a:cubicBezTo>
                <a:cubicBezTo>
                  <a:pt x="6873" y="21380"/>
                  <a:pt x="7092" y="21600"/>
                  <a:pt x="7364" y="21600"/>
                </a:cubicBezTo>
                <a:lnTo>
                  <a:pt x="14236" y="21600"/>
                </a:lnTo>
                <a:cubicBezTo>
                  <a:pt x="14508" y="21600"/>
                  <a:pt x="14727" y="21380"/>
                  <a:pt x="14727" y="21109"/>
                </a:cubicBezTo>
                <a:cubicBezTo>
                  <a:pt x="14727" y="20839"/>
                  <a:pt x="14508" y="20618"/>
                  <a:pt x="14236" y="20618"/>
                </a:cubicBezTo>
                <a:lnTo>
                  <a:pt x="12764" y="20618"/>
                </a:lnTo>
                <a:lnTo>
                  <a:pt x="12764" y="18655"/>
                </a:lnTo>
                <a:lnTo>
                  <a:pt x="19636" y="18655"/>
                </a:lnTo>
                <a:cubicBezTo>
                  <a:pt x="20721" y="18655"/>
                  <a:pt x="21600" y="17775"/>
                  <a:pt x="21600" y="16691"/>
                </a:cubicBezTo>
                <a:lnTo>
                  <a:pt x="21600" y="1964"/>
                </a:lnTo>
                <a:cubicBezTo>
                  <a:pt x="21600" y="879"/>
                  <a:pt x="20721" y="0"/>
                  <a:pt x="19636" y="0"/>
                </a:cubicBezTo>
              </a:path>
            </a:pathLst>
          </a:custGeom>
          <a:solidFill>
            <a:schemeClr val="accent1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endParaRPr>
              <a:solidFill>
                <a:prstClr val="black"/>
              </a:solidFill>
              <a:latin typeface="Arial" panose="020B0604020202020204" pitchFamily="34" charset="0"/>
              <a:ea typeface="微软雅黑" panose="020B0503020204020204" pitchFamily="34" charset="-122"/>
              <a:cs typeface="思源黑体 CN Regular" panose="020B0500000000000000" charset="-122"/>
              <a:sym typeface="Arial" panose="020B0604020202020204" pitchFamily="34" charset="0"/>
            </a:endParaRPr>
          </a:p>
        </p:txBody>
      </p:sp>
      <p:sp>
        <p:nvSpPr>
          <p:cNvPr id="16" name="Shape 3702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SpPr/>
          <p:nvPr/>
        </p:nvSpPr>
        <p:spPr>
          <a:xfrm>
            <a:off x="9489669" y="3253494"/>
            <a:ext cx="410907" cy="410797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6441" y="20618"/>
                </a:moveTo>
                <a:cubicBezTo>
                  <a:pt x="15826" y="20618"/>
                  <a:pt x="15227" y="20482"/>
                  <a:pt x="14661" y="20215"/>
                </a:cubicBezTo>
                <a:cubicBezTo>
                  <a:pt x="14607" y="20190"/>
                  <a:pt x="14553" y="20169"/>
                  <a:pt x="14497" y="20155"/>
                </a:cubicBezTo>
                <a:cubicBezTo>
                  <a:pt x="8918" y="17308"/>
                  <a:pt x="4295" y="12685"/>
                  <a:pt x="1448" y="7105"/>
                </a:cubicBezTo>
                <a:cubicBezTo>
                  <a:pt x="1432" y="7048"/>
                  <a:pt x="1412" y="6991"/>
                  <a:pt x="1386" y="6936"/>
                </a:cubicBezTo>
                <a:cubicBezTo>
                  <a:pt x="1117" y="6369"/>
                  <a:pt x="982" y="5770"/>
                  <a:pt x="982" y="5155"/>
                </a:cubicBezTo>
                <a:cubicBezTo>
                  <a:pt x="982" y="2774"/>
                  <a:pt x="3066" y="982"/>
                  <a:pt x="4417" y="982"/>
                </a:cubicBezTo>
                <a:cubicBezTo>
                  <a:pt x="4594" y="982"/>
                  <a:pt x="4711" y="1072"/>
                  <a:pt x="4764" y="1126"/>
                </a:cubicBezTo>
                <a:cubicBezTo>
                  <a:pt x="4776" y="1139"/>
                  <a:pt x="4798" y="1164"/>
                  <a:pt x="4831" y="1216"/>
                </a:cubicBezTo>
                <a:cubicBezTo>
                  <a:pt x="4848" y="1244"/>
                  <a:pt x="4867" y="1270"/>
                  <a:pt x="4887" y="1296"/>
                </a:cubicBezTo>
                <a:lnTo>
                  <a:pt x="8118" y="5453"/>
                </a:lnTo>
                <a:cubicBezTo>
                  <a:pt x="8143" y="5485"/>
                  <a:pt x="8170" y="5515"/>
                  <a:pt x="8199" y="5544"/>
                </a:cubicBezTo>
                <a:cubicBezTo>
                  <a:pt x="8253" y="5598"/>
                  <a:pt x="8343" y="5714"/>
                  <a:pt x="8343" y="5891"/>
                </a:cubicBezTo>
                <a:cubicBezTo>
                  <a:pt x="8343" y="5978"/>
                  <a:pt x="8319" y="6060"/>
                  <a:pt x="8272" y="6135"/>
                </a:cubicBezTo>
                <a:lnTo>
                  <a:pt x="7178" y="7221"/>
                </a:lnTo>
                <a:cubicBezTo>
                  <a:pt x="7173" y="7227"/>
                  <a:pt x="7168" y="7230"/>
                  <a:pt x="7163" y="7236"/>
                </a:cubicBezTo>
                <a:cubicBezTo>
                  <a:pt x="6767" y="7609"/>
                  <a:pt x="6541" y="8126"/>
                  <a:pt x="6541" y="8668"/>
                </a:cubicBezTo>
                <a:cubicBezTo>
                  <a:pt x="6541" y="9175"/>
                  <a:pt x="6738" y="9658"/>
                  <a:pt x="7080" y="10020"/>
                </a:cubicBezTo>
                <a:cubicBezTo>
                  <a:pt x="7092" y="10040"/>
                  <a:pt x="7105" y="10059"/>
                  <a:pt x="7119" y="10078"/>
                </a:cubicBezTo>
                <a:cubicBezTo>
                  <a:pt x="8325" y="11745"/>
                  <a:pt x="9807" y="13222"/>
                  <a:pt x="11525" y="14468"/>
                </a:cubicBezTo>
                <a:cubicBezTo>
                  <a:pt x="11538" y="14478"/>
                  <a:pt x="11552" y="14488"/>
                  <a:pt x="11565" y="14496"/>
                </a:cubicBezTo>
                <a:cubicBezTo>
                  <a:pt x="11928" y="14844"/>
                  <a:pt x="12414" y="15045"/>
                  <a:pt x="12924" y="15045"/>
                </a:cubicBezTo>
                <a:cubicBezTo>
                  <a:pt x="13436" y="15045"/>
                  <a:pt x="13931" y="14839"/>
                  <a:pt x="14297" y="14479"/>
                </a:cubicBezTo>
                <a:cubicBezTo>
                  <a:pt x="14316" y="14463"/>
                  <a:pt x="14335" y="14445"/>
                  <a:pt x="14352" y="14427"/>
                </a:cubicBezTo>
                <a:lnTo>
                  <a:pt x="15452" y="13320"/>
                </a:lnTo>
                <a:cubicBezTo>
                  <a:pt x="15529" y="13272"/>
                  <a:pt x="15611" y="13247"/>
                  <a:pt x="15697" y="13247"/>
                </a:cubicBezTo>
                <a:cubicBezTo>
                  <a:pt x="15874" y="13247"/>
                  <a:pt x="15991" y="13337"/>
                  <a:pt x="16044" y="13391"/>
                </a:cubicBezTo>
                <a:cubicBezTo>
                  <a:pt x="16073" y="13419"/>
                  <a:pt x="16104" y="13446"/>
                  <a:pt x="16135" y="13472"/>
                </a:cubicBezTo>
                <a:lnTo>
                  <a:pt x="20291" y="16704"/>
                </a:lnTo>
                <a:cubicBezTo>
                  <a:pt x="20317" y="16725"/>
                  <a:pt x="20345" y="16745"/>
                  <a:pt x="20374" y="16762"/>
                </a:cubicBezTo>
                <a:cubicBezTo>
                  <a:pt x="20426" y="16794"/>
                  <a:pt x="20449" y="16816"/>
                  <a:pt x="20461" y="16827"/>
                </a:cubicBezTo>
                <a:cubicBezTo>
                  <a:pt x="20515" y="16881"/>
                  <a:pt x="20605" y="16998"/>
                  <a:pt x="20605" y="17174"/>
                </a:cubicBezTo>
                <a:cubicBezTo>
                  <a:pt x="20605" y="17208"/>
                  <a:pt x="20607" y="17240"/>
                  <a:pt x="20610" y="17273"/>
                </a:cubicBezTo>
                <a:cubicBezTo>
                  <a:pt x="20533" y="18625"/>
                  <a:pt x="18769" y="20618"/>
                  <a:pt x="16441" y="20618"/>
                </a:cubicBezTo>
                <a:moveTo>
                  <a:pt x="21587" y="17174"/>
                </a:moveTo>
                <a:cubicBezTo>
                  <a:pt x="21587" y="16768"/>
                  <a:pt x="21422" y="16399"/>
                  <a:pt x="21155" y="16133"/>
                </a:cubicBezTo>
                <a:cubicBezTo>
                  <a:pt x="21077" y="16054"/>
                  <a:pt x="20988" y="15988"/>
                  <a:pt x="20894" y="15930"/>
                </a:cubicBezTo>
                <a:lnTo>
                  <a:pt x="16738" y="12697"/>
                </a:lnTo>
                <a:cubicBezTo>
                  <a:pt x="16472" y="12430"/>
                  <a:pt x="16104" y="12265"/>
                  <a:pt x="15697" y="12265"/>
                </a:cubicBezTo>
                <a:cubicBezTo>
                  <a:pt x="15365" y="12265"/>
                  <a:pt x="15061" y="12380"/>
                  <a:pt x="14815" y="12567"/>
                </a:cubicBezTo>
                <a:lnTo>
                  <a:pt x="13656" y="13736"/>
                </a:lnTo>
                <a:lnTo>
                  <a:pt x="13652" y="13733"/>
                </a:lnTo>
                <a:cubicBezTo>
                  <a:pt x="13473" y="13934"/>
                  <a:pt x="13215" y="14063"/>
                  <a:pt x="12924" y="14063"/>
                </a:cubicBezTo>
                <a:cubicBezTo>
                  <a:pt x="12592" y="14063"/>
                  <a:pt x="12300" y="13897"/>
                  <a:pt x="12122" y="13645"/>
                </a:cubicBezTo>
                <a:cubicBezTo>
                  <a:pt x="12116" y="13654"/>
                  <a:pt x="12107" y="13664"/>
                  <a:pt x="12101" y="13674"/>
                </a:cubicBezTo>
                <a:cubicBezTo>
                  <a:pt x="10497" y="12510"/>
                  <a:pt x="9076" y="11109"/>
                  <a:pt x="7914" y="9503"/>
                </a:cubicBezTo>
                <a:cubicBezTo>
                  <a:pt x="7925" y="9495"/>
                  <a:pt x="7935" y="9486"/>
                  <a:pt x="7947" y="9479"/>
                </a:cubicBezTo>
                <a:cubicBezTo>
                  <a:pt x="7691" y="9299"/>
                  <a:pt x="7523" y="9004"/>
                  <a:pt x="7523" y="8668"/>
                </a:cubicBezTo>
                <a:cubicBezTo>
                  <a:pt x="7523" y="8368"/>
                  <a:pt x="7660" y="8101"/>
                  <a:pt x="7871" y="7920"/>
                </a:cubicBezTo>
                <a:lnTo>
                  <a:pt x="7870" y="7918"/>
                </a:lnTo>
                <a:lnTo>
                  <a:pt x="9024" y="6773"/>
                </a:lnTo>
                <a:cubicBezTo>
                  <a:pt x="9211" y="6528"/>
                  <a:pt x="9325" y="6225"/>
                  <a:pt x="9325" y="5891"/>
                </a:cubicBezTo>
                <a:cubicBezTo>
                  <a:pt x="9325" y="5484"/>
                  <a:pt x="9160" y="5116"/>
                  <a:pt x="8893" y="4850"/>
                </a:cubicBezTo>
                <a:lnTo>
                  <a:pt x="5662" y="693"/>
                </a:lnTo>
                <a:cubicBezTo>
                  <a:pt x="5603" y="599"/>
                  <a:pt x="5537" y="510"/>
                  <a:pt x="5458" y="431"/>
                </a:cubicBezTo>
                <a:cubicBezTo>
                  <a:pt x="5192" y="165"/>
                  <a:pt x="4823" y="0"/>
                  <a:pt x="4417" y="0"/>
                </a:cubicBezTo>
                <a:cubicBezTo>
                  <a:pt x="2454" y="0"/>
                  <a:pt x="0" y="2308"/>
                  <a:pt x="0" y="5155"/>
                </a:cubicBezTo>
                <a:cubicBezTo>
                  <a:pt x="0" y="5944"/>
                  <a:pt x="183" y="6688"/>
                  <a:pt x="499" y="7356"/>
                </a:cubicBezTo>
                <a:lnTo>
                  <a:pt x="482" y="7372"/>
                </a:lnTo>
                <a:cubicBezTo>
                  <a:pt x="3435" y="13255"/>
                  <a:pt x="8343" y="18164"/>
                  <a:pt x="14224" y="21118"/>
                </a:cubicBezTo>
                <a:lnTo>
                  <a:pt x="14240" y="21101"/>
                </a:lnTo>
                <a:cubicBezTo>
                  <a:pt x="14908" y="21418"/>
                  <a:pt x="15652" y="21600"/>
                  <a:pt x="16441" y="21600"/>
                </a:cubicBezTo>
                <a:cubicBezTo>
                  <a:pt x="19287" y="21600"/>
                  <a:pt x="21594" y="19145"/>
                  <a:pt x="21594" y="17182"/>
                </a:cubicBezTo>
                <a:cubicBezTo>
                  <a:pt x="21594" y="17180"/>
                  <a:pt x="21594" y="17177"/>
                  <a:pt x="21594" y="17174"/>
                </a:cubicBezTo>
                <a:cubicBezTo>
                  <a:pt x="21594" y="17174"/>
                  <a:pt x="21587" y="17174"/>
                  <a:pt x="21587" y="17174"/>
                </a:cubicBezTo>
                <a:close/>
                <a:moveTo>
                  <a:pt x="11785" y="10800"/>
                </a:moveTo>
                <a:cubicBezTo>
                  <a:pt x="12326" y="10800"/>
                  <a:pt x="12766" y="10360"/>
                  <a:pt x="12766" y="9819"/>
                </a:cubicBezTo>
                <a:cubicBezTo>
                  <a:pt x="12766" y="9276"/>
                  <a:pt x="12326" y="8836"/>
                  <a:pt x="11785" y="8836"/>
                </a:cubicBezTo>
                <a:cubicBezTo>
                  <a:pt x="11242" y="8836"/>
                  <a:pt x="10803" y="9276"/>
                  <a:pt x="10803" y="9819"/>
                </a:cubicBezTo>
                <a:cubicBezTo>
                  <a:pt x="10803" y="10360"/>
                  <a:pt x="11242" y="10800"/>
                  <a:pt x="11785" y="10800"/>
                </a:cubicBezTo>
                <a:moveTo>
                  <a:pt x="11785" y="5891"/>
                </a:moveTo>
                <a:cubicBezTo>
                  <a:pt x="13953" y="5891"/>
                  <a:pt x="15711" y="7649"/>
                  <a:pt x="15711" y="9819"/>
                </a:cubicBezTo>
                <a:cubicBezTo>
                  <a:pt x="15711" y="10090"/>
                  <a:pt x="15930" y="10309"/>
                  <a:pt x="16201" y="10309"/>
                </a:cubicBezTo>
                <a:cubicBezTo>
                  <a:pt x="16473" y="10309"/>
                  <a:pt x="16692" y="10090"/>
                  <a:pt x="16692" y="9819"/>
                </a:cubicBezTo>
                <a:cubicBezTo>
                  <a:pt x="16692" y="7108"/>
                  <a:pt x="14495" y="4909"/>
                  <a:pt x="11785" y="4909"/>
                </a:cubicBezTo>
                <a:cubicBezTo>
                  <a:pt x="11513" y="4909"/>
                  <a:pt x="11294" y="5129"/>
                  <a:pt x="11294" y="5400"/>
                </a:cubicBezTo>
                <a:cubicBezTo>
                  <a:pt x="11294" y="5671"/>
                  <a:pt x="11513" y="5891"/>
                  <a:pt x="11785" y="5891"/>
                </a:cubicBezTo>
                <a:moveTo>
                  <a:pt x="11785" y="982"/>
                </a:moveTo>
                <a:cubicBezTo>
                  <a:pt x="16663" y="982"/>
                  <a:pt x="20618" y="4939"/>
                  <a:pt x="20618" y="9819"/>
                </a:cubicBezTo>
                <a:cubicBezTo>
                  <a:pt x="20618" y="10090"/>
                  <a:pt x="20838" y="10309"/>
                  <a:pt x="21109" y="10309"/>
                </a:cubicBezTo>
                <a:cubicBezTo>
                  <a:pt x="21380" y="10309"/>
                  <a:pt x="21600" y="10090"/>
                  <a:pt x="21600" y="9819"/>
                </a:cubicBezTo>
                <a:cubicBezTo>
                  <a:pt x="21600" y="4396"/>
                  <a:pt x="17206" y="0"/>
                  <a:pt x="11785" y="0"/>
                </a:cubicBezTo>
                <a:cubicBezTo>
                  <a:pt x="11513" y="0"/>
                  <a:pt x="11294" y="221"/>
                  <a:pt x="11294" y="491"/>
                </a:cubicBezTo>
                <a:cubicBezTo>
                  <a:pt x="11294" y="762"/>
                  <a:pt x="11513" y="982"/>
                  <a:pt x="11785" y="982"/>
                </a:cubicBezTo>
              </a:path>
            </a:pathLst>
          </a:custGeom>
          <a:solidFill>
            <a:schemeClr val="accent1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endParaRPr>
              <a:solidFill>
                <a:prstClr val="black"/>
              </a:solidFill>
              <a:latin typeface="Arial" panose="020B0604020202020204" pitchFamily="34" charset="0"/>
              <a:ea typeface="微软雅黑" panose="020B0503020204020204" pitchFamily="34" charset="-122"/>
              <a:cs typeface="思源黑体 CN Regular" panose="020B0500000000000000" charset="-122"/>
              <a:sym typeface="Arial" panose="020B0604020202020204" pitchFamily="34" charset="0"/>
            </a:endParaRPr>
          </a:p>
        </p:txBody>
      </p:sp>
      <p:sp>
        <p:nvSpPr>
          <p:cNvPr id="17" name="Shape 3676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SpPr/>
          <p:nvPr/>
        </p:nvSpPr>
        <p:spPr>
          <a:xfrm>
            <a:off x="7690161" y="4820083"/>
            <a:ext cx="410797" cy="37345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6691" y="20520"/>
                </a:moveTo>
                <a:lnTo>
                  <a:pt x="14727" y="20520"/>
                </a:lnTo>
                <a:lnTo>
                  <a:pt x="14727" y="18360"/>
                </a:lnTo>
                <a:cubicBezTo>
                  <a:pt x="14999" y="18360"/>
                  <a:pt x="15218" y="18118"/>
                  <a:pt x="15218" y="17820"/>
                </a:cubicBezTo>
                <a:cubicBezTo>
                  <a:pt x="15218" y="17523"/>
                  <a:pt x="14999" y="17280"/>
                  <a:pt x="14727" y="17280"/>
                </a:cubicBezTo>
                <a:lnTo>
                  <a:pt x="14727" y="7560"/>
                </a:lnTo>
                <a:lnTo>
                  <a:pt x="16691" y="7560"/>
                </a:lnTo>
                <a:cubicBezTo>
                  <a:pt x="16691" y="7560"/>
                  <a:pt x="16691" y="20520"/>
                  <a:pt x="16691" y="20520"/>
                </a:cubicBezTo>
                <a:close/>
                <a:moveTo>
                  <a:pt x="13745" y="17280"/>
                </a:moveTo>
                <a:cubicBezTo>
                  <a:pt x="13474" y="17280"/>
                  <a:pt x="13255" y="17523"/>
                  <a:pt x="13255" y="17820"/>
                </a:cubicBezTo>
                <a:cubicBezTo>
                  <a:pt x="13255" y="18118"/>
                  <a:pt x="13474" y="18360"/>
                  <a:pt x="13745" y="18360"/>
                </a:cubicBezTo>
                <a:lnTo>
                  <a:pt x="13745" y="20520"/>
                </a:lnTo>
                <a:lnTo>
                  <a:pt x="3927" y="20520"/>
                </a:lnTo>
                <a:lnTo>
                  <a:pt x="3927" y="18360"/>
                </a:lnTo>
                <a:cubicBezTo>
                  <a:pt x="4199" y="18360"/>
                  <a:pt x="4418" y="18118"/>
                  <a:pt x="4418" y="17820"/>
                </a:cubicBezTo>
                <a:cubicBezTo>
                  <a:pt x="4418" y="17523"/>
                  <a:pt x="4199" y="17280"/>
                  <a:pt x="3927" y="17280"/>
                </a:cubicBezTo>
                <a:lnTo>
                  <a:pt x="3927" y="7560"/>
                </a:lnTo>
                <a:lnTo>
                  <a:pt x="13745" y="7560"/>
                </a:lnTo>
                <a:cubicBezTo>
                  <a:pt x="13745" y="7560"/>
                  <a:pt x="13745" y="17280"/>
                  <a:pt x="13745" y="17280"/>
                </a:cubicBezTo>
                <a:close/>
                <a:moveTo>
                  <a:pt x="2945" y="17280"/>
                </a:moveTo>
                <a:cubicBezTo>
                  <a:pt x="2674" y="17280"/>
                  <a:pt x="2455" y="17523"/>
                  <a:pt x="2455" y="17820"/>
                </a:cubicBezTo>
                <a:cubicBezTo>
                  <a:pt x="2455" y="18118"/>
                  <a:pt x="2674" y="18360"/>
                  <a:pt x="2945" y="18360"/>
                </a:cubicBezTo>
                <a:lnTo>
                  <a:pt x="2945" y="20520"/>
                </a:lnTo>
                <a:lnTo>
                  <a:pt x="982" y="20520"/>
                </a:lnTo>
                <a:lnTo>
                  <a:pt x="982" y="7560"/>
                </a:lnTo>
                <a:lnTo>
                  <a:pt x="2945" y="7560"/>
                </a:lnTo>
                <a:cubicBezTo>
                  <a:pt x="2945" y="7560"/>
                  <a:pt x="2945" y="17280"/>
                  <a:pt x="2945" y="17280"/>
                </a:cubicBezTo>
                <a:close/>
                <a:moveTo>
                  <a:pt x="7855" y="5400"/>
                </a:moveTo>
                <a:lnTo>
                  <a:pt x="9818" y="5400"/>
                </a:lnTo>
                <a:cubicBezTo>
                  <a:pt x="10360" y="5400"/>
                  <a:pt x="10800" y="5884"/>
                  <a:pt x="10800" y="6481"/>
                </a:cubicBezTo>
                <a:lnTo>
                  <a:pt x="6873" y="6481"/>
                </a:lnTo>
                <a:cubicBezTo>
                  <a:pt x="6873" y="5884"/>
                  <a:pt x="7313" y="5400"/>
                  <a:pt x="7855" y="5400"/>
                </a:cubicBezTo>
                <a:moveTo>
                  <a:pt x="16691" y="6481"/>
                </a:moveTo>
                <a:lnTo>
                  <a:pt x="11782" y="6481"/>
                </a:lnTo>
                <a:cubicBezTo>
                  <a:pt x="11782" y="5287"/>
                  <a:pt x="10903" y="4321"/>
                  <a:pt x="9818" y="4321"/>
                </a:cubicBezTo>
                <a:lnTo>
                  <a:pt x="7855" y="4321"/>
                </a:lnTo>
                <a:cubicBezTo>
                  <a:pt x="6770" y="4321"/>
                  <a:pt x="5891" y="5287"/>
                  <a:pt x="5891" y="6481"/>
                </a:cubicBezTo>
                <a:lnTo>
                  <a:pt x="982" y="6481"/>
                </a:lnTo>
                <a:cubicBezTo>
                  <a:pt x="440" y="6481"/>
                  <a:pt x="0" y="6964"/>
                  <a:pt x="0" y="7560"/>
                </a:cubicBezTo>
                <a:lnTo>
                  <a:pt x="0" y="20520"/>
                </a:lnTo>
                <a:cubicBezTo>
                  <a:pt x="0" y="21116"/>
                  <a:pt x="440" y="21600"/>
                  <a:pt x="982" y="21600"/>
                </a:cubicBezTo>
                <a:lnTo>
                  <a:pt x="16691" y="21600"/>
                </a:lnTo>
                <a:cubicBezTo>
                  <a:pt x="17233" y="21600"/>
                  <a:pt x="17673" y="21116"/>
                  <a:pt x="17673" y="20520"/>
                </a:cubicBezTo>
                <a:lnTo>
                  <a:pt x="17673" y="7560"/>
                </a:lnTo>
                <a:cubicBezTo>
                  <a:pt x="17673" y="6964"/>
                  <a:pt x="17233" y="6481"/>
                  <a:pt x="16691" y="6481"/>
                </a:cubicBezTo>
                <a:moveTo>
                  <a:pt x="10800" y="2161"/>
                </a:moveTo>
                <a:cubicBezTo>
                  <a:pt x="10800" y="1564"/>
                  <a:pt x="11240" y="1080"/>
                  <a:pt x="11782" y="1080"/>
                </a:cubicBezTo>
                <a:lnTo>
                  <a:pt x="13745" y="1080"/>
                </a:lnTo>
                <a:cubicBezTo>
                  <a:pt x="14287" y="1080"/>
                  <a:pt x="14727" y="1564"/>
                  <a:pt x="14727" y="2161"/>
                </a:cubicBezTo>
                <a:cubicBezTo>
                  <a:pt x="14727" y="2161"/>
                  <a:pt x="10800" y="2161"/>
                  <a:pt x="10800" y="2161"/>
                </a:cubicBezTo>
                <a:close/>
                <a:moveTo>
                  <a:pt x="20618" y="2161"/>
                </a:moveTo>
                <a:lnTo>
                  <a:pt x="15709" y="2161"/>
                </a:lnTo>
                <a:cubicBezTo>
                  <a:pt x="15709" y="967"/>
                  <a:pt x="14830" y="0"/>
                  <a:pt x="13745" y="0"/>
                </a:cubicBezTo>
                <a:lnTo>
                  <a:pt x="11782" y="0"/>
                </a:lnTo>
                <a:cubicBezTo>
                  <a:pt x="10697" y="0"/>
                  <a:pt x="9818" y="967"/>
                  <a:pt x="9818" y="2161"/>
                </a:cubicBezTo>
                <a:lnTo>
                  <a:pt x="4909" y="2161"/>
                </a:lnTo>
                <a:cubicBezTo>
                  <a:pt x="4367" y="2161"/>
                  <a:pt x="3927" y="2644"/>
                  <a:pt x="3927" y="3240"/>
                </a:cubicBezTo>
                <a:lnTo>
                  <a:pt x="3927" y="4860"/>
                </a:lnTo>
                <a:cubicBezTo>
                  <a:pt x="3927" y="5158"/>
                  <a:pt x="4147" y="5400"/>
                  <a:pt x="4418" y="5400"/>
                </a:cubicBezTo>
                <a:cubicBezTo>
                  <a:pt x="4690" y="5400"/>
                  <a:pt x="4909" y="5158"/>
                  <a:pt x="4909" y="4860"/>
                </a:cubicBezTo>
                <a:lnTo>
                  <a:pt x="4909" y="3240"/>
                </a:lnTo>
                <a:lnTo>
                  <a:pt x="20618" y="3240"/>
                </a:lnTo>
                <a:lnTo>
                  <a:pt x="20618" y="16201"/>
                </a:lnTo>
                <a:lnTo>
                  <a:pt x="19145" y="16201"/>
                </a:lnTo>
                <a:cubicBezTo>
                  <a:pt x="18874" y="16201"/>
                  <a:pt x="18655" y="16443"/>
                  <a:pt x="18655" y="16740"/>
                </a:cubicBezTo>
                <a:cubicBezTo>
                  <a:pt x="18655" y="17038"/>
                  <a:pt x="18874" y="17280"/>
                  <a:pt x="19145" y="17280"/>
                </a:cubicBezTo>
                <a:lnTo>
                  <a:pt x="20618" y="17280"/>
                </a:lnTo>
                <a:cubicBezTo>
                  <a:pt x="21160" y="17280"/>
                  <a:pt x="21600" y="16796"/>
                  <a:pt x="21600" y="16201"/>
                </a:cubicBezTo>
                <a:lnTo>
                  <a:pt x="21600" y="3240"/>
                </a:lnTo>
                <a:cubicBezTo>
                  <a:pt x="21600" y="2644"/>
                  <a:pt x="21160" y="2161"/>
                  <a:pt x="20618" y="2161"/>
                </a:cubicBezTo>
                <a:moveTo>
                  <a:pt x="5400" y="11881"/>
                </a:moveTo>
                <a:lnTo>
                  <a:pt x="6382" y="11881"/>
                </a:lnTo>
                <a:cubicBezTo>
                  <a:pt x="6653" y="11881"/>
                  <a:pt x="6873" y="11638"/>
                  <a:pt x="6873" y="11341"/>
                </a:cubicBezTo>
                <a:cubicBezTo>
                  <a:pt x="6873" y="11043"/>
                  <a:pt x="6653" y="10800"/>
                  <a:pt x="6382" y="10800"/>
                </a:cubicBezTo>
                <a:lnTo>
                  <a:pt x="5400" y="10800"/>
                </a:lnTo>
                <a:cubicBezTo>
                  <a:pt x="5129" y="10800"/>
                  <a:pt x="4909" y="11043"/>
                  <a:pt x="4909" y="11341"/>
                </a:cubicBezTo>
                <a:cubicBezTo>
                  <a:pt x="4909" y="11638"/>
                  <a:pt x="5129" y="11881"/>
                  <a:pt x="5400" y="11881"/>
                </a:cubicBezTo>
                <a:moveTo>
                  <a:pt x="5400" y="9720"/>
                </a:moveTo>
                <a:lnTo>
                  <a:pt x="8345" y="9720"/>
                </a:lnTo>
                <a:cubicBezTo>
                  <a:pt x="8617" y="9720"/>
                  <a:pt x="8836" y="9478"/>
                  <a:pt x="8836" y="9181"/>
                </a:cubicBezTo>
                <a:cubicBezTo>
                  <a:pt x="8836" y="8883"/>
                  <a:pt x="8617" y="8640"/>
                  <a:pt x="8345" y="8640"/>
                </a:cubicBezTo>
                <a:lnTo>
                  <a:pt x="5400" y="8640"/>
                </a:lnTo>
                <a:cubicBezTo>
                  <a:pt x="5129" y="8640"/>
                  <a:pt x="4909" y="8883"/>
                  <a:pt x="4909" y="9181"/>
                </a:cubicBezTo>
                <a:cubicBezTo>
                  <a:pt x="4909" y="9478"/>
                  <a:pt x="5129" y="9720"/>
                  <a:pt x="5400" y="9720"/>
                </a:cubicBezTo>
              </a:path>
            </a:pathLst>
          </a:custGeom>
          <a:solidFill>
            <a:schemeClr val="accent1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endParaRPr>
              <a:solidFill>
                <a:prstClr val="black"/>
              </a:solidFill>
              <a:latin typeface="Arial" panose="020B0604020202020204" pitchFamily="34" charset="0"/>
              <a:ea typeface="微软雅黑" panose="020B0503020204020204" pitchFamily="34" charset="-122"/>
              <a:cs typeface="思源黑体 CN Regular" panose="020B0500000000000000" charset="-122"/>
              <a:sym typeface="Arial" panose="020B0604020202020204" pitchFamily="34" charset="0"/>
            </a:endParaRPr>
          </a:p>
        </p:txBody>
      </p:sp>
      <p:sp>
        <p:nvSpPr>
          <p:cNvPr id="18" name="Shape 3642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SpPr/>
          <p:nvPr/>
        </p:nvSpPr>
        <p:spPr>
          <a:xfrm>
            <a:off x="4091040" y="4801411"/>
            <a:ext cx="410797" cy="410807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8836"/>
                </a:moveTo>
                <a:lnTo>
                  <a:pt x="982" y="8836"/>
                </a:lnTo>
                <a:lnTo>
                  <a:pt x="982" y="6873"/>
                </a:lnTo>
                <a:lnTo>
                  <a:pt x="20618" y="6873"/>
                </a:lnTo>
                <a:cubicBezTo>
                  <a:pt x="20618" y="6873"/>
                  <a:pt x="20618" y="8836"/>
                  <a:pt x="20618" y="8836"/>
                </a:cubicBezTo>
                <a:close/>
                <a:moveTo>
                  <a:pt x="18655" y="20618"/>
                </a:moveTo>
                <a:lnTo>
                  <a:pt x="2945" y="20618"/>
                </a:lnTo>
                <a:lnTo>
                  <a:pt x="2945" y="9818"/>
                </a:lnTo>
                <a:lnTo>
                  <a:pt x="18655" y="9818"/>
                </a:lnTo>
                <a:cubicBezTo>
                  <a:pt x="18655" y="9818"/>
                  <a:pt x="18655" y="20618"/>
                  <a:pt x="18655" y="20618"/>
                </a:cubicBezTo>
                <a:close/>
                <a:moveTo>
                  <a:pt x="3927" y="982"/>
                </a:moveTo>
                <a:lnTo>
                  <a:pt x="11782" y="982"/>
                </a:lnTo>
                <a:lnTo>
                  <a:pt x="11782" y="3436"/>
                </a:lnTo>
                <a:cubicBezTo>
                  <a:pt x="11782" y="3708"/>
                  <a:pt x="12002" y="3927"/>
                  <a:pt x="12273" y="3927"/>
                </a:cubicBezTo>
                <a:lnTo>
                  <a:pt x="14727" y="3927"/>
                </a:lnTo>
                <a:lnTo>
                  <a:pt x="14727" y="5891"/>
                </a:lnTo>
                <a:lnTo>
                  <a:pt x="3927" y="5891"/>
                </a:lnTo>
                <a:cubicBezTo>
                  <a:pt x="3927" y="5891"/>
                  <a:pt x="3927" y="982"/>
                  <a:pt x="3927" y="982"/>
                </a:cubicBezTo>
                <a:close/>
                <a:moveTo>
                  <a:pt x="12764" y="1473"/>
                </a:moveTo>
                <a:lnTo>
                  <a:pt x="14236" y="2945"/>
                </a:lnTo>
                <a:lnTo>
                  <a:pt x="12764" y="2945"/>
                </a:lnTo>
                <a:cubicBezTo>
                  <a:pt x="12764" y="2945"/>
                  <a:pt x="12764" y="1473"/>
                  <a:pt x="12764" y="1473"/>
                </a:cubicBezTo>
                <a:close/>
                <a:moveTo>
                  <a:pt x="17673" y="1964"/>
                </a:moveTo>
                <a:lnTo>
                  <a:pt x="17673" y="5891"/>
                </a:lnTo>
                <a:lnTo>
                  <a:pt x="15709" y="5891"/>
                </a:lnTo>
                <a:lnTo>
                  <a:pt x="15709" y="2945"/>
                </a:lnTo>
                <a:lnTo>
                  <a:pt x="14727" y="1964"/>
                </a:lnTo>
                <a:cubicBezTo>
                  <a:pt x="14727" y="1964"/>
                  <a:pt x="17673" y="1964"/>
                  <a:pt x="17673" y="1964"/>
                </a:cubicBezTo>
                <a:close/>
                <a:moveTo>
                  <a:pt x="20618" y="5891"/>
                </a:moveTo>
                <a:lnTo>
                  <a:pt x="18655" y="5891"/>
                </a:lnTo>
                <a:lnTo>
                  <a:pt x="18655" y="1964"/>
                </a:lnTo>
                <a:cubicBezTo>
                  <a:pt x="18655" y="1422"/>
                  <a:pt x="18214" y="982"/>
                  <a:pt x="17673" y="982"/>
                </a:cubicBezTo>
                <a:lnTo>
                  <a:pt x="13745" y="982"/>
                </a:lnTo>
                <a:lnTo>
                  <a:pt x="12764" y="0"/>
                </a:lnTo>
                <a:lnTo>
                  <a:pt x="3927" y="0"/>
                </a:lnTo>
                <a:cubicBezTo>
                  <a:pt x="3385" y="0"/>
                  <a:pt x="2945" y="440"/>
                  <a:pt x="2945" y="982"/>
                </a:cubicBezTo>
                <a:lnTo>
                  <a:pt x="2945" y="5891"/>
                </a:lnTo>
                <a:lnTo>
                  <a:pt x="982" y="5891"/>
                </a:lnTo>
                <a:cubicBezTo>
                  <a:pt x="440" y="5891"/>
                  <a:pt x="0" y="6331"/>
                  <a:pt x="0" y="6873"/>
                </a:cubicBezTo>
                <a:lnTo>
                  <a:pt x="0" y="8836"/>
                </a:lnTo>
                <a:cubicBezTo>
                  <a:pt x="0" y="9379"/>
                  <a:pt x="440" y="9818"/>
                  <a:pt x="982" y="9818"/>
                </a:cubicBezTo>
                <a:lnTo>
                  <a:pt x="1964" y="9818"/>
                </a:lnTo>
                <a:lnTo>
                  <a:pt x="1964" y="20618"/>
                </a:lnTo>
                <a:cubicBezTo>
                  <a:pt x="1964" y="21160"/>
                  <a:pt x="2403" y="21600"/>
                  <a:pt x="2945" y="21600"/>
                </a:cubicBezTo>
                <a:lnTo>
                  <a:pt x="18655" y="21600"/>
                </a:lnTo>
                <a:cubicBezTo>
                  <a:pt x="19196" y="21600"/>
                  <a:pt x="19636" y="21160"/>
                  <a:pt x="19636" y="20618"/>
                </a:cubicBezTo>
                <a:lnTo>
                  <a:pt x="19636" y="9818"/>
                </a:lnTo>
                <a:lnTo>
                  <a:pt x="20618" y="9818"/>
                </a:lnTo>
                <a:cubicBezTo>
                  <a:pt x="21160" y="9818"/>
                  <a:pt x="21600" y="9379"/>
                  <a:pt x="21600" y="8836"/>
                </a:cubicBezTo>
                <a:lnTo>
                  <a:pt x="21600" y="6873"/>
                </a:lnTo>
                <a:cubicBezTo>
                  <a:pt x="21600" y="6331"/>
                  <a:pt x="21160" y="5891"/>
                  <a:pt x="20618" y="5891"/>
                </a:cubicBezTo>
                <a:moveTo>
                  <a:pt x="7855" y="12763"/>
                </a:moveTo>
                <a:lnTo>
                  <a:pt x="13745" y="12763"/>
                </a:lnTo>
                <a:lnTo>
                  <a:pt x="13745" y="13745"/>
                </a:lnTo>
                <a:lnTo>
                  <a:pt x="7855" y="13745"/>
                </a:lnTo>
                <a:cubicBezTo>
                  <a:pt x="7855" y="13745"/>
                  <a:pt x="7855" y="12763"/>
                  <a:pt x="7855" y="12763"/>
                </a:cubicBezTo>
                <a:close/>
                <a:moveTo>
                  <a:pt x="7855" y="14727"/>
                </a:moveTo>
                <a:lnTo>
                  <a:pt x="13745" y="14727"/>
                </a:lnTo>
                <a:cubicBezTo>
                  <a:pt x="14287" y="14727"/>
                  <a:pt x="14727" y="14287"/>
                  <a:pt x="14727" y="13745"/>
                </a:cubicBezTo>
                <a:lnTo>
                  <a:pt x="14727" y="12763"/>
                </a:lnTo>
                <a:cubicBezTo>
                  <a:pt x="14727" y="12221"/>
                  <a:pt x="14287" y="11782"/>
                  <a:pt x="13745" y="11782"/>
                </a:cubicBezTo>
                <a:lnTo>
                  <a:pt x="7855" y="11782"/>
                </a:lnTo>
                <a:cubicBezTo>
                  <a:pt x="7313" y="11782"/>
                  <a:pt x="6873" y="12221"/>
                  <a:pt x="6873" y="12763"/>
                </a:cubicBezTo>
                <a:lnTo>
                  <a:pt x="6873" y="13745"/>
                </a:lnTo>
                <a:cubicBezTo>
                  <a:pt x="6873" y="14287"/>
                  <a:pt x="7313" y="14727"/>
                  <a:pt x="7855" y="14727"/>
                </a:cubicBezTo>
              </a:path>
            </a:pathLst>
          </a:custGeom>
          <a:solidFill>
            <a:schemeClr val="accent1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endParaRPr>
              <a:solidFill>
                <a:prstClr val="black"/>
              </a:solidFill>
              <a:latin typeface="Arial" panose="020B0604020202020204" pitchFamily="34" charset="0"/>
              <a:ea typeface="微软雅黑" panose="020B0503020204020204" pitchFamily="34" charset="-122"/>
              <a:cs typeface="思源黑体 CN Regular" panose="020B0500000000000000" charset="-122"/>
              <a:sym typeface="Arial" panose="020B0604020202020204" pitchFamily="34" charset="0"/>
            </a:endParaRPr>
          </a:p>
        </p:txBody>
      </p:sp>
      <p:sp>
        <p:nvSpPr>
          <p:cNvPr id="19" name="Shape 3644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SpPr/>
          <p:nvPr/>
        </p:nvSpPr>
        <p:spPr>
          <a:xfrm>
            <a:off x="2291480" y="4782738"/>
            <a:ext cx="410797" cy="410797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9327" y="17673"/>
                </a:moveTo>
                <a:cubicBezTo>
                  <a:pt x="4718" y="17673"/>
                  <a:pt x="982" y="13936"/>
                  <a:pt x="982" y="9327"/>
                </a:cubicBezTo>
                <a:cubicBezTo>
                  <a:pt x="982" y="4718"/>
                  <a:pt x="4718" y="982"/>
                  <a:pt x="9327" y="982"/>
                </a:cubicBezTo>
                <a:cubicBezTo>
                  <a:pt x="13936" y="982"/>
                  <a:pt x="17673" y="4718"/>
                  <a:pt x="17673" y="9327"/>
                </a:cubicBezTo>
                <a:cubicBezTo>
                  <a:pt x="17673" y="13936"/>
                  <a:pt x="13936" y="17673"/>
                  <a:pt x="9327" y="17673"/>
                </a:cubicBezTo>
                <a:moveTo>
                  <a:pt x="21456" y="20762"/>
                </a:moveTo>
                <a:lnTo>
                  <a:pt x="16253" y="15559"/>
                </a:lnTo>
                <a:cubicBezTo>
                  <a:pt x="17741" y="13907"/>
                  <a:pt x="18655" y="11726"/>
                  <a:pt x="18655" y="9327"/>
                </a:cubicBezTo>
                <a:cubicBezTo>
                  <a:pt x="18655" y="4176"/>
                  <a:pt x="14479" y="0"/>
                  <a:pt x="9327" y="0"/>
                </a:cubicBezTo>
                <a:cubicBezTo>
                  <a:pt x="4176" y="0"/>
                  <a:pt x="0" y="4176"/>
                  <a:pt x="0" y="9327"/>
                </a:cubicBezTo>
                <a:cubicBezTo>
                  <a:pt x="0" y="14479"/>
                  <a:pt x="4176" y="18655"/>
                  <a:pt x="9327" y="18655"/>
                </a:cubicBezTo>
                <a:cubicBezTo>
                  <a:pt x="11726" y="18655"/>
                  <a:pt x="13907" y="17742"/>
                  <a:pt x="15559" y="16253"/>
                </a:cubicBezTo>
                <a:lnTo>
                  <a:pt x="20762" y="21456"/>
                </a:lnTo>
                <a:cubicBezTo>
                  <a:pt x="20851" y="21546"/>
                  <a:pt x="20973" y="21600"/>
                  <a:pt x="21109" y="21600"/>
                </a:cubicBezTo>
                <a:cubicBezTo>
                  <a:pt x="21380" y="21600"/>
                  <a:pt x="21600" y="21381"/>
                  <a:pt x="21600" y="21109"/>
                </a:cubicBezTo>
                <a:cubicBezTo>
                  <a:pt x="21600" y="20974"/>
                  <a:pt x="21545" y="20851"/>
                  <a:pt x="21456" y="20762"/>
                </a:cubicBezTo>
              </a:path>
            </a:pathLst>
          </a:custGeom>
          <a:solidFill>
            <a:schemeClr val="accent1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endParaRPr>
              <a:solidFill>
                <a:prstClr val="black"/>
              </a:solidFill>
              <a:latin typeface="Arial" panose="020B0604020202020204" pitchFamily="34" charset="0"/>
              <a:ea typeface="微软雅黑" panose="020B0503020204020204" pitchFamily="34" charset="-122"/>
              <a:cs typeface="思源黑体 CN Regular" panose="020B0500000000000000" charset="-122"/>
              <a:sym typeface="Arial" panose="020B0604020202020204" pitchFamily="34" charset="0"/>
            </a:endParaRPr>
          </a:p>
        </p:txBody>
      </p:sp>
      <p:cxnSp>
        <p:nvCxnSpPr>
          <p:cNvPr id="20" name="Straight Connector 19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CxnSpPr/>
          <p:nvPr/>
        </p:nvCxnSpPr>
        <p:spPr>
          <a:xfrm>
            <a:off x="2496878" y="2796177"/>
            <a:ext cx="7198244" cy="0"/>
          </a:xfrm>
          <a:prstGeom prst="line">
            <a:avLst/>
          </a:prstGeom>
          <a:ln>
            <a:solidFill>
              <a:schemeClr val="tx1">
                <a:alpha val="2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CxnSpPr/>
          <p:nvPr/>
        </p:nvCxnSpPr>
        <p:spPr>
          <a:xfrm flipH="1">
            <a:off x="6106637" y="2603786"/>
            <a:ext cx="0" cy="192391"/>
          </a:xfrm>
          <a:prstGeom prst="line">
            <a:avLst/>
          </a:prstGeom>
          <a:ln>
            <a:solidFill>
              <a:schemeClr val="tx1">
                <a:alpha val="2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CxnSpPr/>
          <p:nvPr/>
        </p:nvCxnSpPr>
        <p:spPr>
          <a:xfrm flipH="1">
            <a:off x="2496878" y="2796177"/>
            <a:ext cx="0" cy="287079"/>
          </a:xfrm>
          <a:prstGeom prst="line">
            <a:avLst/>
          </a:prstGeom>
          <a:ln>
            <a:solidFill>
              <a:schemeClr val="tx1">
                <a:alpha val="2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CxnSpPr/>
          <p:nvPr/>
        </p:nvCxnSpPr>
        <p:spPr>
          <a:xfrm flipH="1">
            <a:off x="9695122" y="2796177"/>
            <a:ext cx="0" cy="287079"/>
          </a:xfrm>
          <a:prstGeom prst="line">
            <a:avLst/>
          </a:prstGeom>
          <a:ln>
            <a:solidFill>
              <a:schemeClr val="tx1">
                <a:alpha val="2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CxnSpPr/>
          <p:nvPr/>
        </p:nvCxnSpPr>
        <p:spPr>
          <a:xfrm flipH="1">
            <a:off x="7904417" y="2796177"/>
            <a:ext cx="0" cy="287079"/>
          </a:xfrm>
          <a:prstGeom prst="line">
            <a:avLst/>
          </a:prstGeom>
          <a:ln>
            <a:solidFill>
              <a:schemeClr val="tx1">
                <a:alpha val="2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CxnSpPr/>
          <p:nvPr/>
        </p:nvCxnSpPr>
        <p:spPr>
          <a:xfrm flipH="1">
            <a:off x="6106637" y="2796177"/>
            <a:ext cx="0" cy="287079"/>
          </a:xfrm>
          <a:prstGeom prst="line">
            <a:avLst/>
          </a:prstGeom>
          <a:ln>
            <a:solidFill>
              <a:schemeClr val="tx1">
                <a:alpha val="2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CxnSpPr/>
          <p:nvPr/>
        </p:nvCxnSpPr>
        <p:spPr>
          <a:xfrm flipH="1">
            <a:off x="4296438" y="2796177"/>
            <a:ext cx="0" cy="287079"/>
          </a:xfrm>
          <a:prstGeom prst="line">
            <a:avLst/>
          </a:prstGeom>
          <a:ln>
            <a:solidFill>
              <a:schemeClr val="tx1">
                <a:alpha val="2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CxnSpPr/>
          <p:nvPr/>
        </p:nvCxnSpPr>
        <p:spPr>
          <a:xfrm flipH="1">
            <a:off x="2496878" y="4231572"/>
            <a:ext cx="0" cy="287079"/>
          </a:xfrm>
          <a:prstGeom prst="line">
            <a:avLst/>
          </a:prstGeom>
          <a:ln>
            <a:solidFill>
              <a:schemeClr val="tx1">
                <a:alpha val="2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CxnSpPr/>
          <p:nvPr/>
        </p:nvCxnSpPr>
        <p:spPr>
          <a:xfrm flipH="1">
            <a:off x="4294661" y="4231572"/>
            <a:ext cx="0" cy="287079"/>
          </a:xfrm>
          <a:prstGeom prst="line">
            <a:avLst/>
          </a:prstGeom>
          <a:ln>
            <a:solidFill>
              <a:schemeClr val="tx1">
                <a:alpha val="2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CxnSpPr/>
          <p:nvPr/>
        </p:nvCxnSpPr>
        <p:spPr>
          <a:xfrm flipH="1">
            <a:off x="7894663" y="4231572"/>
            <a:ext cx="0" cy="287079"/>
          </a:xfrm>
          <a:prstGeom prst="line">
            <a:avLst/>
          </a:prstGeom>
          <a:ln>
            <a:solidFill>
              <a:schemeClr val="tx1">
                <a:alpha val="2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文本框 29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SpPr txBox="1"/>
          <p:nvPr/>
        </p:nvSpPr>
        <p:spPr>
          <a:xfrm>
            <a:off x="4494747" y="398732"/>
            <a:ext cx="3344762" cy="76944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4400" b="1"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rPr>
              <a:t>CONTENTS</a:t>
            </a:r>
            <a:endParaRPr lang="zh-CN" altLang="en-US" sz="4400" b="1">
              <a:latin typeface="Arial" panose="020B0604020202020204" pitchFamily="34" charset="0"/>
              <a:ea typeface="微软雅黑" panose="020B0503020204020204" pitchFamily="34" charset="-122"/>
              <a:cs typeface="思源黑体 CN Regular" panose="020B0500000000000000" charset="-122"/>
              <a:sym typeface="Arial" panose="020B0604020202020204" pitchFamily="34" charset="0"/>
            </a:endParaRPr>
          </a:p>
        </p:txBody>
      </p:sp>
      <p:sp>
        <p:nvSpPr>
          <p:cNvPr id="31" name="Text Placeholder 4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SpPr txBox="1"/>
          <p:nvPr/>
        </p:nvSpPr>
        <p:spPr>
          <a:xfrm>
            <a:off x="4546333" y="1083564"/>
            <a:ext cx="3099334" cy="304800"/>
          </a:xfrm>
          <a:prstGeom prst="rect">
            <a:avLst/>
          </a:prstGeom>
          <a:ln>
            <a:noFill/>
          </a:ln>
        </p:spPr>
        <p:txBody>
          <a:bodyPr/>
          <a:lstStyle>
            <a:lvl1pPr marL="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8800" b="0" kern="1200">
                <a:solidFill>
                  <a:schemeClr val="bg1"/>
                </a:solidFill>
                <a:latin typeface="Levenim MT" panose="02010502060101010101" pitchFamily="2" charset="-79"/>
                <a:ea typeface="Yu Gothic" panose="020B0400000000000000" pitchFamily="34" charset="-128"/>
                <a:cs typeface="Levenim MT" panose="02010502060101010101" pitchFamily="2" charset="-79"/>
              </a:defRPr>
            </a:lvl1pPr>
            <a:lvl2pPr marL="742950" indent="-28575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dist"/>
            <a:r>
              <a:rPr lang="en-US" sz="1200" b="1" spc="-30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等线" panose="02010600030101010101" charset="-122"/>
                <a:sym typeface="Arial" panose="020B0604020202020204" pitchFamily="34" charset="0"/>
              </a:rPr>
              <a:t>T     H     E               M     O     D     E     R     N               P     R    E     S     E    N     T     A     T     I     O     N</a:t>
            </a:r>
          </a:p>
        </p:txBody>
      </p:sp>
      <p:cxnSp>
        <p:nvCxnSpPr>
          <p:cNvPr id="32" name="Straight Connector 2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CxnSpPr/>
          <p:nvPr/>
        </p:nvCxnSpPr>
        <p:spPr>
          <a:xfrm>
            <a:off x="0" y="3952402"/>
            <a:ext cx="440274" cy="0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CxnSpPr/>
          <p:nvPr/>
        </p:nvCxnSpPr>
        <p:spPr>
          <a:xfrm>
            <a:off x="0" y="4217589"/>
            <a:ext cx="440274" cy="0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4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CxnSpPr/>
          <p:nvPr/>
        </p:nvCxnSpPr>
        <p:spPr>
          <a:xfrm>
            <a:off x="0" y="4482776"/>
            <a:ext cx="440274" cy="0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6" name="图片 35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36576" y="-18289"/>
            <a:ext cx="6132576" cy="3074309"/>
          </a:xfrm>
          <a:prstGeom prst="rect">
            <a:avLst/>
          </a:prstGeom>
        </p:spPr>
      </p:pic>
      <p:pic>
        <p:nvPicPr>
          <p:cNvPr id="37" name="图片 36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1064"/>
          <a:stretch>
            <a:fillRect/>
          </a:stretch>
        </p:blipFill>
        <p:spPr>
          <a:xfrm flipV="1">
            <a:off x="7827264" y="-36578"/>
            <a:ext cx="4389120" cy="2688335"/>
          </a:xfrm>
          <a:prstGeom prst="rect">
            <a:avLst/>
          </a:prstGeom>
        </p:spPr>
      </p:pic>
      <p:sp>
        <p:nvSpPr>
          <p:cNvPr id="40" name="矩形 39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SpPr/>
          <p:nvPr/>
        </p:nvSpPr>
        <p:spPr>
          <a:xfrm>
            <a:off x="2324390" y="6033955"/>
            <a:ext cx="7715721" cy="44375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600">
              <a:latin typeface="Arial" panose="020B0604020202020204" pitchFamily="34" charset="0"/>
              <a:ea typeface="微软雅黑" panose="020B0503020204020204" pitchFamily="34" charset="-122"/>
              <a:cs typeface="思源黑体 CN Regular" panose="020B0500000000000000" charset="-122"/>
              <a:sym typeface="Arial" panose="020B0604020202020204" pitchFamily="34" charset="0"/>
            </a:endParaRPr>
          </a:p>
        </p:txBody>
      </p:sp>
      <p:sp>
        <p:nvSpPr>
          <p:cNvPr id="41" name="矩形 40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SpPr/>
          <p:nvPr/>
        </p:nvSpPr>
        <p:spPr>
          <a:xfrm>
            <a:off x="1869861" y="6033955"/>
            <a:ext cx="931653" cy="443753"/>
          </a:xfrm>
          <a:prstGeom prst="rect">
            <a:avLst/>
          </a:prstGeom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600">
              <a:latin typeface="Arial" panose="020B0604020202020204" pitchFamily="34" charset="0"/>
              <a:ea typeface="微软雅黑" panose="020B0503020204020204" pitchFamily="34" charset="-122"/>
              <a:cs typeface="思源黑体 CN Regular" panose="020B0500000000000000" charset="-122"/>
              <a:sym typeface="Arial" panose="020B0604020202020204" pitchFamily="34" charset="0"/>
            </a:endParaRPr>
          </a:p>
        </p:txBody>
      </p:sp>
      <p:sp>
        <p:nvSpPr>
          <p:cNvPr id="42" name="文本框 41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SpPr txBox="1"/>
          <p:nvPr/>
        </p:nvSpPr>
        <p:spPr>
          <a:xfrm>
            <a:off x="3238186" y="6068266"/>
            <a:ext cx="551750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1600" dirty="0"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rPr>
              <a:t>https://www.freeppt7.com</a:t>
            </a:r>
            <a:endParaRPr lang="zh-CN" altLang="en-US" sz="1600" dirty="0">
              <a:latin typeface="Arial" panose="020B0604020202020204" pitchFamily="34" charset="0"/>
              <a:ea typeface="微软雅黑" panose="020B0503020204020204" pitchFamily="34" charset="-122"/>
              <a:cs typeface="思源黑体 CN Regular" panose="020B0500000000000000" charset="-122"/>
              <a:sym typeface="Arial" panose="020B0604020202020204" pitchFamily="34" charset="0"/>
            </a:endParaRPr>
          </a:p>
        </p:txBody>
      </p:sp>
      <p:sp>
        <p:nvSpPr>
          <p:cNvPr id="43" name="文本框 42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SpPr txBox="1"/>
          <p:nvPr/>
        </p:nvSpPr>
        <p:spPr>
          <a:xfrm>
            <a:off x="1913109" y="6086554"/>
            <a:ext cx="729687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1600">
                <a:solidFill>
                  <a:schemeClr val="bg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rPr>
              <a:t>NEXT</a:t>
            </a:r>
            <a:endParaRPr lang="zh-CN" altLang="en-US" sz="1600">
              <a:solidFill>
                <a:schemeClr val="bg1"/>
              </a:solidFill>
              <a:latin typeface="Arial" panose="020B0604020202020204" pitchFamily="34" charset="0"/>
              <a:ea typeface="微软雅黑" panose="020B0503020204020204" pitchFamily="34" charset="-122"/>
              <a:cs typeface="思源黑体 CN Regular" panose="020B0500000000000000" charset="-122"/>
              <a:sym typeface="Arial" panose="020B0604020202020204" pitchFamily="34" charset="0"/>
            </a:endParaRPr>
          </a:p>
        </p:txBody>
      </p:sp>
      <p:sp>
        <p:nvSpPr>
          <p:cNvPr id="44" name="TextBox 9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SpPr txBox="1"/>
          <p:nvPr/>
        </p:nvSpPr>
        <p:spPr>
          <a:xfrm>
            <a:off x="9325995" y="5358873"/>
            <a:ext cx="735779" cy="14773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lnSpc>
                <a:spcPct val="80000"/>
              </a:lnSpc>
            </a:pPr>
            <a:r>
              <a:rPr lang="en-US" sz="1200" b="1" spc="200"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rPr>
              <a:t>SOCIAL</a:t>
            </a:r>
          </a:p>
        </p:txBody>
      </p:sp>
      <p:cxnSp>
        <p:nvCxnSpPr>
          <p:cNvPr id="46" name="Straight Connector 28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CxnSpPr/>
          <p:nvPr/>
        </p:nvCxnSpPr>
        <p:spPr>
          <a:xfrm flipH="1">
            <a:off x="9692983" y="4274244"/>
            <a:ext cx="0" cy="287079"/>
          </a:xfrm>
          <a:prstGeom prst="line">
            <a:avLst/>
          </a:prstGeom>
          <a:ln>
            <a:solidFill>
              <a:schemeClr val="tx1">
                <a:alpha val="2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Shape 3890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SpPr/>
          <p:nvPr/>
        </p:nvSpPr>
        <p:spPr>
          <a:xfrm>
            <a:off x="9532084" y="4820618"/>
            <a:ext cx="343436" cy="34329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2375" y="14735"/>
                </a:moveTo>
                <a:cubicBezTo>
                  <a:pt x="12008" y="15178"/>
                  <a:pt x="11621" y="15531"/>
                  <a:pt x="11226" y="15783"/>
                </a:cubicBezTo>
                <a:cubicBezTo>
                  <a:pt x="10834" y="16036"/>
                  <a:pt x="10421" y="16209"/>
                  <a:pt x="10002" y="16302"/>
                </a:cubicBezTo>
                <a:cubicBezTo>
                  <a:pt x="9027" y="16518"/>
                  <a:pt x="8105" y="16493"/>
                  <a:pt x="7342" y="16179"/>
                </a:cubicBezTo>
                <a:cubicBezTo>
                  <a:pt x="6912" y="16003"/>
                  <a:pt x="6537" y="15756"/>
                  <a:pt x="6227" y="15442"/>
                </a:cubicBezTo>
                <a:cubicBezTo>
                  <a:pt x="5915" y="15129"/>
                  <a:pt x="5669" y="14758"/>
                  <a:pt x="5493" y="14341"/>
                </a:cubicBezTo>
                <a:cubicBezTo>
                  <a:pt x="5317" y="13924"/>
                  <a:pt x="5228" y="13459"/>
                  <a:pt x="5228" y="12958"/>
                </a:cubicBezTo>
                <a:cubicBezTo>
                  <a:pt x="5228" y="12161"/>
                  <a:pt x="5386" y="11302"/>
                  <a:pt x="5698" y="10406"/>
                </a:cubicBezTo>
                <a:cubicBezTo>
                  <a:pt x="6010" y="9509"/>
                  <a:pt x="6454" y="8665"/>
                  <a:pt x="7018" y="7900"/>
                </a:cubicBezTo>
                <a:cubicBezTo>
                  <a:pt x="7579" y="7140"/>
                  <a:pt x="8265" y="6498"/>
                  <a:pt x="9058" y="5994"/>
                </a:cubicBezTo>
                <a:cubicBezTo>
                  <a:pt x="9839" y="5496"/>
                  <a:pt x="10706" y="5245"/>
                  <a:pt x="11636" y="5245"/>
                </a:cubicBezTo>
                <a:cubicBezTo>
                  <a:pt x="12014" y="5245"/>
                  <a:pt x="12413" y="5288"/>
                  <a:pt x="12821" y="5373"/>
                </a:cubicBezTo>
                <a:cubicBezTo>
                  <a:pt x="13224" y="5457"/>
                  <a:pt x="13613" y="5599"/>
                  <a:pt x="13978" y="5795"/>
                </a:cubicBezTo>
                <a:cubicBezTo>
                  <a:pt x="14337" y="5989"/>
                  <a:pt x="14658" y="6246"/>
                  <a:pt x="14931" y="6561"/>
                </a:cubicBezTo>
                <a:cubicBezTo>
                  <a:pt x="15189" y="6859"/>
                  <a:pt x="15389" y="7238"/>
                  <a:pt x="15526" y="7693"/>
                </a:cubicBezTo>
                <a:lnTo>
                  <a:pt x="13353" y="13035"/>
                </a:lnTo>
                <a:cubicBezTo>
                  <a:pt x="13072" y="13720"/>
                  <a:pt x="12743" y="14292"/>
                  <a:pt x="12375" y="14735"/>
                </a:cubicBezTo>
                <a:moveTo>
                  <a:pt x="20215" y="16108"/>
                </a:moveTo>
                <a:cubicBezTo>
                  <a:pt x="19749" y="16741"/>
                  <a:pt x="19196" y="17344"/>
                  <a:pt x="18569" y="17900"/>
                </a:cubicBezTo>
                <a:cubicBezTo>
                  <a:pt x="17943" y="18456"/>
                  <a:pt x="17242" y="18946"/>
                  <a:pt x="16484" y="19359"/>
                </a:cubicBezTo>
                <a:cubicBezTo>
                  <a:pt x="15729" y="19771"/>
                  <a:pt x="14914" y="20096"/>
                  <a:pt x="14064" y="20327"/>
                </a:cubicBezTo>
                <a:cubicBezTo>
                  <a:pt x="13217" y="20556"/>
                  <a:pt x="12316" y="20673"/>
                  <a:pt x="11388" y="20673"/>
                </a:cubicBezTo>
                <a:cubicBezTo>
                  <a:pt x="9991" y="20673"/>
                  <a:pt x="8647" y="20458"/>
                  <a:pt x="7393" y="20036"/>
                </a:cubicBezTo>
                <a:cubicBezTo>
                  <a:pt x="6143" y="19615"/>
                  <a:pt x="5029" y="18981"/>
                  <a:pt x="4083" y="18149"/>
                </a:cubicBezTo>
                <a:cubicBezTo>
                  <a:pt x="3138" y="17320"/>
                  <a:pt x="2378" y="16274"/>
                  <a:pt x="1823" y="15041"/>
                </a:cubicBezTo>
                <a:cubicBezTo>
                  <a:pt x="1269" y="13809"/>
                  <a:pt x="989" y="12358"/>
                  <a:pt x="989" y="10727"/>
                </a:cubicBezTo>
                <a:cubicBezTo>
                  <a:pt x="989" y="9370"/>
                  <a:pt x="1254" y="8086"/>
                  <a:pt x="1777" y="6911"/>
                </a:cubicBezTo>
                <a:cubicBezTo>
                  <a:pt x="2301" y="5736"/>
                  <a:pt x="3037" y="4693"/>
                  <a:pt x="3964" y="3814"/>
                </a:cubicBezTo>
                <a:cubicBezTo>
                  <a:pt x="4892" y="2934"/>
                  <a:pt x="6002" y="2230"/>
                  <a:pt x="7264" y="1723"/>
                </a:cubicBezTo>
                <a:cubicBezTo>
                  <a:pt x="8526" y="1215"/>
                  <a:pt x="9914" y="958"/>
                  <a:pt x="11388" y="958"/>
                </a:cubicBezTo>
                <a:cubicBezTo>
                  <a:pt x="12700" y="958"/>
                  <a:pt x="13940" y="1156"/>
                  <a:pt x="15072" y="1549"/>
                </a:cubicBezTo>
                <a:cubicBezTo>
                  <a:pt x="16200" y="1942"/>
                  <a:pt x="17185" y="2497"/>
                  <a:pt x="17998" y="3203"/>
                </a:cubicBezTo>
                <a:cubicBezTo>
                  <a:pt x="18809" y="3906"/>
                  <a:pt x="19455" y="4765"/>
                  <a:pt x="19917" y="5754"/>
                </a:cubicBezTo>
                <a:cubicBezTo>
                  <a:pt x="20377" y="6743"/>
                  <a:pt x="20611" y="7843"/>
                  <a:pt x="20611" y="9023"/>
                </a:cubicBezTo>
                <a:cubicBezTo>
                  <a:pt x="20611" y="10070"/>
                  <a:pt x="20418" y="11059"/>
                  <a:pt x="20038" y="11962"/>
                </a:cubicBezTo>
                <a:cubicBezTo>
                  <a:pt x="19656" y="12869"/>
                  <a:pt x="19171" y="13663"/>
                  <a:pt x="18598" y="14320"/>
                </a:cubicBezTo>
                <a:cubicBezTo>
                  <a:pt x="18028" y="14976"/>
                  <a:pt x="17393" y="15502"/>
                  <a:pt x="16714" y="15880"/>
                </a:cubicBezTo>
                <a:cubicBezTo>
                  <a:pt x="16044" y="16255"/>
                  <a:pt x="15398" y="16444"/>
                  <a:pt x="14792" y="16444"/>
                </a:cubicBezTo>
                <a:cubicBezTo>
                  <a:pt x="14424" y="16444"/>
                  <a:pt x="14151" y="16374"/>
                  <a:pt x="13980" y="16235"/>
                </a:cubicBezTo>
                <a:cubicBezTo>
                  <a:pt x="13810" y="16098"/>
                  <a:pt x="13710" y="15916"/>
                  <a:pt x="13675" y="15677"/>
                </a:cubicBezTo>
                <a:cubicBezTo>
                  <a:pt x="13638" y="15420"/>
                  <a:pt x="13667" y="15109"/>
                  <a:pt x="13764" y="14754"/>
                </a:cubicBezTo>
                <a:cubicBezTo>
                  <a:pt x="13864" y="14385"/>
                  <a:pt x="14007" y="13983"/>
                  <a:pt x="14190" y="13556"/>
                </a:cubicBezTo>
                <a:lnTo>
                  <a:pt x="17729" y="4845"/>
                </a:lnTo>
                <a:lnTo>
                  <a:pt x="16677" y="4845"/>
                </a:lnTo>
                <a:lnTo>
                  <a:pt x="16026" y="6544"/>
                </a:lnTo>
                <a:cubicBezTo>
                  <a:pt x="15715" y="5890"/>
                  <a:pt x="15207" y="5363"/>
                  <a:pt x="14512" y="4972"/>
                </a:cubicBezTo>
                <a:cubicBezTo>
                  <a:pt x="13703" y="4517"/>
                  <a:pt x="12777" y="4287"/>
                  <a:pt x="11759" y="4287"/>
                </a:cubicBezTo>
                <a:cubicBezTo>
                  <a:pt x="10637" y="4287"/>
                  <a:pt x="9596" y="4568"/>
                  <a:pt x="8663" y="5121"/>
                </a:cubicBezTo>
                <a:cubicBezTo>
                  <a:pt x="7739" y="5669"/>
                  <a:pt x="6940" y="6381"/>
                  <a:pt x="6289" y="7238"/>
                </a:cubicBezTo>
                <a:cubicBezTo>
                  <a:pt x="5641" y="8092"/>
                  <a:pt x="5132" y="9032"/>
                  <a:pt x="4777" y="10034"/>
                </a:cubicBezTo>
                <a:cubicBezTo>
                  <a:pt x="4420" y="11038"/>
                  <a:pt x="4240" y="12021"/>
                  <a:pt x="4240" y="12958"/>
                </a:cubicBezTo>
                <a:cubicBezTo>
                  <a:pt x="4240" y="13568"/>
                  <a:pt x="4354" y="14151"/>
                  <a:pt x="4579" y="14690"/>
                </a:cubicBezTo>
                <a:cubicBezTo>
                  <a:pt x="4804" y="15227"/>
                  <a:pt x="5113" y="15701"/>
                  <a:pt x="5499" y="16097"/>
                </a:cubicBezTo>
                <a:cubicBezTo>
                  <a:pt x="5887" y="16496"/>
                  <a:pt x="6354" y="16816"/>
                  <a:pt x="6889" y="17048"/>
                </a:cubicBezTo>
                <a:cubicBezTo>
                  <a:pt x="8063" y="17561"/>
                  <a:pt x="9489" y="17484"/>
                  <a:pt x="10904" y="17025"/>
                </a:cubicBezTo>
                <a:cubicBezTo>
                  <a:pt x="11562" y="16811"/>
                  <a:pt x="12160" y="16412"/>
                  <a:pt x="12689" y="15835"/>
                </a:cubicBezTo>
                <a:cubicBezTo>
                  <a:pt x="12715" y="16226"/>
                  <a:pt x="12874" y="16561"/>
                  <a:pt x="13164" y="16837"/>
                </a:cubicBezTo>
                <a:cubicBezTo>
                  <a:pt x="13559" y="17211"/>
                  <a:pt x="14086" y="17402"/>
                  <a:pt x="14731" y="17402"/>
                </a:cubicBezTo>
                <a:cubicBezTo>
                  <a:pt x="15501" y="17402"/>
                  <a:pt x="16307" y="17176"/>
                  <a:pt x="17124" y="16734"/>
                </a:cubicBezTo>
                <a:cubicBezTo>
                  <a:pt x="17934" y="16294"/>
                  <a:pt x="18680" y="15688"/>
                  <a:pt x="19342" y="14930"/>
                </a:cubicBezTo>
                <a:cubicBezTo>
                  <a:pt x="20001" y="14176"/>
                  <a:pt x="20548" y="13284"/>
                  <a:pt x="20967" y="12281"/>
                </a:cubicBezTo>
                <a:cubicBezTo>
                  <a:pt x="21387" y="11275"/>
                  <a:pt x="21600" y="10179"/>
                  <a:pt x="21600" y="9023"/>
                </a:cubicBezTo>
                <a:cubicBezTo>
                  <a:pt x="21600" y="7651"/>
                  <a:pt x="21328" y="6389"/>
                  <a:pt x="20793" y="5274"/>
                </a:cubicBezTo>
                <a:cubicBezTo>
                  <a:pt x="20258" y="4159"/>
                  <a:pt x="19518" y="3199"/>
                  <a:pt x="18594" y="2423"/>
                </a:cubicBezTo>
                <a:cubicBezTo>
                  <a:pt x="17672" y="1647"/>
                  <a:pt x="16579" y="1043"/>
                  <a:pt x="15346" y="627"/>
                </a:cubicBezTo>
                <a:cubicBezTo>
                  <a:pt x="14116" y="211"/>
                  <a:pt x="12784" y="0"/>
                  <a:pt x="11388" y="0"/>
                </a:cubicBezTo>
                <a:cubicBezTo>
                  <a:pt x="9845" y="0"/>
                  <a:pt x="8365" y="271"/>
                  <a:pt x="6989" y="805"/>
                </a:cubicBezTo>
                <a:cubicBezTo>
                  <a:pt x="5612" y="1340"/>
                  <a:pt x="4389" y="2093"/>
                  <a:pt x="3356" y="3045"/>
                </a:cubicBezTo>
                <a:cubicBezTo>
                  <a:pt x="2321" y="3996"/>
                  <a:pt x="1495" y="5138"/>
                  <a:pt x="899" y="6436"/>
                </a:cubicBezTo>
                <a:cubicBezTo>
                  <a:pt x="302" y="7737"/>
                  <a:pt x="0" y="9181"/>
                  <a:pt x="0" y="10727"/>
                </a:cubicBezTo>
                <a:cubicBezTo>
                  <a:pt x="0" y="12605"/>
                  <a:pt x="334" y="14252"/>
                  <a:pt x="993" y="15622"/>
                </a:cubicBezTo>
                <a:cubicBezTo>
                  <a:pt x="1652" y="16992"/>
                  <a:pt x="2528" y="18134"/>
                  <a:pt x="3595" y="19018"/>
                </a:cubicBezTo>
                <a:cubicBezTo>
                  <a:pt x="4661" y="19900"/>
                  <a:pt x="5890" y="20559"/>
                  <a:pt x="7249" y="20975"/>
                </a:cubicBezTo>
                <a:cubicBezTo>
                  <a:pt x="8601" y="21390"/>
                  <a:pt x="9994" y="21600"/>
                  <a:pt x="11388" y="21600"/>
                </a:cubicBezTo>
                <a:cubicBezTo>
                  <a:pt x="12348" y="21600"/>
                  <a:pt x="13317" y="21474"/>
                  <a:pt x="14267" y="21228"/>
                </a:cubicBezTo>
                <a:cubicBezTo>
                  <a:pt x="15214" y="20981"/>
                  <a:pt x="16128" y="20624"/>
                  <a:pt x="16983" y="20169"/>
                </a:cubicBezTo>
                <a:cubicBezTo>
                  <a:pt x="17839" y="19713"/>
                  <a:pt x="18642" y="19152"/>
                  <a:pt x="19372" y="18499"/>
                </a:cubicBezTo>
                <a:cubicBezTo>
                  <a:pt x="20104" y="17845"/>
                  <a:pt x="20729" y="17110"/>
                  <a:pt x="21232" y="16316"/>
                </a:cubicBezTo>
                <a:lnTo>
                  <a:pt x="21411" y="16033"/>
                </a:lnTo>
                <a:lnTo>
                  <a:pt x="20270" y="16033"/>
                </a:lnTo>
                <a:cubicBezTo>
                  <a:pt x="20270" y="16033"/>
                  <a:pt x="20215" y="16108"/>
                  <a:pt x="20215" y="16108"/>
                </a:cubicBezTo>
                <a:close/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endParaRPr>
              <a:solidFill>
                <a:prstClr val="black"/>
              </a:solidFill>
              <a:latin typeface="Arial" panose="020B0604020202020204" pitchFamily="34" charset="0"/>
              <a:ea typeface="微软雅黑" panose="020B0503020204020204" pitchFamily="34" charset="-122"/>
              <a:cs typeface="思源黑体 CN Regular" panose="020B0500000000000000" charset="-122"/>
              <a:sym typeface="Arial" panose="020B0604020202020204" pitchFamily="34" charset="0"/>
            </a:endParaRPr>
          </a:p>
        </p:txBody>
      </p:sp>
      <p:sp>
        <p:nvSpPr>
          <p:cNvPr id="48" name="TextBox 9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SpPr txBox="1"/>
          <p:nvPr/>
        </p:nvSpPr>
        <p:spPr>
          <a:xfrm>
            <a:off x="5353109" y="5395449"/>
            <a:ext cx="1487587" cy="14773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lnSpc>
                <a:spcPct val="80000"/>
              </a:lnSpc>
            </a:pPr>
            <a:r>
              <a:rPr lang="en-US" sz="1200" b="1" spc="200"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rPr>
              <a:t>INTRODUCTION</a:t>
            </a:r>
          </a:p>
        </p:txBody>
      </p:sp>
      <p:cxnSp>
        <p:nvCxnSpPr>
          <p:cNvPr id="50" name="Straight Connector 28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CxnSpPr/>
          <p:nvPr/>
        </p:nvCxnSpPr>
        <p:spPr>
          <a:xfrm flipH="1">
            <a:off x="6096000" y="4255956"/>
            <a:ext cx="0" cy="287079"/>
          </a:xfrm>
          <a:prstGeom prst="line">
            <a:avLst/>
          </a:prstGeom>
          <a:ln>
            <a:solidFill>
              <a:schemeClr val="tx1">
                <a:alpha val="2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Shape 3706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SpPr/>
          <p:nvPr/>
        </p:nvSpPr>
        <p:spPr>
          <a:xfrm>
            <a:off x="5930010" y="4872074"/>
            <a:ext cx="342774" cy="34277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2144" y="18334"/>
                </a:moveTo>
                <a:lnTo>
                  <a:pt x="15583" y="6873"/>
                </a:lnTo>
                <a:lnTo>
                  <a:pt x="20168" y="6873"/>
                </a:lnTo>
                <a:cubicBezTo>
                  <a:pt x="20168" y="6873"/>
                  <a:pt x="12144" y="18334"/>
                  <a:pt x="12144" y="18334"/>
                </a:cubicBezTo>
                <a:close/>
                <a:moveTo>
                  <a:pt x="10800" y="19402"/>
                </a:moveTo>
                <a:lnTo>
                  <a:pt x="7041" y="6873"/>
                </a:lnTo>
                <a:lnTo>
                  <a:pt x="14559" y="6873"/>
                </a:lnTo>
                <a:cubicBezTo>
                  <a:pt x="14559" y="6873"/>
                  <a:pt x="10800" y="19402"/>
                  <a:pt x="10800" y="19402"/>
                </a:cubicBezTo>
                <a:close/>
                <a:moveTo>
                  <a:pt x="1432" y="6873"/>
                </a:moveTo>
                <a:lnTo>
                  <a:pt x="6017" y="6873"/>
                </a:lnTo>
                <a:lnTo>
                  <a:pt x="9456" y="18334"/>
                </a:lnTo>
                <a:cubicBezTo>
                  <a:pt x="9456" y="18334"/>
                  <a:pt x="1432" y="6873"/>
                  <a:pt x="1432" y="6873"/>
                </a:cubicBezTo>
                <a:close/>
                <a:moveTo>
                  <a:pt x="6578" y="982"/>
                </a:moveTo>
                <a:lnTo>
                  <a:pt x="8536" y="982"/>
                </a:lnTo>
                <a:lnTo>
                  <a:pt x="6082" y="5891"/>
                </a:lnTo>
                <a:lnTo>
                  <a:pt x="1669" y="5891"/>
                </a:lnTo>
                <a:cubicBezTo>
                  <a:pt x="1669" y="5891"/>
                  <a:pt x="6578" y="982"/>
                  <a:pt x="6578" y="982"/>
                </a:cubicBezTo>
                <a:close/>
                <a:moveTo>
                  <a:pt x="11973" y="982"/>
                </a:moveTo>
                <a:lnTo>
                  <a:pt x="14427" y="5891"/>
                </a:lnTo>
                <a:lnTo>
                  <a:pt x="7173" y="5891"/>
                </a:lnTo>
                <a:lnTo>
                  <a:pt x="9627" y="982"/>
                </a:lnTo>
                <a:cubicBezTo>
                  <a:pt x="9627" y="982"/>
                  <a:pt x="11973" y="982"/>
                  <a:pt x="11973" y="982"/>
                </a:cubicBezTo>
                <a:close/>
                <a:moveTo>
                  <a:pt x="15022" y="982"/>
                </a:moveTo>
                <a:lnTo>
                  <a:pt x="19931" y="5891"/>
                </a:lnTo>
                <a:lnTo>
                  <a:pt x="15518" y="5891"/>
                </a:lnTo>
                <a:lnTo>
                  <a:pt x="13064" y="982"/>
                </a:lnTo>
                <a:cubicBezTo>
                  <a:pt x="13064" y="982"/>
                  <a:pt x="15022" y="982"/>
                  <a:pt x="15022" y="982"/>
                </a:cubicBezTo>
                <a:close/>
                <a:moveTo>
                  <a:pt x="21600" y="6382"/>
                </a:moveTo>
                <a:cubicBezTo>
                  <a:pt x="21600" y="6272"/>
                  <a:pt x="21557" y="6175"/>
                  <a:pt x="21495" y="6093"/>
                </a:cubicBezTo>
                <a:lnTo>
                  <a:pt x="21502" y="6087"/>
                </a:lnTo>
                <a:lnTo>
                  <a:pt x="21471" y="6057"/>
                </a:lnTo>
                <a:cubicBezTo>
                  <a:pt x="21459" y="6043"/>
                  <a:pt x="21448" y="6032"/>
                  <a:pt x="21434" y="6020"/>
                </a:cubicBezTo>
                <a:lnTo>
                  <a:pt x="15611" y="197"/>
                </a:lnTo>
                <a:lnTo>
                  <a:pt x="15604" y="201"/>
                </a:lnTo>
                <a:cubicBezTo>
                  <a:pt x="15514" y="82"/>
                  <a:pt x="15379" y="0"/>
                  <a:pt x="15218" y="0"/>
                </a:cubicBezTo>
                <a:lnTo>
                  <a:pt x="6382" y="0"/>
                </a:lnTo>
                <a:cubicBezTo>
                  <a:pt x="6221" y="0"/>
                  <a:pt x="6086" y="82"/>
                  <a:pt x="5996" y="201"/>
                </a:cubicBezTo>
                <a:lnTo>
                  <a:pt x="5989" y="197"/>
                </a:lnTo>
                <a:lnTo>
                  <a:pt x="166" y="6020"/>
                </a:lnTo>
                <a:cubicBezTo>
                  <a:pt x="152" y="6032"/>
                  <a:pt x="141" y="6043"/>
                  <a:pt x="129" y="6057"/>
                </a:cubicBezTo>
                <a:lnTo>
                  <a:pt x="98" y="6087"/>
                </a:lnTo>
                <a:lnTo>
                  <a:pt x="105" y="6093"/>
                </a:lnTo>
                <a:cubicBezTo>
                  <a:pt x="43" y="6175"/>
                  <a:pt x="0" y="6272"/>
                  <a:pt x="0" y="6382"/>
                </a:cubicBezTo>
                <a:cubicBezTo>
                  <a:pt x="0" y="6499"/>
                  <a:pt x="46" y="6601"/>
                  <a:pt x="115" y="6686"/>
                </a:cubicBezTo>
                <a:lnTo>
                  <a:pt x="109" y="6691"/>
                </a:lnTo>
                <a:lnTo>
                  <a:pt x="10418" y="21418"/>
                </a:lnTo>
                <a:lnTo>
                  <a:pt x="10424" y="21413"/>
                </a:lnTo>
                <a:cubicBezTo>
                  <a:pt x="10514" y="21525"/>
                  <a:pt x="10646" y="21600"/>
                  <a:pt x="10800" y="21600"/>
                </a:cubicBezTo>
                <a:cubicBezTo>
                  <a:pt x="10954" y="21600"/>
                  <a:pt x="11086" y="21525"/>
                  <a:pt x="11176" y="21413"/>
                </a:cubicBezTo>
                <a:lnTo>
                  <a:pt x="11182" y="21418"/>
                </a:lnTo>
                <a:lnTo>
                  <a:pt x="21491" y="6691"/>
                </a:lnTo>
                <a:lnTo>
                  <a:pt x="21485" y="6686"/>
                </a:lnTo>
                <a:cubicBezTo>
                  <a:pt x="21553" y="6601"/>
                  <a:pt x="21600" y="6499"/>
                  <a:pt x="21600" y="6382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endParaRPr>
              <a:solidFill>
                <a:prstClr val="black"/>
              </a:solidFill>
              <a:latin typeface="Arial" panose="020B0604020202020204" pitchFamily="34" charset="0"/>
              <a:ea typeface="微软雅黑" panose="020B0503020204020204" pitchFamily="34" charset="-122"/>
              <a:cs typeface="思源黑体 CN Regular" panose="020B0500000000000000" charset="-122"/>
              <a:sym typeface="Arial" panose="020B0604020202020204" pitchFamily="34" charset="0"/>
            </a:endParaRPr>
          </a:p>
        </p:txBody>
      </p:sp>
      <p:sp>
        <p:nvSpPr>
          <p:cNvPr id="52" name="e7d195523061f1c0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 hidden="1"/>
          <p:cNvSpPr txBox="1"/>
          <p:nvPr/>
        </p:nvSpPr>
        <p:spPr>
          <a:xfrm>
            <a:off x="-355600" y="1803400"/>
            <a:ext cx="284693" cy="1016000"/>
          </a:xfrm>
          <a:prstGeom prst="rect">
            <a:avLst/>
          </a:prstGeom>
          <a:noFill/>
        </p:spPr>
        <p:txBody>
          <a:bodyPr vert="wordArtVert" rtlCol="0">
            <a:spAutoFit/>
          </a:bodyPr>
          <a:lstStyle/>
          <a:p>
            <a:r>
              <a:rPr lang="en-US" altLang="zh-CN" sz="100"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rPr>
              <a:t>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</a:t>
            </a:r>
            <a:endParaRPr lang="zh-CN" altLang="en-US" sz="100">
              <a:latin typeface="Arial" panose="020B0604020202020204" pitchFamily="34" charset="0"/>
              <a:ea typeface="微软雅黑" panose="020B0503020204020204" pitchFamily="34" charset="-122"/>
              <a:cs typeface="思源黑体 CN Regular" panose="020B0500000000000000" charset="-122"/>
              <a:sym typeface="Arial" panose="020B0604020202020204" pitchFamily="34" charset="0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random/>
      </p:transition>
    </mc:Choice>
    <mc:Fallback xmlns:p159="http://schemas.microsoft.com/office/powerpoint/2015/09/main" xmlns:p15="http://schemas.microsoft.com/office/powerpoint/2012/main" xmlns:a14="http://schemas.microsoft.com/office/drawing/2010/main" xmlns:wp="http://schemas.openxmlformats.org/drawingml/2006/wordprocessingDrawing" xmlns:w="http://schemas.openxmlformats.org/wordprocessingml/2006/main" xmlns:m="http://schemas.openxmlformats.org/officeDocument/2006/math" xmlns="">
      <p:transition spd="slow">
        <p:random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dur="5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53" presetClass="entr" presetSubtype="16" dur="5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 nodeType="clickPar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0" presetClass="entr" presetSubtype="0" dur="50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dur="5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 nodeType="clickPar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dur="50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dur="5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10" presetClass="entr" presetSubtype="0" dur="5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dur="5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10" presetClass="entr" presetSubtype="0" dur="5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10" presetClass="entr" presetSubtype="0" dur="5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" presetID="10" presetClass="entr" presetSubtype="0" dur="5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6" presetID="10" presetClass="entr" presetSubtype="0" dur="5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8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9" presetID="10" presetClass="entr" presetSubtype="0" dur="5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1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2" presetID="10" presetClass="entr" presetSubtype="0" dur="5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4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5" presetID="10" presetClass="entr" presetSubtype="0" dur="5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8" presetID="10" presetClass="entr" presetSubtype="0" dur="5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0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1" presetID="10" presetClass="entr" presetSubtype="0" dur="5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3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4" presetID="10" presetClass="entr" presetSubtype="0" dur="5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6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7" presetID="10" presetClass="entr" presetSubtype="0" dur="5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9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0" presetID="10" presetClass="entr" presetSubtype="0" dur="5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2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3" presetID="10" presetClass="entr" presetSubtype="0" dur="5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5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6" presetID="10" presetClass="entr" presetSubtype="0" dur="5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8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9" presetID="10" presetClass="entr" presetSubtype="0" dur="5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1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2" presetID="10" presetClass="entr" presetSubtype="0" dur="5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4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5" presetID="10" presetClass="entr" presetSubtype="0" dur="5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7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8" presetID="10" presetClass="entr" presetSubtype="0" dur="5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0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1" presetID="10" presetClass="entr" presetSubtype="0" dur="5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3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4" presetID="10" presetClass="entr" presetSubtype="0" dur="5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6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7" presetID="10" presetClass="entr" presetSubtype="0" dur="5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9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0" presetID="10" presetClass="entr" presetSubtype="0" dur="5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2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3" presetID="10" presetClass="entr" presetSubtype="0" dur="5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5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6" presetID="10" presetClass="entr" presetSubtype="0" dur="5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8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9" presetID="10" presetClass="entr" presetSubtype="0" dur="5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1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2" presetID="10" presetClass="entr" presetSubtype="0" dur="5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4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5" presetID="10" presetClass="entr" presetSubtype="0" dur="5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7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8" presetID="10" presetClass="entr" presetSubtype="0" dur="5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0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1" presetID="10" presetClass="entr" presetSubtype="0" dur="5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3" dur="5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4" presetID="10" presetClass="entr" presetSubtype="0" dur="5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6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7" presetID="10" presetClass="entr" presetSubtype="0" dur="5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9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0" presetID="10" presetClass="entr" presetSubtype="0" dur="5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2" dur="5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3" presetID="10" presetClass="entr" presetSubtype="0" dur="5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5" dur="5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6" fill="hold" nodeType="clickPar">
                      <p:stCondLst>
                        <p:cond delay="indefinite"/>
                      </p:stCondLst>
                      <p:childTnLst>
                        <p:par>
                          <p:cTn id="137" fill="hold">
                            <p:stCondLst>
                              <p:cond delay="0"/>
                            </p:stCondLst>
                            <p:childTnLst>
                              <p:par>
                                <p:cTn id="138" presetID="2" presetClass="entr" presetSubtype="4" dur="50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40" dur="5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1" dur="5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42" presetID="2" presetClass="entr" presetSubtype="4" dur="5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44" dur="5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5" dur="5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46" presetID="2" presetClass="entr" presetSubtype="4" dur="5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48" dur="5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9" dur="5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0" presetID="2" presetClass="entr" presetSubtype="4" dur="5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2" dur="5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53" dur="5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3" grpId="0"/>
      <p:bldP spid="4" grpId="0"/>
      <p:bldP spid="5" grpId="0"/>
      <p:bldP spid="6" grpId="0"/>
      <p:bldP spid="7" grpId="0"/>
      <p:bldP spid="8" grpId="0"/>
      <p:bldP spid="9" grpId="0"/>
      <p:bldP spid="10" grpId="0"/>
      <p:bldP spid="11" grpId="0" animBg="1"/>
      <p:bldP spid="12" grpId="0" animBg="1"/>
      <p:bldP spid="13" grpId="0" animBg="1"/>
      <p:bldP spid="14" grpId="0" animBg="1"/>
      <p:bldP spid="15" grpId="0" animBg="1"/>
      <p:bldP spid="16" grpId="0" animBg="1"/>
      <p:bldP spid="17" grpId="0" animBg="1"/>
      <p:bldP spid="18" grpId="0" animBg="1"/>
      <p:bldP spid="19" grpId="0" animBg="1"/>
      <p:bldP spid="30" grpId="0"/>
      <p:bldP spid="31" grpId="0"/>
      <p:bldP spid="40" grpId="0" animBg="1"/>
      <p:bldP spid="41" grpId="0" animBg="1"/>
      <p:bldP spid="42" grpId="0"/>
      <p:bldP spid="43" grpId="0"/>
      <p:bldP spid="44" grpId="0"/>
      <p:bldP spid="47" grpId="0" animBg="1"/>
      <p:bldP spid="48" grpId="0"/>
      <p:bldP spid="51" grpId="0" animBg="1"/>
    </p:bld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GrpSpPr/>
          <p:nvPr/>
        </p:nvGrpSpPr>
        <p:grpSpPr>
          <a:xfrm>
            <a:off x="595700" y="3691337"/>
            <a:ext cx="2623342" cy="2836785"/>
            <a:chOff x="595700" y="3691337"/>
            <a:chExt cx="2623342" cy="2836785"/>
          </a:xfrm>
        </p:grpSpPr>
        <p:sp>
          <p:nvSpPr>
            <p:cNvPr id="8" name="Freeform 7"/>
            <p:cNvSpPr/>
            <p:nvPr/>
          </p:nvSpPr>
          <p:spPr bwMode="auto">
            <a:xfrm>
              <a:off x="920192" y="3691337"/>
              <a:ext cx="392275" cy="261036"/>
            </a:xfrm>
            <a:custGeom>
              <a:avLst/>
              <a:gdLst>
                <a:gd name="T0" fmla="*/ 0 w 272"/>
                <a:gd name="T1" fmla="*/ 0 h 181"/>
                <a:gd name="T2" fmla="*/ 0 w 272"/>
                <a:gd name="T3" fmla="*/ 181 h 181"/>
                <a:gd name="T4" fmla="*/ 272 w 272"/>
                <a:gd name="T5" fmla="*/ 105 h 181"/>
                <a:gd name="T6" fmla="*/ 0 w 272"/>
                <a:gd name="T7" fmla="*/ 0 h 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72" h="181">
                  <a:moveTo>
                    <a:pt x="0" y="0"/>
                  </a:moveTo>
                  <a:lnTo>
                    <a:pt x="0" y="181"/>
                  </a:lnTo>
                  <a:lnTo>
                    <a:pt x="272" y="10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id-ID"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endParaRPr>
            </a:p>
          </p:txBody>
        </p:sp>
        <p:sp>
          <p:nvSpPr>
            <p:cNvPr id="9" name="Rectangle 8"/>
            <p:cNvSpPr>
              <a:spLocks noChangeArrowheads="1"/>
            </p:cNvSpPr>
            <p:nvPr/>
          </p:nvSpPr>
          <p:spPr bwMode="auto">
            <a:xfrm>
              <a:off x="595700" y="3991312"/>
              <a:ext cx="2107038" cy="253681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id-ID"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endParaRPr>
            </a:p>
          </p:txBody>
        </p:sp>
        <p:sp>
          <p:nvSpPr>
            <p:cNvPr id="10" name="Freeform 9"/>
            <p:cNvSpPr/>
            <p:nvPr/>
          </p:nvSpPr>
          <p:spPr bwMode="auto">
            <a:xfrm>
              <a:off x="595700" y="3842767"/>
              <a:ext cx="2623341" cy="148545"/>
            </a:xfrm>
            <a:custGeom>
              <a:avLst/>
              <a:gdLst>
                <a:gd name="T0" fmla="*/ 1461 w 1819"/>
                <a:gd name="T1" fmla="*/ 103 h 103"/>
                <a:gd name="T2" fmla="*/ 1819 w 1819"/>
                <a:gd name="T3" fmla="*/ 0 h 103"/>
                <a:gd name="T4" fmla="*/ 470 w 1819"/>
                <a:gd name="T5" fmla="*/ 0 h 103"/>
                <a:gd name="T6" fmla="*/ 0 w 1819"/>
                <a:gd name="T7" fmla="*/ 103 h 103"/>
                <a:gd name="T8" fmla="*/ 1461 w 1819"/>
                <a:gd name="T9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19" h="103">
                  <a:moveTo>
                    <a:pt x="1461" y="103"/>
                  </a:moveTo>
                  <a:lnTo>
                    <a:pt x="1819" y="0"/>
                  </a:lnTo>
                  <a:lnTo>
                    <a:pt x="470" y="0"/>
                  </a:lnTo>
                  <a:lnTo>
                    <a:pt x="0" y="103"/>
                  </a:lnTo>
                  <a:lnTo>
                    <a:pt x="1461" y="103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id-ID"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endParaRPr>
            </a:p>
          </p:txBody>
        </p:sp>
        <p:sp>
          <p:nvSpPr>
            <p:cNvPr id="11" name="Freeform 10"/>
            <p:cNvSpPr/>
            <p:nvPr/>
          </p:nvSpPr>
          <p:spPr bwMode="auto">
            <a:xfrm>
              <a:off x="920192" y="3691337"/>
              <a:ext cx="2298849" cy="151430"/>
            </a:xfrm>
            <a:custGeom>
              <a:avLst/>
              <a:gdLst>
                <a:gd name="T0" fmla="*/ 1594 w 1594"/>
                <a:gd name="T1" fmla="*/ 105 h 105"/>
                <a:gd name="T2" fmla="*/ 1236 w 1594"/>
                <a:gd name="T3" fmla="*/ 0 h 105"/>
                <a:gd name="T4" fmla="*/ 0 w 1594"/>
                <a:gd name="T5" fmla="*/ 0 h 105"/>
                <a:gd name="T6" fmla="*/ 245 w 1594"/>
                <a:gd name="T7" fmla="*/ 105 h 105"/>
                <a:gd name="T8" fmla="*/ 1594 w 1594"/>
                <a:gd name="T9" fmla="*/ 105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94" h="105">
                  <a:moveTo>
                    <a:pt x="1594" y="105"/>
                  </a:moveTo>
                  <a:lnTo>
                    <a:pt x="1236" y="0"/>
                  </a:lnTo>
                  <a:lnTo>
                    <a:pt x="0" y="0"/>
                  </a:lnTo>
                  <a:lnTo>
                    <a:pt x="245" y="105"/>
                  </a:lnTo>
                  <a:lnTo>
                    <a:pt x="1594" y="105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id-ID"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endParaRPr>
            </a:p>
          </p:txBody>
        </p:sp>
        <p:sp>
          <p:nvSpPr>
            <p:cNvPr id="12" name="Freeform 11"/>
            <p:cNvSpPr/>
            <p:nvPr/>
          </p:nvSpPr>
          <p:spPr bwMode="auto">
            <a:xfrm>
              <a:off x="2702738" y="3842767"/>
              <a:ext cx="516304" cy="2685355"/>
            </a:xfrm>
            <a:custGeom>
              <a:avLst/>
              <a:gdLst>
                <a:gd name="T0" fmla="*/ 358 w 358"/>
                <a:gd name="T1" fmla="*/ 0 h 1862"/>
                <a:gd name="T2" fmla="*/ 358 w 358"/>
                <a:gd name="T3" fmla="*/ 1650 h 1862"/>
                <a:gd name="T4" fmla="*/ 0 w 358"/>
                <a:gd name="T5" fmla="*/ 1862 h 1862"/>
                <a:gd name="T6" fmla="*/ 0 w 358"/>
                <a:gd name="T7" fmla="*/ 103 h 1862"/>
                <a:gd name="T8" fmla="*/ 358 w 358"/>
                <a:gd name="T9" fmla="*/ 0 h 18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8" h="1862">
                  <a:moveTo>
                    <a:pt x="358" y="0"/>
                  </a:moveTo>
                  <a:lnTo>
                    <a:pt x="358" y="1650"/>
                  </a:lnTo>
                  <a:lnTo>
                    <a:pt x="0" y="1862"/>
                  </a:lnTo>
                  <a:lnTo>
                    <a:pt x="0" y="103"/>
                  </a:lnTo>
                  <a:lnTo>
                    <a:pt x="358" y="0"/>
                  </a:ln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id-ID"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endParaRPr>
            </a:p>
          </p:txBody>
        </p:sp>
      </p:grpSp>
      <p:grpSp>
        <p:nvGrpSpPr>
          <p:cNvPr id="13" name="Group 12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GrpSpPr/>
          <p:nvPr/>
        </p:nvGrpSpPr>
        <p:grpSpPr>
          <a:xfrm>
            <a:off x="3080591" y="4337437"/>
            <a:ext cx="1312392" cy="2199338"/>
            <a:chOff x="3080591" y="4337437"/>
            <a:chExt cx="1312392" cy="2199338"/>
          </a:xfrm>
        </p:grpSpPr>
        <p:sp>
          <p:nvSpPr>
            <p:cNvPr id="14" name="Rectangle 13"/>
            <p:cNvSpPr>
              <a:spLocks noChangeArrowheads="1"/>
            </p:cNvSpPr>
            <p:nvPr/>
          </p:nvSpPr>
          <p:spPr bwMode="auto">
            <a:xfrm>
              <a:off x="3096455" y="4360512"/>
              <a:ext cx="496113" cy="615815"/>
            </a:xfrm>
            <a:prstGeom prst="rect">
              <a:avLst/>
            </a:prstGeom>
            <a:solidFill>
              <a:schemeClr val="accent2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id-ID"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endParaRPr>
            </a:p>
          </p:txBody>
        </p:sp>
        <p:sp>
          <p:nvSpPr>
            <p:cNvPr id="20" name="Freeform 19"/>
            <p:cNvSpPr/>
            <p:nvPr/>
          </p:nvSpPr>
          <p:spPr bwMode="auto">
            <a:xfrm>
              <a:off x="3145490" y="4337437"/>
              <a:ext cx="1247493" cy="167294"/>
            </a:xfrm>
            <a:custGeom>
              <a:avLst/>
              <a:gdLst>
                <a:gd name="T0" fmla="*/ 865 w 865"/>
                <a:gd name="T1" fmla="*/ 116 h 116"/>
                <a:gd name="T2" fmla="*/ 504 w 865"/>
                <a:gd name="T3" fmla="*/ 0 h 116"/>
                <a:gd name="T4" fmla="*/ 0 w 865"/>
                <a:gd name="T5" fmla="*/ 0 h 116"/>
                <a:gd name="T6" fmla="*/ 330 w 865"/>
                <a:gd name="T7" fmla="*/ 116 h 116"/>
                <a:gd name="T8" fmla="*/ 865 w 865"/>
                <a:gd name="T9" fmla="*/ 116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65" h="115">
                  <a:moveTo>
                    <a:pt x="865" y="116"/>
                  </a:moveTo>
                  <a:lnTo>
                    <a:pt x="504" y="0"/>
                  </a:lnTo>
                  <a:lnTo>
                    <a:pt x="0" y="0"/>
                  </a:lnTo>
                  <a:lnTo>
                    <a:pt x="330" y="116"/>
                  </a:lnTo>
                  <a:lnTo>
                    <a:pt x="865" y="116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id-ID"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endParaRPr>
            </a:p>
          </p:txBody>
        </p:sp>
        <p:sp>
          <p:nvSpPr>
            <p:cNvPr id="21" name="Rectangle 20"/>
            <p:cNvSpPr>
              <a:spLocks noChangeArrowheads="1"/>
            </p:cNvSpPr>
            <p:nvPr/>
          </p:nvSpPr>
          <p:spPr bwMode="auto">
            <a:xfrm>
              <a:off x="3080591" y="4676352"/>
              <a:ext cx="791762" cy="1860423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id-ID"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endParaRPr>
            </a:p>
          </p:txBody>
        </p:sp>
        <p:sp>
          <p:nvSpPr>
            <p:cNvPr id="22" name="Freeform 21"/>
            <p:cNvSpPr/>
            <p:nvPr/>
          </p:nvSpPr>
          <p:spPr bwMode="auto">
            <a:xfrm>
              <a:off x="3080591" y="4468677"/>
              <a:ext cx="1263357" cy="207675"/>
            </a:xfrm>
            <a:custGeom>
              <a:avLst/>
              <a:gdLst>
                <a:gd name="T0" fmla="*/ 549 w 876"/>
                <a:gd name="T1" fmla="*/ 144 h 144"/>
                <a:gd name="T2" fmla="*/ 876 w 876"/>
                <a:gd name="T3" fmla="*/ 0 h 144"/>
                <a:gd name="T4" fmla="*/ 341 w 876"/>
                <a:gd name="T5" fmla="*/ 0 h 144"/>
                <a:gd name="T6" fmla="*/ 0 w 876"/>
                <a:gd name="T7" fmla="*/ 144 h 144"/>
                <a:gd name="T8" fmla="*/ 549 w 876"/>
                <a:gd name="T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76" h="144">
                  <a:moveTo>
                    <a:pt x="549" y="144"/>
                  </a:moveTo>
                  <a:lnTo>
                    <a:pt x="876" y="0"/>
                  </a:lnTo>
                  <a:lnTo>
                    <a:pt x="341" y="0"/>
                  </a:lnTo>
                  <a:lnTo>
                    <a:pt x="0" y="144"/>
                  </a:lnTo>
                  <a:lnTo>
                    <a:pt x="549" y="144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id-ID"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endParaRPr>
            </a:p>
          </p:txBody>
        </p:sp>
        <p:sp>
          <p:nvSpPr>
            <p:cNvPr id="23" name="Freeform 22"/>
            <p:cNvSpPr/>
            <p:nvPr/>
          </p:nvSpPr>
          <p:spPr bwMode="auto">
            <a:xfrm>
              <a:off x="3872353" y="4468677"/>
              <a:ext cx="471596" cy="2068098"/>
            </a:xfrm>
            <a:custGeom>
              <a:avLst/>
              <a:gdLst>
                <a:gd name="T0" fmla="*/ 327 w 327"/>
                <a:gd name="T1" fmla="*/ 0 h 1434"/>
                <a:gd name="T2" fmla="*/ 327 w 327"/>
                <a:gd name="T3" fmla="*/ 1195 h 1434"/>
                <a:gd name="T4" fmla="*/ 0 w 327"/>
                <a:gd name="T5" fmla="*/ 1434 h 1434"/>
                <a:gd name="T6" fmla="*/ 0 w 327"/>
                <a:gd name="T7" fmla="*/ 144 h 1434"/>
                <a:gd name="T8" fmla="*/ 327 w 327"/>
                <a:gd name="T9" fmla="*/ 0 h 14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7" h="1434">
                  <a:moveTo>
                    <a:pt x="327" y="0"/>
                  </a:moveTo>
                  <a:lnTo>
                    <a:pt x="327" y="1195"/>
                  </a:lnTo>
                  <a:lnTo>
                    <a:pt x="0" y="1434"/>
                  </a:lnTo>
                  <a:lnTo>
                    <a:pt x="0" y="144"/>
                  </a:lnTo>
                  <a:lnTo>
                    <a:pt x="327" y="0"/>
                  </a:lnTo>
                  <a:close/>
                </a:path>
              </a:pathLst>
            </a:custGeom>
            <a:solidFill>
              <a:schemeClr val="accent2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id-ID"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endParaRPr>
            </a:p>
          </p:txBody>
        </p:sp>
      </p:grpSp>
      <p:grpSp>
        <p:nvGrpSpPr>
          <p:cNvPr id="24" name="Group 23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GrpSpPr/>
          <p:nvPr/>
        </p:nvGrpSpPr>
        <p:grpSpPr>
          <a:xfrm>
            <a:off x="4186750" y="4770094"/>
            <a:ext cx="1237398" cy="1752259"/>
            <a:chOff x="4186750" y="4770094"/>
            <a:chExt cx="1237398" cy="1752259"/>
          </a:xfrm>
        </p:grpSpPr>
        <p:sp>
          <p:nvSpPr>
            <p:cNvPr id="25" name="Rectangle 24"/>
            <p:cNvSpPr>
              <a:spLocks noChangeArrowheads="1"/>
            </p:cNvSpPr>
            <p:nvPr/>
          </p:nvSpPr>
          <p:spPr bwMode="auto">
            <a:xfrm>
              <a:off x="4186750" y="4823455"/>
              <a:ext cx="514861" cy="611488"/>
            </a:xfrm>
            <a:prstGeom prst="rect">
              <a:avLst/>
            </a:prstGeom>
            <a:solidFill>
              <a:schemeClr val="accent3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id-ID"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endParaRPr>
            </a:p>
          </p:txBody>
        </p:sp>
        <p:sp>
          <p:nvSpPr>
            <p:cNvPr id="26" name="Freeform 25"/>
            <p:cNvSpPr/>
            <p:nvPr/>
          </p:nvSpPr>
          <p:spPr bwMode="auto">
            <a:xfrm>
              <a:off x="4254533" y="4770094"/>
              <a:ext cx="1169615" cy="175947"/>
            </a:xfrm>
            <a:custGeom>
              <a:avLst/>
              <a:gdLst>
                <a:gd name="T0" fmla="*/ 7 w 811"/>
                <a:gd name="T1" fmla="*/ 0 h 122"/>
                <a:gd name="T2" fmla="*/ 426 w 811"/>
                <a:gd name="T3" fmla="*/ 0 h 122"/>
                <a:gd name="T4" fmla="*/ 811 w 811"/>
                <a:gd name="T5" fmla="*/ 122 h 122"/>
                <a:gd name="T6" fmla="*/ 303 w 811"/>
                <a:gd name="T7" fmla="*/ 122 h 122"/>
                <a:gd name="T8" fmla="*/ 0 w 811"/>
                <a:gd name="T9" fmla="*/ 13 h 122"/>
                <a:gd name="T10" fmla="*/ 7 w 811"/>
                <a:gd name="T11" fmla="*/ 0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11" h="122">
                  <a:moveTo>
                    <a:pt x="7" y="0"/>
                  </a:moveTo>
                  <a:lnTo>
                    <a:pt x="426" y="0"/>
                  </a:lnTo>
                  <a:lnTo>
                    <a:pt x="811" y="122"/>
                  </a:lnTo>
                  <a:lnTo>
                    <a:pt x="303" y="122"/>
                  </a:lnTo>
                  <a:lnTo>
                    <a:pt x="0" y="13"/>
                  </a:lnTo>
                  <a:lnTo>
                    <a:pt x="7" y="0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id-ID"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endParaRPr>
            </a:p>
          </p:txBody>
        </p:sp>
        <p:sp>
          <p:nvSpPr>
            <p:cNvPr id="27" name="Rectangle 26"/>
            <p:cNvSpPr>
              <a:spLocks noChangeArrowheads="1"/>
            </p:cNvSpPr>
            <p:nvPr/>
          </p:nvSpPr>
          <p:spPr bwMode="auto">
            <a:xfrm>
              <a:off x="4245880" y="5182560"/>
              <a:ext cx="765802" cy="1339793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id-ID"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endParaRPr>
            </a:p>
          </p:txBody>
        </p:sp>
        <p:sp>
          <p:nvSpPr>
            <p:cNvPr id="28" name="Freeform 27"/>
            <p:cNvSpPr/>
            <p:nvPr/>
          </p:nvSpPr>
          <p:spPr bwMode="auto">
            <a:xfrm>
              <a:off x="5011682" y="4946041"/>
              <a:ext cx="412466" cy="1576312"/>
            </a:xfrm>
            <a:custGeom>
              <a:avLst/>
              <a:gdLst>
                <a:gd name="T0" fmla="*/ 0 w 286"/>
                <a:gd name="T1" fmla="*/ 164 h 1093"/>
                <a:gd name="T2" fmla="*/ 286 w 286"/>
                <a:gd name="T3" fmla="*/ 0 h 1093"/>
                <a:gd name="T4" fmla="*/ 286 w 286"/>
                <a:gd name="T5" fmla="*/ 847 h 1093"/>
                <a:gd name="T6" fmla="*/ 0 w 286"/>
                <a:gd name="T7" fmla="*/ 1093 h 1093"/>
                <a:gd name="T8" fmla="*/ 0 w 286"/>
                <a:gd name="T9" fmla="*/ 164 h 10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86" h="1093">
                  <a:moveTo>
                    <a:pt x="0" y="164"/>
                  </a:moveTo>
                  <a:lnTo>
                    <a:pt x="286" y="0"/>
                  </a:lnTo>
                  <a:lnTo>
                    <a:pt x="286" y="847"/>
                  </a:lnTo>
                  <a:lnTo>
                    <a:pt x="0" y="1093"/>
                  </a:lnTo>
                  <a:lnTo>
                    <a:pt x="0" y="164"/>
                  </a:lnTo>
                  <a:close/>
                </a:path>
              </a:pathLst>
            </a:custGeom>
            <a:solidFill>
              <a:schemeClr val="accent3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id-ID"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endParaRPr>
            </a:p>
          </p:txBody>
        </p:sp>
        <p:sp>
          <p:nvSpPr>
            <p:cNvPr id="29" name="Freeform 28"/>
            <p:cNvSpPr/>
            <p:nvPr/>
          </p:nvSpPr>
          <p:spPr bwMode="auto">
            <a:xfrm>
              <a:off x="4245880" y="4946041"/>
              <a:ext cx="1178268" cy="236519"/>
            </a:xfrm>
            <a:custGeom>
              <a:avLst/>
              <a:gdLst>
                <a:gd name="T0" fmla="*/ 0 w 817"/>
                <a:gd name="T1" fmla="*/ 164 h 164"/>
                <a:gd name="T2" fmla="*/ 309 w 817"/>
                <a:gd name="T3" fmla="*/ 0 h 164"/>
                <a:gd name="T4" fmla="*/ 817 w 817"/>
                <a:gd name="T5" fmla="*/ 0 h 164"/>
                <a:gd name="T6" fmla="*/ 531 w 817"/>
                <a:gd name="T7" fmla="*/ 164 h 164"/>
                <a:gd name="T8" fmla="*/ 0 w 817"/>
                <a:gd name="T9" fmla="*/ 164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17" h="164">
                  <a:moveTo>
                    <a:pt x="0" y="164"/>
                  </a:moveTo>
                  <a:lnTo>
                    <a:pt x="309" y="0"/>
                  </a:lnTo>
                  <a:lnTo>
                    <a:pt x="817" y="0"/>
                  </a:lnTo>
                  <a:lnTo>
                    <a:pt x="531" y="164"/>
                  </a:lnTo>
                  <a:lnTo>
                    <a:pt x="0" y="164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id-ID"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endParaRPr>
            </a:p>
          </p:txBody>
        </p:sp>
      </p:grpSp>
      <p:grpSp>
        <p:nvGrpSpPr>
          <p:cNvPr id="30" name="Group 29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GrpSpPr/>
          <p:nvPr/>
        </p:nvGrpSpPr>
        <p:grpSpPr>
          <a:xfrm>
            <a:off x="1705361" y="2435468"/>
            <a:ext cx="2217498" cy="1386386"/>
            <a:chOff x="2031803" y="1483557"/>
            <a:chExt cx="1998720" cy="1526075"/>
          </a:xfrm>
        </p:grpSpPr>
        <p:grpSp>
          <p:nvGrpSpPr>
            <p:cNvPr id="31" name="Group 30"/>
            <p:cNvGrpSpPr/>
            <p:nvPr/>
          </p:nvGrpSpPr>
          <p:grpSpPr>
            <a:xfrm>
              <a:off x="2031803" y="2075684"/>
              <a:ext cx="261290" cy="933948"/>
              <a:chOff x="1374514" y="1504950"/>
              <a:chExt cx="261290" cy="933948"/>
            </a:xfrm>
          </p:grpSpPr>
          <p:cxnSp>
            <p:nvCxnSpPr>
              <p:cNvPr id="34" name="Straight Connector 33"/>
              <p:cNvCxnSpPr/>
              <p:nvPr/>
            </p:nvCxnSpPr>
            <p:spPr>
              <a:xfrm flipH="1" flipV="1">
                <a:off x="1374514" y="1504951"/>
                <a:ext cx="0" cy="933947"/>
              </a:xfrm>
              <a:prstGeom prst="line">
                <a:avLst/>
              </a:prstGeom>
              <a:ln>
                <a:solidFill>
                  <a:srgbClr val="D8DADD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5" name="Straight Connector 34"/>
              <p:cNvCxnSpPr/>
              <p:nvPr/>
            </p:nvCxnSpPr>
            <p:spPr>
              <a:xfrm>
                <a:off x="1374514" y="1504950"/>
                <a:ext cx="261290" cy="0"/>
              </a:xfrm>
              <a:prstGeom prst="line">
                <a:avLst/>
              </a:prstGeom>
              <a:ln>
                <a:solidFill>
                  <a:srgbClr val="D8DADD"/>
                </a:solidFill>
                <a:prstDash val="sysDot"/>
                <a:tailEnd type="oval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32" name="Content Placeholder 2"/>
            <p:cNvSpPr txBox="1"/>
            <p:nvPr/>
          </p:nvSpPr>
          <p:spPr>
            <a:xfrm>
              <a:off x="2339145" y="1767244"/>
              <a:ext cx="1691378" cy="557488"/>
            </a:xfrm>
            <a:prstGeom prst="rect">
              <a:avLst/>
            </a:prstGeom>
          </p:spPr>
          <p:txBody>
            <a:bodyPr vert="horz" lIns="91440" tIns="45720" rIns="91440" bIns="45720" rtlCol="0">
              <a:noAutofit/>
            </a:bodyPr>
            <a:lstStyle>
              <a:lvl1pPr marL="342900" indent="-3429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742950" indent="-28575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–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–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»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lnSpc>
                  <a:spcPct val="130000"/>
                </a:lnSpc>
                <a:buNone/>
              </a:pPr>
              <a:r>
                <a:rPr lang="en-US" altLang="zh-CN" sz="1000" err="1">
                  <a:solidFill>
                    <a:schemeClr val="bg1">
                      <a:lumMod val="65000"/>
                    </a:schemeClr>
                  </a:solidFill>
                  <a:latin typeface="Arial" panose="020B0604020202020204" pitchFamily="34" charset="0"/>
                  <a:ea typeface="微软雅黑" panose="020B0503020204020204" pitchFamily="34" charset="-122"/>
                  <a:cs typeface="思源黑体 CN Regular" panose="020B0500000000000000" charset="-122"/>
                  <a:sym typeface="Arial" panose="020B0604020202020204" pitchFamily="34" charset="0"/>
                </a:rPr>
                <a:t>Lorem ipsum dolor sit amet, conse ctetur adipiscing.</a:t>
              </a:r>
              <a:endParaRPr lang="en-US" altLang="zh-CN" sz="100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endParaRPr>
            </a:p>
            <a:p>
              <a:pPr marL="0" indent="0">
                <a:lnSpc>
                  <a:spcPct val="130000"/>
                </a:lnSpc>
                <a:buNone/>
              </a:pPr>
              <a:r>
                <a:rPr lang="en-US" sz="1000">
                  <a:solidFill>
                    <a:srgbClr val="656D78"/>
                  </a:solidFill>
                  <a:latin typeface="Arial" panose="020B0604020202020204" pitchFamily="34" charset="0"/>
                  <a:ea typeface="微软雅黑" panose="020B0503020204020204" pitchFamily="34" charset="-122"/>
                  <a:cs typeface="思源黑体 CN Regular" panose="020B0500000000000000" charset="-122"/>
                  <a:sym typeface="Arial" panose="020B0604020202020204" pitchFamily="34" charset="0"/>
                </a:rPr>
                <a:t>.</a:t>
              </a:r>
            </a:p>
          </p:txBody>
        </p:sp>
        <p:sp>
          <p:nvSpPr>
            <p:cNvPr id="33" name="TextBox 32"/>
            <p:cNvSpPr txBox="1"/>
            <p:nvPr/>
          </p:nvSpPr>
          <p:spPr>
            <a:xfrm>
              <a:off x="2327111" y="1483557"/>
              <a:ext cx="1180963" cy="44042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2000" b="1">
                  <a:solidFill>
                    <a:schemeClr val="accent1"/>
                  </a:solidFill>
                  <a:latin typeface="Arial" panose="020B0604020202020204" pitchFamily="34" charset="0"/>
                  <a:ea typeface="微软雅黑" panose="020B0503020204020204" pitchFamily="34" charset="-122"/>
                  <a:cs typeface="思源黑体 CN Regular" panose="020B0500000000000000" charset="-122"/>
                  <a:sym typeface="Arial" panose="020B0604020202020204" pitchFamily="34" charset="0"/>
                </a:rPr>
                <a:t>9</a:t>
              </a:r>
              <a:r>
                <a:rPr lang="id-ID" sz="2000" b="1">
                  <a:solidFill>
                    <a:schemeClr val="accent1"/>
                  </a:solidFill>
                  <a:latin typeface="Arial" panose="020B0604020202020204" pitchFamily="34" charset="0"/>
                  <a:ea typeface="微软雅黑" panose="020B0503020204020204" pitchFamily="34" charset="-122"/>
                  <a:cs typeface="思源黑体 CN Regular" panose="020B0500000000000000" charset="-122"/>
                  <a:sym typeface="Arial" panose="020B0604020202020204" pitchFamily="34" charset="0"/>
                </a:rPr>
                <a:t>.</a:t>
              </a:r>
              <a:r>
                <a:rPr lang="en-US" sz="2000" b="1">
                  <a:solidFill>
                    <a:schemeClr val="accent1"/>
                  </a:solidFill>
                  <a:latin typeface="Arial" panose="020B0604020202020204" pitchFamily="34" charset="0"/>
                  <a:ea typeface="微软雅黑" panose="020B0503020204020204" pitchFamily="34" charset="-122"/>
                  <a:cs typeface="思源黑体 CN Regular" panose="020B0500000000000000" charset="-122"/>
                  <a:sym typeface="Arial" panose="020B0604020202020204" pitchFamily="34" charset="0"/>
                </a:rPr>
                <a:t>100</a:t>
              </a:r>
              <a:r>
                <a:rPr lang="id-ID" sz="2000" b="1">
                  <a:solidFill>
                    <a:schemeClr val="accent1"/>
                  </a:solidFill>
                  <a:latin typeface="Arial" panose="020B0604020202020204" pitchFamily="34" charset="0"/>
                  <a:ea typeface="微软雅黑" panose="020B0503020204020204" pitchFamily="34" charset="-122"/>
                  <a:cs typeface="思源黑体 CN Regular" panose="020B0500000000000000" charset="-122"/>
                  <a:sym typeface="Arial" panose="020B0604020202020204" pitchFamily="34" charset="0"/>
                </a:rPr>
                <a:t>.</a:t>
              </a:r>
              <a:r>
                <a:rPr lang="en-US" sz="2000" b="1">
                  <a:solidFill>
                    <a:schemeClr val="accent1"/>
                  </a:solidFill>
                  <a:latin typeface="Arial" panose="020B0604020202020204" pitchFamily="34" charset="0"/>
                  <a:ea typeface="微软雅黑" panose="020B0503020204020204" pitchFamily="34" charset="-122"/>
                  <a:cs typeface="思源黑体 CN Regular" panose="020B0500000000000000" charset="-122"/>
                  <a:sym typeface="Arial" panose="020B0604020202020204" pitchFamily="34" charset="0"/>
                </a:rPr>
                <a:t>61</a:t>
              </a:r>
              <a:r>
                <a:rPr lang="id-ID" sz="2000" b="1">
                  <a:solidFill>
                    <a:schemeClr val="accent1"/>
                  </a:solidFill>
                  <a:latin typeface="Arial" panose="020B0604020202020204" pitchFamily="34" charset="0"/>
                  <a:ea typeface="微软雅黑" panose="020B0503020204020204" pitchFamily="34" charset="-122"/>
                  <a:cs typeface="思源黑体 CN Regular" panose="020B0500000000000000" charset="-122"/>
                  <a:sym typeface="Arial" panose="020B0604020202020204" pitchFamily="34" charset="0"/>
                </a:rPr>
                <a:t>1</a:t>
              </a:r>
            </a:p>
          </p:txBody>
        </p:sp>
      </p:grpSp>
      <p:grpSp>
        <p:nvGrpSpPr>
          <p:cNvPr id="36" name="Group 35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GrpSpPr/>
          <p:nvPr/>
        </p:nvGrpSpPr>
        <p:grpSpPr>
          <a:xfrm>
            <a:off x="3461382" y="3209240"/>
            <a:ext cx="2217498" cy="1362102"/>
            <a:chOff x="2031803" y="1483557"/>
            <a:chExt cx="1998720" cy="1499344"/>
          </a:xfrm>
        </p:grpSpPr>
        <p:grpSp>
          <p:nvGrpSpPr>
            <p:cNvPr id="37" name="Group 36"/>
            <p:cNvGrpSpPr/>
            <p:nvPr/>
          </p:nvGrpSpPr>
          <p:grpSpPr>
            <a:xfrm>
              <a:off x="2031803" y="2075684"/>
              <a:ext cx="261290" cy="907217"/>
              <a:chOff x="1374514" y="1504950"/>
              <a:chExt cx="261290" cy="907217"/>
            </a:xfrm>
          </p:grpSpPr>
          <p:cxnSp>
            <p:nvCxnSpPr>
              <p:cNvPr id="40" name="Straight Connector 39"/>
              <p:cNvCxnSpPr/>
              <p:nvPr/>
            </p:nvCxnSpPr>
            <p:spPr>
              <a:xfrm flipH="1" flipV="1">
                <a:off x="1374514" y="1504950"/>
                <a:ext cx="0" cy="907217"/>
              </a:xfrm>
              <a:prstGeom prst="line">
                <a:avLst/>
              </a:prstGeom>
              <a:ln>
                <a:solidFill>
                  <a:srgbClr val="D8DADD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1" name="Straight Connector 40"/>
              <p:cNvCxnSpPr/>
              <p:nvPr/>
            </p:nvCxnSpPr>
            <p:spPr>
              <a:xfrm>
                <a:off x="1374514" y="1504950"/>
                <a:ext cx="261290" cy="0"/>
              </a:xfrm>
              <a:prstGeom prst="line">
                <a:avLst/>
              </a:prstGeom>
              <a:ln>
                <a:solidFill>
                  <a:srgbClr val="D8DADD"/>
                </a:solidFill>
                <a:prstDash val="sysDot"/>
                <a:tailEnd type="oval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38" name="Content Placeholder 2"/>
            <p:cNvSpPr txBox="1"/>
            <p:nvPr/>
          </p:nvSpPr>
          <p:spPr>
            <a:xfrm>
              <a:off x="2339145" y="1767244"/>
              <a:ext cx="1691378" cy="557488"/>
            </a:xfrm>
            <a:prstGeom prst="rect">
              <a:avLst/>
            </a:prstGeom>
          </p:spPr>
          <p:txBody>
            <a:bodyPr vert="horz" lIns="91440" tIns="45720" rIns="91440" bIns="45720" rtlCol="0">
              <a:noAutofit/>
            </a:bodyPr>
            <a:lstStyle>
              <a:lvl1pPr marL="342900" indent="-3429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742950" indent="-28575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–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–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»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ct val="120000"/>
                </a:lnSpc>
              </a:pPr>
              <a:r>
                <a:rPr lang="en-US" altLang="zh-CN" sz="1000" err="1">
                  <a:solidFill>
                    <a:schemeClr val="bg1">
                      <a:lumMod val="65000"/>
                    </a:schemeClr>
                  </a:solidFill>
                  <a:latin typeface="Arial" panose="020B0604020202020204" pitchFamily="34" charset="0"/>
                  <a:ea typeface="微软雅黑" panose="020B0503020204020204" pitchFamily="34" charset="-122"/>
                  <a:cs typeface="思源黑体 CN Regular" panose="020B0500000000000000" charset="-122"/>
                  <a:sym typeface="Arial" panose="020B0604020202020204" pitchFamily="34" charset="0"/>
                </a:rPr>
                <a:t>Lorem ipsum dolor sit amet, conse ctetur adipiscing.</a:t>
              </a:r>
              <a:endParaRPr lang="en-US" altLang="zh-CN" sz="100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endParaRPr>
            </a:p>
          </p:txBody>
        </p:sp>
        <p:sp>
          <p:nvSpPr>
            <p:cNvPr id="39" name="TextBox 38"/>
            <p:cNvSpPr txBox="1"/>
            <p:nvPr/>
          </p:nvSpPr>
          <p:spPr>
            <a:xfrm>
              <a:off x="2327111" y="1483557"/>
              <a:ext cx="1180963" cy="44042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2000" b="1">
                  <a:solidFill>
                    <a:schemeClr val="accent1"/>
                  </a:solidFill>
                  <a:latin typeface="Arial" panose="020B0604020202020204" pitchFamily="34" charset="0"/>
                  <a:ea typeface="微软雅黑" panose="020B0503020204020204" pitchFamily="34" charset="-122"/>
                  <a:cs typeface="思源黑体 CN Regular" panose="020B0500000000000000" charset="-122"/>
                  <a:sym typeface="Arial" panose="020B0604020202020204" pitchFamily="34" charset="0"/>
                </a:rPr>
                <a:t>9</a:t>
              </a:r>
              <a:r>
                <a:rPr lang="id-ID" sz="2000" b="1">
                  <a:solidFill>
                    <a:schemeClr val="accent1"/>
                  </a:solidFill>
                  <a:latin typeface="Arial" panose="020B0604020202020204" pitchFamily="34" charset="0"/>
                  <a:ea typeface="微软雅黑" panose="020B0503020204020204" pitchFamily="34" charset="-122"/>
                  <a:cs typeface="思源黑体 CN Regular" panose="020B0500000000000000" charset="-122"/>
                  <a:sym typeface="Arial" panose="020B0604020202020204" pitchFamily="34" charset="0"/>
                </a:rPr>
                <a:t>.</a:t>
              </a:r>
              <a:r>
                <a:rPr lang="en-US" sz="2000" b="1">
                  <a:solidFill>
                    <a:schemeClr val="accent1"/>
                  </a:solidFill>
                  <a:latin typeface="Arial" panose="020B0604020202020204" pitchFamily="34" charset="0"/>
                  <a:ea typeface="微软雅黑" panose="020B0503020204020204" pitchFamily="34" charset="-122"/>
                  <a:cs typeface="思源黑体 CN Regular" panose="020B0500000000000000" charset="-122"/>
                  <a:sym typeface="Arial" panose="020B0604020202020204" pitchFamily="34" charset="0"/>
                </a:rPr>
                <a:t>100</a:t>
              </a:r>
              <a:r>
                <a:rPr lang="id-ID" sz="2000" b="1">
                  <a:solidFill>
                    <a:schemeClr val="accent1"/>
                  </a:solidFill>
                  <a:latin typeface="Arial" panose="020B0604020202020204" pitchFamily="34" charset="0"/>
                  <a:ea typeface="微软雅黑" panose="020B0503020204020204" pitchFamily="34" charset="-122"/>
                  <a:cs typeface="思源黑体 CN Regular" panose="020B0500000000000000" charset="-122"/>
                  <a:sym typeface="Arial" panose="020B0604020202020204" pitchFamily="34" charset="0"/>
                </a:rPr>
                <a:t>.</a:t>
              </a:r>
              <a:r>
                <a:rPr lang="en-US" sz="2000" b="1">
                  <a:solidFill>
                    <a:schemeClr val="accent1"/>
                  </a:solidFill>
                  <a:latin typeface="Arial" panose="020B0604020202020204" pitchFamily="34" charset="0"/>
                  <a:ea typeface="微软雅黑" panose="020B0503020204020204" pitchFamily="34" charset="-122"/>
                  <a:cs typeface="思源黑体 CN Regular" panose="020B0500000000000000" charset="-122"/>
                  <a:sym typeface="Arial" panose="020B0604020202020204" pitchFamily="34" charset="0"/>
                </a:rPr>
                <a:t>61</a:t>
              </a:r>
              <a:r>
                <a:rPr lang="id-ID" sz="2000" b="1">
                  <a:solidFill>
                    <a:schemeClr val="accent1"/>
                  </a:solidFill>
                  <a:latin typeface="Arial" panose="020B0604020202020204" pitchFamily="34" charset="0"/>
                  <a:ea typeface="微软雅黑" panose="020B0503020204020204" pitchFamily="34" charset="-122"/>
                  <a:cs typeface="思源黑体 CN Regular" panose="020B0500000000000000" charset="-122"/>
                  <a:sym typeface="Arial" panose="020B0604020202020204" pitchFamily="34" charset="0"/>
                </a:rPr>
                <a:t>1</a:t>
              </a:r>
            </a:p>
          </p:txBody>
        </p:sp>
      </p:grpSp>
      <p:grpSp>
        <p:nvGrpSpPr>
          <p:cNvPr id="42" name="Group 41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GrpSpPr/>
          <p:nvPr/>
        </p:nvGrpSpPr>
        <p:grpSpPr>
          <a:xfrm>
            <a:off x="4597006" y="3944587"/>
            <a:ext cx="2217498" cy="1119714"/>
            <a:chOff x="2031803" y="1483557"/>
            <a:chExt cx="1998720" cy="1232533"/>
          </a:xfrm>
        </p:grpSpPr>
        <p:grpSp>
          <p:nvGrpSpPr>
            <p:cNvPr id="43" name="Group 42"/>
            <p:cNvGrpSpPr/>
            <p:nvPr/>
          </p:nvGrpSpPr>
          <p:grpSpPr>
            <a:xfrm>
              <a:off x="2031803" y="2075684"/>
              <a:ext cx="261290" cy="640406"/>
              <a:chOff x="1374514" y="1504950"/>
              <a:chExt cx="261290" cy="640406"/>
            </a:xfrm>
          </p:grpSpPr>
          <p:cxnSp>
            <p:nvCxnSpPr>
              <p:cNvPr id="46" name="Straight Connector 45"/>
              <p:cNvCxnSpPr/>
              <p:nvPr/>
            </p:nvCxnSpPr>
            <p:spPr>
              <a:xfrm flipH="1" flipV="1">
                <a:off x="1374514" y="1504950"/>
                <a:ext cx="0" cy="640406"/>
              </a:xfrm>
              <a:prstGeom prst="line">
                <a:avLst/>
              </a:prstGeom>
              <a:ln>
                <a:solidFill>
                  <a:srgbClr val="D8DADD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7" name="Straight Connector 46"/>
              <p:cNvCxnSpPr/>
              <p:nvPr/>
            </p:nvCxnSpPr>
            <p:spPr>
              <a:xfrm>
                <a:off x="1374514" y="1504950"/>
                <a:ext cx="261290" cy="0"/>
              </a:xfrm>
              <a:prstGeom prst="line">
                <a:avLst/>
              </a:prstGeom>
              <a:ln>
                <a:solidFill>
                  <a:srgbClr val="D8DADD"/>
                </a:solidFill>
                <a:prstDash val="sysDot"/>
                <a:tailEnd type="oval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44" name="Content Placeholder 2"/>
            <p:cNvSpPr txBox="1"/>
            <p:nvPr/>
          </p:nvSpPr>
          <p:spPr>
            <a:xfrm>
              <a:off x="2339145" y="1767244"/>
              <a:ext cx="1691378" cy="557488"/>
            </a:xfrm>
            <a:prstGeom prst="rect">
              <a:avLst/>
            </a:prstGeom>
          </p:spPr>
          <p:txBody>
            <a:bodyPr vert="horz" lIns="91440" tIns="45720" rIns="91440" bIns="45720" rtlCol="0">
              <a:noAutofit/>
            </a:bodyPr>
            <a:lstStyle>
              <a:lvl1pPr marL="342900" indent="-3429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742950" indent="-28575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–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–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»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lnSpc>
                  <a:spcPct val="130000"/>
                </a:lnSpc>
                <a:buNone/>
              </a:pPr>
              <a:r>
                <a:rPr lang="en-US" altLang="zh-CN" sz="1000" err="1">
                  <a:solidFill>
                    <a:schemeClr val="bg1">
                      <a:lumMod val="65000"/>
                    </a:schemeClr>
                  </a:solidFill>
                  <a:latin typeface="Arial" panose="020B0604020202020204" pitchFamily="34" charset="0"/>
                  <a:ea typeface="微软雅黑" panose="020B0503020204020204" pitchFamily="34" charset="-122"/>
                  <a:cs typeface="思源黑体 CN Regular" panose="020B0500000000000000" charset="-122"/>
                  <a:sym typeface="Arial" panose="020B0604020202020204" pitchFamily="34" charset="0"/>
                </a:rPr>
                <a:t>Lorem ipsum dolor sit amet, conse ctetur adipiscing.</a:t>
              </a:r>
              <a:endParaRPr lang="en-US" altLang="zh-CN" sz="100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endParaRPr>
            </a:p>
            <a:p>
              <a:pPr marL="0" indent="0">
                <a:lnSpc>
                  <a:spcPct val="130000"/>
                </a:lnSpc>
                <a:buNone/>
              </a:pPr>
              <a:r>
                <a:rPr lang="en-US" sz="1000">
                  <a:solidFill>
                    <a:srgbClr val="656D78"/>
                  </a:solidFill>
                  <a:latin typeface="Arial" panose="020B0604020202020204" pitchFamily="34" charset="0"/>
                  <a:ea typeface="微软雅黑" panose="020B0503020204020204" pitchFamily="34" charset="-122"/>
                  <a:cs typeface="思源黑体 CN Regular" panose="020B0500000000000000" charset="-122"/>
                  <a:sym typeface="Arial" panose="020B0604020202020204" pitchFamily="34" charset="0"/>
                </a:rPr>
                <a:t>.</a:t>
              </a:r>
            </a:p>
          </p:txBody>
        </p:sp>
        <p:sp>
          <p:nvSpPr>
            <p:cNvPr id="45" name="TextBox 44"/>
            <p:cNvSpPr txBox="1"/>
            <p:nvPr/>
          </p:nvSpPr>
          <p:spPr>
            <a:xfrm>
              <a:off x="2327111" y="1483557"/>
              <a:ext cx="1180963" cy="44042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2000" b="1">
                  <a:solidFill>
                    <a:schemeClr val="accent1"/>
                  </a:solidFill>
                  <a:latin typeface="Arial" panose="020B0604020202020204" pitchFamily="34" charset="0"/>
                  <a:ea typeface="微软雅黑" panose="020B0503020204020204" pitchFamily="34" charset="-122"/>
                  <a:cs typeface="思源黑体 CN Regular" panose="020B0500000000000000" charset="-122"/>
                  <a:sym typeface="Arial" panose="020B0604020202020204" pitchFamily="34" charset="0"/>
                </a:rPr>
                <a:t>9</a:t>
              </a:r>
              <a:r>
                <a:rPr lang="id-ID" sz="2000" b="1">
                  <a:solidFill>
                    <a:schemeClr val="accent1"/>
                  </a:solidFill>
                  <a:latin typeface="Arial" panose="020B0604020202020204" pitchFamily="34" charset="0"/>
                  <a:ea typeface="微软雅黑" panose="020B0503020204020204" pitchFamily="34" charset="-122"/>
                  <a:cs typeface="思源黑体 CN Regular" panose="020B0500000000000000" charset="-122"/>
                  <a:sym typeface="Arial" panose="020B0604020202020204" pitchFamily="34" charset="0"/>
                </a:rPr>
                <a:t>.</a:t>
              </a:r>
              <a:r>
                <a:rPr lang="en-US" sz="2000" b="1">
                  <a:solidFill>
                    <a:schemeClr val="accent1"/>
                  </a:solidFill>
                  <a:latin typeface="Arial" panose="020B0604020202020204" pitchFamily="34" charset="0"/>
                  <a:ea typeface="微软雅黑" panose="020B0503020204020204" pitchFamily="34" charset="-122"/>
                  <a:cs typeface="思源黑体 CN Regular" panose="020B0500000000000000" charset="-122"/>
                  <a:sym typeface="Arial" panose="020B0604020202020204" pitchFamily="34" charset="0"/>
                </a:rPr>
                <a:t>100</a:t>
              </a:r>
              <a:r>
                <a:rPr lang="id-ID" sz="2000" b="1">
                  <a:solidFill>
                    <a:schemeClr val="accent1"/>
                  </a:solidFill>
                  <a:latin typeface="Arial" panose="020B0604020202020204" pitchFamily="34" charset="0"/>
                  <a:ea typeface="微软雅黑" panose="020B0503020204020204" pitchFamily="34" charset="-122"/>
                  <a:cs typeface="思源黑体 CN Regular" panose="020B0500000000000000" charset="-122"/>
                  <a:sym typeface="Arial" panose="020B0604020202020204" pitchFamily="34" charset="0"/>
                </a:rPr>
                <a:t>.</a:t>
              </a:r>
              <a:r>
                <a:rPr lang="en-US" sz="2000" b="1">
                  <a:solidFill>
                    <a:schemeClr val="accent1"/>
                  </a:solidFill>
                  <a:latin typeface="Arial" panose="020B0604020202020204" pitchFamily="34" charset="0"/>
                  <a:ea typeface="微软雅黑" panose="020B0503020204020204" pitchFamily="34" charset="-122"/>
                  <a:cs typeface="思源黑体 CN Regular" panose="020B0500000000000000" charset="-122"/>
                  <a:sym typeface="Arial" panose="020B0604020202020204" pitchFamily="34" charset="0"/>
                </a:rPr>
                <a:t>61</a:t>
              </a:r>
              <a:r>
                <a:rPr lang="id-ID" sz="2000" b="1">
                  <a:solidFill>
                    <a:schemeClr val="accent1"/>
                  </a:solidFill>
                  <a:latin typeface="Arial" panose="020B0604020202020204" pitchFamily="34" charset="0"/>
                  <a:ea typeface="微软雅黑" panose="020B0503020204020204" pitchFamily="34" charset="-122"/>
                  <a:cs typeface="思源黑体 CN Regular" panose="020B0500000000000000" charset="-122"/>
                  <a:sym typeface="Arial" panose="020B0604020202020204" pitchFamily="34" charset="0"/>
                </a:rPr>
                <a:t>1</a:t>
              </a:r>
            </a:p>
          </p:txBody>
        </p:sp>
      </p:grpSp>
      <p:sp>
        <p:nvSpPr>
          <p:cNvPr id="48" name="TextBox 47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SpPr txBox="1"/>
          <p:nvPr/>
        </p:nvSpPr>
        <p:spPr>
          <a:xfrm>
            <a:off x="6814504" y="2188672"/>
            <a:ext cx="4756173" cy="7571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</a:pPr>
            <a:r>
              <a:rPr lang="en-US" sz="2400"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rPr>
              <a:t>You </a:t>
            </a:r>
            <a:r>
              <a:rPr lang="en-US" sz="2400" b="1"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rPr>
              <a:t>don’t</a:t>
            </a:r>
            <a:r>
              <a:rPr lang="en-US" sz="2400"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rPr>
              <a:t> have to be </a:t>
            </a:r>
            <a:r>
              <a:rPr lang="en-US" sz="2400" i="1"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rPr>
              <a:t>“a creative” </a:t>
            </a:r>
            <a:r>
              <a:rPr lang="en-US" sz="2400"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rPr>
              <a:t>to be </a:t>
            </a:r>
            <a:r>
              <a:rPr lang="en-US" sz="2400" b="1"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rPr>
              <a:t>creative</a:t>
            </a:r>
            <a:r>
              <a:rPr lang="en-US" sz="2400"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rPr>
              <a:t>.</a:t>
            </a:r>
          </a:p>
        </p:txBody>
      </p:sp>
      <p:sp>
        <p:nvSpPr>
          <p:cNvPr id="49" name="TextBox 48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SpPr txBox="1"/>
          <p:nvPr/>
        </p:nvSpPr>
        <p:spPr>
          <a:xfrm>
            <a:off x="6814504" y="2900268"/>
            <a:ext cx="431430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err="1">
                <a:solidFill>
                  <a:schemeClr val="accent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rPr>
              <a:t>Lorem ipsum dolor sit amet, conse ctetur adipiscing.</a:t>
            </a:r>
            <a:endParaRPr lang="en-US" sz="1400">
              <a:solidFill>
                <a:schemeClr val="accent1"/>
              </a:solidFill>
              <a:latin typeface="Arial" panose="020B0604020202020204" pitchFamily="34" charset="0"/>
              <a:ea typeface="微软雅黑" panose="020B0503020204020204" pitchFamily="34" charset="-122"/>
              <a:cs typeface="思源黑体 CN Regular" panose="020B0500000000000000" charset="-122"/>
              <a:sym typeface="Arial" panose="020B0604020202020204" pitchFamily="34" charset="0"/>
            </a:endParaRPr>
          </a:p>
        </p:txBody>
      </p:sp>
      <p:graphicFrame>
        <p:nvGraphicFramePr>
          <p:cNvPr id="51" name="Диаграмма 18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GraphicFramePr/>
          <p:nvPr/>
        </p:nvGraphicFramePr>
        <p:xfrm>
          <a:off x="6412773" y="3747167"/>
          <a:ext cx="5560591" cy="298173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50" name="TextBox 43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SpPr txBox="1"/>
          <p:nvPr/>
        </p:nvSpPr>
        <p:spPr>
          <a:xfrm>
            <a:off x="864324" y="660991"/>
            <a:ext cx="5993676" cy="1446550"/>
          </a:xfrm>
          <a:prstGeom prst="rect">
            <a:avLst/>
          </a:prstGeom>
          <a:noFill/>
          <a:ln>
            <a:noFill/>
          </a:ln>
        </p:spPr>
        <p:txBody>
          <a:bodyPr wrap="square" rtlCol="0" anchor="ctr">
            <a:spAutoFit/>
          </a:bodyPr>
          <a:lstStyle>
            <a:defPPr>
              <a:defRPr lang="zh-CN"/>
            </a:defPPr>
            <a:lvl1pPr>
              <a:defRPr sz="4400" b="1">
                <a:ln w="9525">
                  <a:noFill/>
                </a:ln>
                <a:latin typeface="+mj-ea"/>
                <a:ea typeface="+mj-ea"/>
              </a:defRPr>
            </a:lvl1pPr>
          </a:lstStyle>
          <a:p>
            <a:r>
              <a:rPr lang="en-US"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rPr>
              <a:t>ESSENTIAL SERVICE </a:t>
            </a:r>
            <a:r>
              <a:rPr lang="en-US">
                <a:solidFill>
                  <a:schemeClr val="tx2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rPr>
              <a:t>MARKETING</a:t>
            </a:r>
          </a:p>
        </p:txBody>
      </p:sp>
      <p:grpSp>
        <p:nvGrpSpPr>
          <p:cNvPr id="54" name="组合 53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GrpSpPr/>
          <p:nvPr/>
        </p:nvGrpSpPr>
        <p:grpSpPr>
          <a:xfrm>
            <a:off x="537464" y="0"/>
            <a:ext cx="596900" cy="723900"/>
            <a:chOff x="537464" y="0"/>
            <a:chExt cx="596900" cy="723900"/>
          </a:xfrm>
        </p:grpSpPr>
        <p:sp>
          <p:nvSpPr>
            <p:cNvPr id="55" name="矩形 54"/>
            <p:cNvSpPr/>
            <p:nvPr/>
          </p:nvSpPr>
          <p:spPr>
            <a:xfrm>
              <a:off x="537464" y="0"/>
              <a:ext cx="596900" cy="723900"/>
            </a:xfrm>
            <a:prstGeom prst="rect">
              <a:avLst/>
            </a:prstGeom>
            <a:solidFill>
              <a:srgbClr val="002BF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endParaRPr>
            </a:p>
          </p:txBody>
        </p:sp>
        <p:sp>
          <p:nvSpPr>
            <p:cNvPr id="56" name="Shape 3891"/>
            <p:cNvSpPr/>
            <p:nvPr/>
          </p:nvSpPr>
          <p:spPr>
            <a:xfrm>
              <a:off x="698957" y="162829"/>
              <a:ext cx="279033" cy="27903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8429" y="14128"/>
                  </a:moveTo>
                  <a:cubicBezTo>
                    <a:pt x="17041" y="13430"/>
                    <a:pt x="15777" y="12523"/>
                    <a:pt x="14684" y="11440"/>
                  </a:cubicBezTo>
                  <a:cubicBezTo>
                    <a:pt x="15214" y="10618"/>
                    <a:pt x="15664" y="9739"/>
                    <a:pt x="16034" y="8820"/>
                  </a:cubicBezTo>
                  <a:cubicBezTo>
                    <a:pt x="16089" y="8826"/>
                    <a:pt x="16143" y="8836"/>
                    <a:pt x="16200" y="8836"/>
                  </a:cubicBezTo>
                  <a:cubicBezTo>
                    <a:pt x="17013" y="8836"/>
                    <a:pt x="17673" y="8178"/>
                    <a:pt x="17673" y="7364"/>
                  </a:cubicBezTo>
                  <a:cubicBezTo>
                    <a:pt x="17673" y="6787"/>
                    <a:pt x="17339" y="6295"/>
                    <a:pt x="16856" y="6052"/>
                  </a:cubicBezTo>
                  <a:cubicBezTo>
                    <a:pt x="17033" y="5170"/>
                    <a:pt x="17144" y="4264"/>
                    <a:pt x="17167" y="3336"/>
                  </a:cubicBezTo>
                  <a:cubicBezTo>
                    <a:pt x="19277" y="5136"/>
                    <a:pt x="20618" y="7809"/>
                    <a:pt x="20618" y="10800"/>
                  </a:cubicBezTo>
                  <a:cubicBezTo>
                    <a:pt x="20618" y="11764"/>
                    <a:pt x="20469" y="12690"/>
                    <a:pt x="20209" y="13568"/>
                  </a:cubicBezTo>
                  <a:cubicBezTo>
                    <a:pt x="19628" y="13783"/>
                    <a:pt x="19034" y="13971"/>
                    <a:pt x="18429" y="14128"/>
                  </a:cubicBezTo>
                  <a:moveTo>
                    <a:pt x="10800" y="20618"/>
                  </a:moveTo>
                  <a:cubicBezTo>
                    <a:pt x="8406" y="20618"/>
                    <a:pt x="6213" y="19759"/>
                    <a:pt x="4509" y="18335"/>
                  </a:cubicBezTo>
                  <a:cubicBezTo>
                    <a:pt x="6552" y="17934"/>
                    <a:pt x="8450" y="17135"/>
                    <a:pt x="10128" y="16031"/>
                  </a:cubicBezTo>
                  <a:cubicBezTo>
                    <a:pt x="10330" y="16136"/>
                    <a:pt x="10556" y="16200"/>
                    <a:pt x="10800" y="16200"/>
                  </a:cubicBezTo>
                  <a:cubicBezTo>
                    <a:pt x="11273" y="16200"/>
                    <a:pt x="11689" y="15974"/>
                    <a:pt x="11959" y="15627"/>
                  </a:cubicBezTo>
                  <a:cubicBezTo>
                    <a:pt x="12547" y="15680"/>
                    <a:pt x="13142" y="15709"/>
                    <a:pt x="13745" y="15709"/>
                  </a:cubicBezTo>
                  <a:cubicBezTo>
                    <a:pt x="15323" y="15709"/>
                    <a:pt x="16852" y="15508"/>
                    <a:pt x="18322" y="15156"/>
                  </a:cubicBezTo>
                  <a:cubicBezTo>
                    <a:pt x="18660" y="15317"/>
                    <a:pt x="18998" y="15480"/>
                    <a:pt x="19350" y="15618"/>
                  </a:cubicBezTo>
                  <a:cubicBezTo>
                    <a:pt x="17665" y="18601"/>
                    <a:pt x="14470" y="20618"/>
                    <a:pt x="10800" y="20618"/>
                  </a:cubicBezTo>
                  <a:moveTo>
                    <a:pt x="3539" y="17393"/>
                  </a:moveTo>
                  <a:cubicBezTo>
                    <a:pt x="3476" y="16840"/>
                    <a:pt x="3436" y="16280"/>
                    <a:pt x="3436" y="15709"/>
                  </a:cubicBezTo>
                  <a:cubicBezTo>
                    <a:pt x="3436" y="14764"/>
                    <a:pt x="3536" y="13842"/>
                    <a:pt x="3707" y="12946"/>
                  </a:cubicBezTo>
                  <a:cubicBezTo>
                    <a:pt x="5455" y="13988"/>
                    <a:pt x="7377" y="14767"/>
                    <a:pt x="9421" y="15227"/>
                  </a:cubicBezTo>
                  <a:cubicBezTo>
                    <a:pt x="9431" y="15254"/>
                    <a:pt x="9436" y="15282"/>
                    <a:pt x="9447" y="15308"/>
                  </a:cubicBezTo>
                  <a:cubicBezTo>
                    <a:pt x="7724" y="16421"/>
                    <a:pt x="5761" y="17193"/>
                    <a:pt x="3643" y="17507"/>
                  </a:cubicBezTo>
                  <a:cubicBezTo>
                    <a:pt x="3608" y="17469"/>
                    <a:pt x="3573" y="17430"/>
                    <a:pt x="3539" y="17393"/>
                  </a:cubicBezTo>
                  <a:moveTo>
                    <a:pt x="3075" y="11369"/>
                  </a:moveTo>
                  <a:cubicBezTo>
                    <a:pt x="2361" y="10869"/>
                    <a:pt x="1683" y="10322"/>
                    <a:pt x="1046" y="9729"/>
                  </a:cubicBezTo>
                  <a:cubicBezTo>
                    <a:pt x="1528" y="5299"/>
                    <a:pt x="4955" y="1762"/>
                    <a:pt x="9331" y="1104"/>
                  </a:cubicBezTo>
                  <a:cubicBezTo>
                    <a:pt x="9335" y="1629"/>
                    <a:pt x="9363" y="2148"/>
                    <a:pt x="9417" y="2660"/>
                  </a:cubicBezTo>
                  <a:cubicBezTo>
                    <a:pt x="8572" y="3227"/>
                    <a:pt x="7787" y="3879"/>
                    <a:pt x="7069" y="4597"/>
                  </a:cubicBezTo>
                  <a:cubicBezTo>
                    <a:pt x="6863" y="4486"/>
                    <a:pt x="6632" y="4418"/>
                    <a:pt x="6382" y="4418"/>
                  </a:cubicBezTo>
                  <a:cubicBezTo>
                    <a:pt x="5569" y="4418"/>
                    <a:pt x="4909" y="5078"/>
                    <a:pt x="4909" y="5891"/>
                  </a:cubicBezTo>
                  <a:cubicBezTo>
                    <a:pt x="4909" y="6236"/>
                    <a:pt x="5033" y="6549"/>
                    <a:pt x="5231" y="6800"/>
                  </a:cubicBezTo>
                  <a:cubicBezTo>
                    <a:pt x="4279" y="8179"/>
                    <a:pt x="3550" y="9719"/>
                    <a:pt x="3075" y="11369"/>
                  </a:cubicBezTo>
                  <a:moveTo>
                    <a:pt x="2466" y="15973"/>
                  </a:moveTo>
                  <a:cubicBezTo>
                    <a:pt x="1563" y="14521"/>
                    <a:pt x="1025" y="12821"/>
                    <a:pt x="989" y="10995"/>
                  </a:cubicBezTo>
                  <a:cubicBezTo>
                    <a:pt x="1570" y="11492"/>
                    <a:pt x="2180" y="11955"/>
                    <a:pt x="2817" y="12383"/>
                  </a:cubicBezTo>
                  <a:cubicBezTo>
                    <a:pt x="2585" y="13456"/>
                    <a:pt x="2455" y="14567"/>
                    <a:pt x="2455" y="15709"/>
                  </a:cubicBezTo>
                  <a:cubicBezTo>
                    <a:pt x="2455" y="15798"/>
                    <a:pt x="2464" y="15885"/>
                    <a:pt x="2466" y="15973"/>
                  </a:cubicBezTo>
                  <a:moveTo>
                    <a:pt x="13428" y="11540"/>
                  </a:moveTo>
                  <a:cubicBezTo>
                    <a:pt x="12907" y="12264"/>
                    <a:pt x="12315" y="12931"/>
                    <a:pt x="11674" y="13548"/>
                  </a:cubicBezTo>
                  <a:cubicBezTo>
                    <a:pt x="11429" y="13366"/>
                    <a:pt x="11129" y="13255"/>
                    <a:pt x="10800" y="13255"/>
                  </a:cubicBezTo>
                  <a:cubicBezTo>
                    <a:pt x="10166" y="13255"/>
                    <a:pt x="9631" y="13657"/>
                    <a:pt x="9423" y="14218"/>
                  </a:cubicBezTo>
                  <a:cubicBezTo>
                    <a:pt x="7455" y="13751"/>
                    <a:pt x="5607" y="12974"/>
                    <a:pt x="3936" y="11937"/>
                  </a:cubicBezTo>
                  <a:cubicBezTo>
                    <a:pt x="4379" y="10266"/>
                    <a:pt x="5100" y="8709"/>
                    <a:pt x="6060" y="7326"/>
                  </a:cubicBezTo>
                  <a:cubicBezTo>
                    <a:pt x="6164" y="7349"/>
                    <a:pt x="6271" y="7364"/>
                    <a:pt x="6382" y="7364"/>
                  </a:cubicBezTo>
                  <a:cubicBezTo>
                    <a:pt x="7195" y="7364"/>
                    <a:pt x="7855" y="6705"/>
                    <a:pt x="7855" y="5891"/>
                  </a:cubicBezTo>
                  <a:cubicBezTo>
                    <a:pt x="7855" y="5688"/>
                    <a:pt x="7813" y="5494"/>
                    <a:pt x="7739" y="5318"/>
                  </a:cubicBezTo>
                  <a:cubicBezTo>
                    <a:pt x="8307" y="4747"/>
                    <a:pt x="8920" y="4221"/>
                    <a:pt x="9575" y="3749"/>
                  </a:cubicBezTo>
                  <a:cubicBezTo>
                    <a:pt x="10104" y="6723"/>
                    <a:pt x="11479" y="9397"/>
                    <a:pt x="13428" y="11540"/>
                  </a:cubicBezTo>
                  <a:moveTo>
                    <a:pt x="10800" y="982"/>
                  </a:moveTo>
                  <a:cubicBezTo>
                    <a:pt x="11347" y="982"/>
                    <a:pt x="11881" y="1038"/>
                    <a:pt x="12403" y="1125"/>
                  </a:cubicBezTo>
                  <a:cubicBezTo>
                    <a:pt x="11696" y="1401"/>
                    <a:pt x="11005" y="1708"/>
                    <a:pt x="10354" y="2082"/>
                  </a:cubicBezTo>
                  <a:cubicBezTo>
                    <a:pt x="10328" y="1726"/>
                    <a:pt x="10311" y="1368"/>
                    <a:pt x="10310" y="1007"/>
                  </a:cubicBezTo>
                  <a:cubicBezTo>
                    <a:pt x="10474" y="999"/>
                    <a:pt x="10635" y="982"/>
                    <a:pt x="10800" y="982"/>
                  </a:cubicBezTo>
                  <a:moveTo>
                    <a:pt x="14120" y="12262"/>
                  </a:moveTo>
                  <a:cubicBezTo>
                    <a:pt x="14982" y="13097"/>
                    <a:pt x="15950" y="13819"/>
                    <a:pt x="16986" y="14440"/>
                  </a:cubicBezTo>
                  <a:cubicBezTo>
                    <a:pt x="15933" y="14626"/>
                    <a:pt x="14852" y="14727"/>
                    <a:pt x="13745" y="14727"/>
                  </a:cubicBezTo>
                  <a:cubicBezTo>
                    <a:pt x="13246" y="14727"/>
                    <a:pt x="12754" y="14702"/>
                    <a:pt x="12265" y="14664"/>
                  </a:cubicBezTo>
                  <a:cubicBezTo>
                    <a:pt x="12259" y="14569"/>
                    <a:pt x="12250" y="14475"/>
                    <a:pt x="12229" y="14386"/>
                  </a:cubicBezTo>
                  <a:cubicBezTo>
                    <a:pt x="12921" y="13737"/>
                    <a:pt x="13555" y="13027"/>
                    <a:pt x="14120" y="12262"/>
                  </a:cubicBezTo>
                  <a:moveTo>
                    <a:pt x="16188" y="2597"/>
                  </a:moveTo>
                  <a:cubicBezTo>
                    <a:pt x="16191" y="2713"/>
                    <a:pt x="16200" y="2828"/>
                    <a:pt x="16200" y="2945"/>
                  </a:cubicBezTo>
                  <a:cubicBezTo>
                    <a:pt x="16200" y="3967"/>
                    <a:pt x="16092" y="4962"/>
                    <a:pt x="15894" y="5924"/>
                  </a:cubicBezTo>
                  <a:cubicBezTo>
                    <a:pt x="15227" y="6065"/>
                    <a:pt x="14727" y="6656"/>
                    <a:pt x="14727" y="7364"/>
                  </a:cubicBezTo>
                  <a:cubicBezTo>
                    <a:pt x="14727" y="7765"/>
                    <a:pt x="14888" y="8128"/>
                    <a:pt x="15149" y="8393"/>
                  </a:cubicBezTo>
                  <a:cubicBezTo>
                    <a:pt x="14827" y="9199"/>
                    <a:pt x="14443" y="9974"/>
                    <a:pt x="13991" y="10701"/>
                  </a:cubicBezTo>
                  <a:cubicBezTo>
                    <a:pt x="12159" y="8620"/>
                    <a:pt x="10894" y="6025"/>
                    <a:pt x="10469" y="3152"/>
                  </a:cubicBezTo>
                  <a:cubicBezTo>
                    <a:pt x="11590" y="2463"/>
                    <a:pt x="12813" y="1934"/>
                    <a:pt x="14106" y="1565"/>
                  </a:cubicBezTo>
                  <a:cubicBezTo>
                    <a:pt x="14844" y="1829"/>
                    <a:pt x="15544" y="2174"/>
                    <a:pt x="16188" y="2597"/>
                  </a:cubicBezTo>
                  <a:moveTo>
                    <a:pt x="10800" y="0"/>
                  </a:moveTo>
                  <a:cubicBezTo>
                    <a:pt x="4835" y="0"/>
                    <a:pt x="0" y="4835"/>
                    <a:pt x="0" y="10800"/>
                  </a:cubicBezTo>
                  <a:cubicBezTo>
                    <a:pt x="0" y="16765"/>
                    <a:pt x="4835" y="21600"/>
                    <a:pt x="10800" y="21600"/>
                  </a:cubicBezTo>
                  <a:cubicBezTo>
                    <a:pt x="16765" y="21600"/>
                    <a:pt x="21600" y="16765"/>
                    <a:pt x="21600" y="10800"/>
                  </a:cubicBezTo>
                  <a:cubicBezTo>
                    <a:pt x="21600" y="4835"/>
                    <a:pt x="16765" y="0"/>
                    <a:pt x="10800" y="0"/>
                  </a:cubicBezTo>
                </a:path>
              </a:pathLst>
            </a:custGeom>
            <a:solidFill>
              <a:schemeClr val="bg1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endParaRPr>
                <a:solidFill>
                  <a:prstClr val="black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endParaRPr>
            </a:p>
          </p:txBody>
        </p:sp>
        <p:sp>
          <p:nvSpPr>
            <p:cNvPr id="57" name="文本框 56"/>
            <p:cNvSpPr txBox="1"/>
            <p:nvPr/>
          </p:nvSpPr>
          <p:spPr>
            <a:xfrm>
              <a:off x="554398" y="448734"/>
              <a:ext cx="572593" cy="25391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sz="1050">
                  <a:solidFill>
                    <a:schemeClr val="bg1"/>
                  </a:solidFill>
                  <a:latin typeface="Arial" panose="020B0604020202020204" pitchFamily="34" charset="0"/>
                  <a:ea typeface="微软雅黑" panose="020B0503020204020204" pitchFamily="34" charset="-122"/>
                  <a:cs typeface="思源黑体 CN Regular" panose="020B0500000000000000" charset="-122"/>
                  <a:sym typeface="Arial" panose="020B0604020202020204" pitchFamily="34" charset="0"/>
                </a:rPr>
                <a:t>LOGO</a:t>
              </a:r>
              <a:endParaRPr lang="zh-CN" altLang="en-US" sz="1050">
                <a:solidFill>
                  <a:schemeClr val="bg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endParaRPr>
            </a:p>
          </p:txBody>
        </p:sp>
      </p:grpSp>
      <p:sp>
        <p:nvSpPr>
          <p:cNvPr id="58" name="Прямоугольник 25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SpPr/>
          <p:nvPr/>
        </p:nvSpPr>
        <p:spPr>
          <a:xfrm>
            <a:off x="0" y="0"/>
            <a:ext cx="45719" cy="3429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rial" panose="020B0604020202020204" pitchFamily="34" charset="0"/>
              <a:ea typeface="微软雅黑" panose="020B0503020204020204" pitchFamily="34" charset="-122"/>
              <a:cs typeface="思源黑体 CN Regular" panose="020B0500000000000000" charset="-122"/>
              <a:sym typeface="Arial" panose="020B0604020202020204" pitchFamily="34" charset="0"/>
            </a:endParaRPr>
          </a:p>
        </p:txBody>
      </p:sp>
      <p:sp>
        <p:nvSpPr>
          <p:cNvPr id="2" name="e7d195523061f1c0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 hidden="1"/>
          <p:cNvSpPr txBox="1"/>
          <p:nvPr/>
        </p:nvSpPr>
        <p:spPr>
          <a:xfrm>
            <a:off x="-355600" y="1803400"/>
            <a:ext cx="284693" cy="1016000"/>
          </a:xfrm>
          <a:prstGeom prst="rect">
            <a:avLst/>
          </a:prstGeom>
          <a:noFill/>
        </p:spPr>
        <p:txBody>
          <a:bodyPr vert="wordArtVert" rtlCol="0">
            <a:spAutoFit/>
          </a:bodyPr>
          <a:lstStyle/>
          <a:p>
            <a:r>
              <a:rPr lang="en-US" altLang="zh-CN" sz="100"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rPr>
              <a:t>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</a:t>
            </a:r>
            <a:endParaRPr lang="zh-CN" altLang="en-US" sz="100">
              <a:latin typeface="Arial" panose="020B0604020202020204" pitchFamily="34" charset="0"/>
              <a:ea typeface="微软雅黑" panose="020B0503020204020204" pitchFamily="34" charset="-122"/>
              <a:cs typeface="思源黑体 CN Regular" panose="020B0500000000000000" charset="-122"/>
              <a:sym typeface="Arial" panose="020B0604020202020204" pitchFamily="34" charset="0"/>
            </a:endParaRPr>
          </a:p>
        </p:txBody>
      </p:sp>
      <p:sp>
        <p:nvSpPr>
          <p:cNvPr id="3" name="TextBox 4"/>
          <p:cNvSpPr txBox="1"/>
          <p:nvPr/>
        </p:nvSpPr>
        <p:spPr>
          <a:xfrm>
            <a:off x="0" y="5"/>
            <a:ext cx="604867" cy="1275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200000"/>
              </a:lnSpc>
            </a:pPr>
            <a:r>
              <a:rPr lang="zh-CN" altLang="en-US" sz="135">
                <a:solidFill>
                  <a:schemeClr val="tx1">
                    <a:alpha val="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行业</a:t>
            </a:r>
            <a:r>
              <a:rPr lang="en-US" altLang="zh-CN" sz="135">
                <a:solidFill>
                  <a:schemeClr val="tx1">
                    <a:alpha val="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PPT</a:t>
            </a:r>
            <a:r>
              <a:rPr lang="zh-CN" altLang="en-US" sz="135">
                <a:solidFill>
                  <a:schemeClr val="tx1">
                    <a:alpha val="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模板</a:t>
            </a:r>
            <a:r>
              <a:rPr lang="en-US" altLang="zh-CN" sz="135">
                <a:solidFill>
                  <a:schemeClr val="tx1">
                    <a:alpha val="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http://www.1ppt.com/hangye/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 advTm="1000">
        <p:random/>
      </p:transition>
    </mc:Choice>
    <mc:Fallback xmlns:p159="http://schemas.microsoft.com/office/powerpoint/2015/09/main" xmlns:p15="http://schemas.microsoft.com/office/powerpoint/2012/main" xmlns:a14="http://schemas.microsoft.com/office/drawing/2010/main" xmlns:wp="http://schemas.openxmlformats.org/drawingml/2006/wordprocessingDrawing" xmlns:w="http://schemas.openxmlformats.org/wordprocessingml/2006/main" xmlns:m="http://schemas.openxmlformats.org/officeDocument/2006/math" xmlns="">
      <p:transition spd="slow" advTm="1000">
        <p:random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dur="1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42" presetClass="entr" presetSubtype="0" dur="1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" presetID="42" presetClass="entr" presetSubtype="0" dur="1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10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8" dur="10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0" presetID="42" presetClass="entr" presetSubtype="0" dur="1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10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10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42" presetClass="entr" presetSubtype="0" dur="1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10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8" dur="10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10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0" presetID="42" presetClass="entr" presetSubtype="0" dur="1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10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3" dur="10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4" dur="10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5" presetID="42" presetClass="entr" presetSubtype="0" dur="1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10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8" dur="10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9" dur="10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0" presetID="42" presetClass="entr" presetSubtype="0" dur="1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10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3" dur="10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4" dur="10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5" presetID="42" presetClass="entr" presetSubtype="0" dur="1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10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8" dur="100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9" dur="100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0" presetID="42" presetClass="entr" presetSubtype="0" dur="1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10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3" dur="1000" fill="hold"/>
                                        <p:tgtEl>
                                          <p:spTgt spid="5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4" dur="1000" fill="hold"/>
                                        <p:tgtEl>
                                          <p:spTgt spid="5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5" presetID="42" presetClass="entr" presetSubtype="0" dur="1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10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8" dur="1000" fill="hold"/>
                                        <p:tgtEl>
                                          <p:spTgt spid="5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9" dur="1000" fill="hold"/>
                                        <p:tgtEl>
                                          <p:spTgt spid="5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8" grpId="0"/>
      <p:bldP spid="49" grpId="0"/>
      <p:bldGraphic spid="51" grpId="0">
        <p:bldAsOne/>
      </p:bldGraphic>
      <p:bldP spid="50" grpId="0"/>
    </p:bld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图片 9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-1082040"/>
            <a:ext cx="12192000" cy="9022080"/>
          </a:xfrm>
          <a:prstGeom prst="rect">
            <a:avLst/>
          </a:prstGeom>
        </p:spPr>
      </p:pic>
      <p:sp>
        <p:nvSpPr>
          <p:cNvPr id="4" name="Rectangle 3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SpPr/>
          <p:nvPr/>
        </p:nvSpPr>
        <p:spPr>
          <a:xfrm>
            <a:off x="3220124" y="2286000"/>
            <a:ext cx="5751754" cy="2286000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/>
            <a:endParaRPr lang="en-US">
              <a:latin typeface="Arial" panose="020B0604020202020204" pitchFamily="34" charset="0"/>
              <a:ea typeface="微软雅黑" panose="020B0503020204020204" pitchFamily="34" charset="-122"/>
              <a:cs typeface="思源黑体 CN Regular" panose="020B0500000000000000" charset="-122"/>
              <a:sym typeface="Arial" panose="020B0604020202020204" pitchFamily="34" charset="0"/>
            </a:endParaRPr>
          </a:p>
        </p:txBody>
      </p:sp>
      <p:sp>
        <p:nvSpPr>
          <p:cNvPr id="5" name="TextBox 4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SpPr txBox="1"/>
          <p:nvPr/>
        </p:nvSpPr>
        <p:spPr>
          <a:xfrm>
            <a:off x="3435275" y="2921168"/>
            <a:ext cx="5321450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>
              <a:defRPr sz="6000">
                <a:latin typeface="逐浪雅宋体" panose="02010601030101010101" pitchFamily="2" charset="-122"/>
                <a:ea typeface="逐浪雅宋体" panose="02010601030101010101" pitchFamily="2" charset="-122"/>
              </a:defRPr>
            </a:lvl1pPr>
          </a:lstStyle>
          <a:p>
            <a:pPr algn="ctr"/>
            <a:r>
              <a:rPr lang="en-US" altLang="zh-CN" sz="6600" dirty="0">
                <a:solidFill>
                  <a:schemeClr val="bg1"/>
                </a:solidFill>
                <a:latin typeface="Aharoni" pitchFamily="2" charset="-79"/>
                <a:ea typeface="微软雅黑" panose="020B0503020204020204" pitchFamily="34" charset="-122"/>
                <a:cs typeface="Aharoni" pitchFamily="2" charset="-79"/>
                <a:sym typeface="Arial" panose="020B0604020202020204" pitchFamily="34" charset="0"/>
              </a:rPr>
              <a:t>THANK YOU</a:t>
            </a:r>
            <a:endParaRPr lang="en-US" sz="6600" dirty="0">
              <a:solidFill>
                <a:schemeClr val="bg1"/>
              </a:solidFill>
              <a:latin typeface="Aharoni" pitchFamily="2" charset="-79"/>
              <a:ea typeface="微软雅黑" panose="020B0503020204020204" pitchFamily="34" charset="-122"/>
              <a:cs typeface="Aharoni" pitchFamily="2" charset="-79"/>
              <a:sym typeface="Arial" panose="020B0604020202020204" pitchFamily="34" charset="0"/>
            </a:endParaRPr>
          </a:p>
        </p:txBody>
      </p:sp>
      <p:sp>
        <p:nvSpPr>
          <p:cNvPr id="8" name="Rectangle 7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SpPr/>
          <p:nvPr/>
        </p:nvSpPr>
        <p:spPr>
          <a:xfrm>
            <a:off x="5434637" y="2286000"/>
            <a:ext cx="1322726" cy="361872"/>
          </a:xfrm>
          <a:prstGeom prst="rect">
            <a:avLst/>
          </a:prstGeom>
          <a:solidFill>
            <a:schemeClr val="bg1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/>
            <a:r>
              <a:rPr lang="en-US" sz="1000" b="1" spc="30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rPr>
              <a:t>CONTACT</a:t>
            </a:r>
          </a:p>
        </p:txBody>
      </p:sp>
      <p:sp>
        <p:nvSpPr>
          <p:cNvPr id="12" name="文本框 11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SpPr txBox="1"/>
          <p:nvPr/>
        </p:nvSpPr>
        <p:spPr>
          <a:xfrm>
            <a:off x="3767328" y="3886200"/>
            <a:ext cx="4834128" cy="37490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dist"/>
            <a:r>
              <a:rPr lang="en-US" altLang="zh-CN">
                <a:solidFill>
                  <a:schemeClr val="bg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rPr>
              <a:t>THE MODERN PRESENTATION</a:t>
            </a:r>
            <a:endParaRPr lang="zh-CN" altLang="en-US">
              <a:solidFill>
                <a:schemeClr val="bg1"/>
              </a:solidFill>
              <a:latin typeface="Arial" panose="020B0604020202020204" pitchFamily="34" charset="0"/>
              <a:ea typeface="微软雅黑" panose="020B0503020204020204" pitchFamily="34" charset="-122"/>
              <a:cs typeface="思源黑体 CN Regular" panose="020B0500000000000000" charset="-122"/>
              <a:sym typeface="Arial" panose="020B0604020202020204" pitchFamily="34" charset="0"/>
            </a:endParaRPr>
          </a:p>
        </p:txBody>
      </p:sp>
      <p:sp>
        <p:nvSpPr>
          <p:cNvPr id="14" name="矩形 13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SpPr/>
          <p:nvPr/>
        </p:nvSpPr>
        <p:spPr>
          <a:xfrm>
            <a:off x="10083800" y="0"/>
            <a:ext cx="596900" cy="723900"/>
          </a:xfrm>
          <a:prstGeom prst="rect">
            <a:avLst/>
          </a:prstGeom>
          <a:solidFill>
            <a:srgbClr val="002BF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latin typeface="Arial" panose="020B0604020202020204" pitchFamily="34" charset="0"/>
              <a:ea typeface="微软雅黑" panose="020B0503020204020204" pitchFamily="34" charset="-122"/>
              <a:cs typeface="思源黑体 CN Regular" panose="020B0500000000000000" charset="-122"/>
              <a:sym typeface="Arial" panose="020B0604020202020204" pitchFamily="34" charset="0"/>
            </a:endParaRPr>
          </a:p>
        </p:txBody>
      </p:sp>
      <p:sp>
        <p:nvSpPr>
          <p:cNvPr id="15" name="Shape 3891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SpPr/>
          <p:nvPr/>
        </p:nvSpPr>
        <p:spPr>
          <a:xfrm>
            <a:off x="10245293" y="162829"/>
            <a:ext cx="279033" cy="279033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8429" y="14128"/>
                </a:moveTo>
                <a:cubicBezTo>
                  <a:pt x="17041" y="13430"/>
                  <a:pt x="15777" y="12523"/>
                  <a:pt x="14684" y="11440"/>
                </a:cubicBezTo>
                <a:cubicBezTo>
                  <a:pt x="15214" y="10618"/>
                  <a:pt x="15664" y="9739"/>
                  <a:pt x="16034" y="8820"/>
                </a:cubicBezTo>
                <a:cubicBezTo>
                  <a:pt x="16089" y="8826"/>
                  <a:pt x="16143" y="8836"/>
                  <a:pt x="16200" y="8836"/>
                </a:cubicBezTo>
                <a:cubicBezTo>
                  <a:pt x="17013" y="8836"/>
                  <a:pt x="17673" y="8178"/>
                  <a:pt x="17673" y="7364"/>
                </a:cubicBezTo>
                <a:cubicBezTo>
                  <a:pt x="17673" y="6787"/>
                  <a:pt x="17339" y="6295"/>
                  <a:pt x="16856" y="6052"/>
                </a:cubicBezTo>
                <a:cubicBezTo>
                  <a:pt x="17033" y="5170"/>
                  <a:pt x="17144" y="4264"/>
                  <a:pt x="17167" y="3336"/>
                </a:cubicBezTo>
                <a:cubicBezTo>
                  <a:pt x="19277" y="5136"/>
                  <a:pt x="20618" y="7809"/>
                  <a:pt x="20618" y="10800"/>
                </a:cubicBezTo>
                <a:cubicBezTo>
                  <a:pt x="20618" y="11764"/>
                  <a:pt x="20469" y="12690"/>
                  <a:pt x="20209" y="13568"/>
                </a:cubicBezTo>
                <a:cubicBezTo>
                  <a:pt x="19628" y="13783"/>
                  <a:pt x="19034" y="13971"/>
                  <a:pt x="18429" y="14128"/>
                </a:cubicBezTo>
                <a:moveTo>
                  <a:pt x="10800" y="20618"/>
                </a:moveTo>
                <a:cubicBezTo>
                  <a:pt x="8406" y="20618"/>
                  <a:pt x="6213" y="19759"/>
                  <a:pt x="4509" y="18335"/>
                </a:cubicBezTo>
                <a:cubicBezTo>
                  <a:pt x="6552" y="17934"/>
                  <a:pt x="8450" y="17135"/>
                  <a:pt x="10128" y="16031"/>
                </a:cubicBezTo>
                <a:cubicBezTo>
                  <a:pt x="10330" y="16136"/>
                  <a:pt x="10556" y="16200"/>
                  <a:pt x="10800" y="16200"/>
                </a:cubicBezTo>
                <a:cubicBezTo>
                  <a:pt x="11273" y="16200"/>
                  <a:pt x="11689" y="15974"/>
                  <a:pt x="11959" y="15627"/>
                </a:cubicBezTo>
                <a:cubicBezTo>
                  <a:pt x="12547" y="15680"/>
                  <a:pt x="13142" y="15709"/>
                  <a:pt x="13745" y="15709"/>
                </a:cubicBezTo>
                <a:cubicBezTo>
                  <a:pt x="15323" y="15709"/>
                  <a:pt x="16852" y="15508"/>
                  <a:pt x="18322" y="15156"/>
                </a:cubicBezTo>
                <a:cubicBezTo>
                  <a:pt x="18660" y="15317"/>
                  <a:pt x="18998" y="15480"/>
                  <a:pt x="19350" y="15618"/>
                </a:cubicBezTo>
                <a:cubicBezTo>
                  <a:pt x="17665" y="18601"/>
                  <a:pt x="14470" y="20618"/>
                  <a:pt x="10800" y="20618"/>
                </a:cubicBezTo>
                <a:moveTo>
                  <a:pt x="3539" y="17393"/>
                </a:moveTo>
                <a:cubicBezTo>
                  <a:pt x="3476" y="16840"/>
                  <a:pt x="3436" y="16280"/>
                  <a:pt x="3436" y="15709"/>
                </a:cubicBezTo>
                <a:cubicBezTo>
                  <a:pt x="3436" y="14764"/>
                  <a:pt x="3536" y="13842"/>
                  <a:pt x="3707" y="12946"/>
                </a:cubicBezTo>
                <a:cubicBezTo>
                  <a:pt x="5455" y="13988"/>
                  <a:pt x="7377" y="14767"/>
                  <a:pt x="9421" y="15227"/>
                </a:cubicBezTo>
                <a:cubicBezTo>
                  <a:pt x="9431" y="15254"/>
                  <a:pt x="9436" y="15282"/>
                  <a:pt x="9447" y="15308"/>
                </a:cubicBezTo>
                <a:cubicBezTo>
                  <a:pt x="7724" y="16421"/>
                  <a:pt x="5761" y="17193"/>
                  <a:pt x="3643" y="17507"/>
                </a:cubicBezTo>
                <a:cubicBezTo>
                  <a:pt x="3608" y="17469"/>
                  <a:pt x="3573" y="17430"/>
                  <a:pt x="3539" y="17393"/>
                </a:cubicBezTo>
                <a:moveTo>
                  <a:pt x="3075" y="11369"/>
                </a:moveTo>
                <a:cubicBezTo>
                  <a:pt x="2361" y="10869"/>
                  <a:pt x="1683" y="10322"/>
                  <a:pt x="1046" y="9729"/>
                </a:cubicBezTo>
                <a:cubicBezTo>
                  <a:pt x="1528" y="5299"/>
                  <a:pt x="4955" y="1762"/>
                  <a:pt x="9331" y="1104"/>
                </a:cubicBezTo>
                <a:cubicBezTo>
                  <a:pt x="9335" y="1629"/>
                  <a:pt x="9363" y="2148"/>
                  <a:pt x="9417" y="2660"/>
                </a:cubicBezTo>
                <a:cubicBezTo>
                  <a:pt x="8572" y="3227"/>
                  <a:pt x="7787" y="3879"/>
                  <a:pt x="7069" y="4597"/>
                </a:cubicBezTo>
                <a:cubicBezTo>
                  <a:pt x="6863" y="4486"/>
                  <a:pt x="6632" y="4418"/>
                  <a:pt x="6382" y="4418"/>
                </a:cubicBezTo>
                <a:cubicBezTo>
                  <a:pt x="5569" y="4418"/>
                  <a:pt x="4909" y="5078"/>
                  <a:pt x="4909" y="5891"/>
                </a:cubicBezTo>
                <a:cubicBezTo>
                  <a:pt x="4909" y="6236"/>
                  <a:pt x="5033" y="6549"/>
                  <a:pt x="5231" y="6800"/>
                </a:cubicBezTo>
                <a:cubicBezTo>
                  <a:pt x="4279" y="8179"/>
                  <a:pt x="3550" y="9719"/>
                  <a:pt x="3075" y="11369"/>
                </a:cubicBezTo>
                <a:moveTo>
                  <a:pt x="2466" y="15973"/>
                </a:moveTo>
                <a:cubicBezTo>
                  <a:pt x="1563" y="14521"/>
                  <a:pt x="1025" y="12821"/>
                  <a:pt x="989" y="10995"/>
                </a:cubicBezTo>
                <a:cubicBezTo>
                  <a:pt x="1570" y="11492"/>
                  <a:pt x="2180" y="11955"/>
                  <a:pt x="2817" y="12383"/>
                </a:cubicBezTo>
                <a:cubicBezTo>
                  <a:pt x="2585" y="13456"/>
                  <a:pt x="2455" y="14567"/>
                  <a:pt x="2455" y="15709"/>
                </a:cubicBezTo>
                <a:cubicBezTo>
                  <a:pt x="2455" y="15798"/>
                  <a:pt x="2464" y="15885"/>
                  <a:pt x="2466" y="15973"/>
                </a:cubicBezTo>
                <a:moveTo>
                  <a:pt x="13428" y="11540"/>
                </a:moveTo>
                <a:cubicBezTo>
                  <a:pt x="12907" y="12264"/>
                  <a:pt x="12315" y="12931"/>
                  <a:pt x="11674" y="13548"/>
                </a:cubicBezTo>
                <a:cubicBezTo>
                  <a:pt x="11429" y="13366"/>
                  <a:pt x="11129" y="13255"/>
                  <a:pt x="10800" y="13255"/>
                </a:cubicBezTo>
                <a:cubicBezTo>
                  <a:pt x="10166" y="13255"/>
                  <a:pt x="9631" y="13657"/>
                  <a:pt x="9423" y="14218"/>
                </a:cubicBezTo>
                <a:cubicBezTo>
                  <a:pt x="7455" y="13751"/>
                  <a:pt x="5607" y="12974"/>
                  <a:pt x="3936" y="11937"/>
                </a:cubicBezTo>
                <a:cubicBezTo>
                  <a:pt x="4379" y="10266"/>
                  <a:pt x="5100" y="8709"/>
                  <a:pt x="6060" y="7326"/>
                </a:cubicBezTo>
                <a:cubicBezTo>
                  <a:pt x="6164" y="7349"/>
                  <a:pt x="6271" y="7364"/>
                  <a:pt x="6382" y="7364"/>
                </a:cubicBezTo>
                <a:cubicBezTo>
                  <a:pt x="7195" y="7364"/>
                  <a:pt x="7855" y="6705"/>
                  <a:pt x="7855" y="5891"/>
                </a:cubicBezTo>
                <a:cubicBezTo>
                  <a:pt x="7855" y="5688"/>
                  <a:pt x="7813" y="5494"/>
                  <a:pt x="7739" y="5318"/>
                </a:cubicBezTo>
                <a:cubicBezTo>
                  <a:pt x="8307" y="4747"/>
                  <a:pt x="8920" y="4221"/>
                  <a:pt x="9575" y="3749"/>
                </a:cubicBezTo>
                <a:cubicBezTo>
                  <a:pt x="10104" y="6723"/>
                  <a:pt x="11479" y="9397"/>
                  <a:pt x="13428" y="11540"/>
                </a:cubicBezTo>
                <a:moveTo>
                  <a:pt x="10800" y="982"/>
                </a:moveTo>
                <a:cubicBezTo>
                  <a:pt x="11347" y="982"/>
                  <a:pt x="11881" y="1038"/>
                  <a:pt x="12403" y="1125"/>
                </a:cubicBezTo>
                <a:cubicBezTo>
                  <a:pt x="11696" y="1401"/>
                  <a:pt x="11005" y="1708"/>
                  <a:pt x="10354" y="2082"/>
                </a:cubicBezTo>
                <a:cubicBezTo>
                  <a:pt x="10328" y="1726"/>
                  <a:pt x="10311" y="1368"/>
                  <a:pt x="10310" y="1007"/>
                </a:cubicBezTo>
                <a:cubicBezTo>
                  <a:pt x="10474" y="999"/>
                  <a:pt x="10635" y="982"/>
                  <a:pt x="10800" y="982"/>
                </a:cubicBezTo>
                <a:moveTo>
                  <a:pt x="14120" y="12262"/>
                </a:moveTo>
                <a:cubicBezTo>
                  <a:pt x="14982" y="13097"/>
                  <a:pt x="15950" y="13819"/>
                  <a:pt x="16986" y="14440"/>
                </a:cubicBezTo>
                <a:cubicBezTo>
                  <a:pt x="15933" y="14626"/>
                  <a:pt x="14852" y="14727"/>
                  <a:pt x="13745" y="14727"/>
                </a:cubicBezTo>
                <a:cubicBezTo>
                  <a:pt x="13246" y="14727"/>
                  <a:pt x="12754" y="14702"/>
                  <a:pt x="12265" y="14664"/>
                </a:cubicBezTo>
                <a:cubicBezTo>
                  <a:pt x="12259" y="14569"/>
                  <a:pt x="12250" y="14475"/>
                  <a:pt x="12229" y="14386"/>
                </a:cubicBezTo>
                <a:cubicBezTo>
                  <a:pt x="12921" y="13737"/>
                  <a:pt x="13555" y="13027"/>
                  <a:pt x="14120" y="12262"/>
                </a:cubicBezTo>
                <a:moveTo>
                  <a:pt x="16188" y="2597"/>
                </a:moveTo>
                <a:cubicBezTo>
                  <a:pt x="16191" y="2713"/>
                  <a:pt x="16200" y="2828"/>
                  <a:pt x="16200" y="2945"/>
                </a:cubicBezTo>
                <a:cubicBezTo>
                  <a:pt x="16200" y="3967"/>
                  <a:pt x="16092" y="4962"/>
                  <a:pt x="15894" y="5924"/>
                </a:cubicBezTo>
                <a:cubicBezTo>
                  <a:pt x="15227" y="6065"/>
                  <a:pt x="14727" y="6656"/>
                  <a:pt x="14727" y="7364"/>
                </a:cubicBezTo>
                <a:cubicBezTo>
                  <a:pt x="14727" y="7765"/>
                  <a:pt x="14888" y="8128"/>
                  <a:pt x="15149" y="8393"/>
                </a:cubicBezTo>
                <a:cubicBezTo>
                  <a:pt x="14827" y="9199"/>
                  <a:pt x="14443" y="9974"/>
                  <a:pt x="13991" y="10701"/>
                </a:cubicBezTo>
                <a:cubicBezTo>
                  <a:pt x="12159" y="8620"/>
                  <a:pt x="10894" y="6025"/>
                  <a:pt x="10469" y="3152"/>
                </a:cubicBezTo>
                <a:cubicBezTo>
                  <a:pt x="11590" y="2463"/>
                  <a:pt x="12813" y="1934"/>
                  <a:pt x="14106" y="1565"/>
                </a:cubicBezTo>
                <a:cubicBezTo>
                  <a:pt x="14844" y="1829"/>
                  <a:pt x="15544" y="2174"/>
                  <a:pt x="16188" y="2597"/>
                </a:cubicBezTo>
                <a:moveTo>
                  <a:pt x="10800" y="0"/>
                </a:moveTo>
                <a:cubicBezTo>
                  <a:pt x="4835" y="0"/>
                  <a:pt x="0" y="4835"/>
                  <a:pt x="0" y="10800"/>
                </a:cubicBezTo>
                <a:cubicBezTo>
                  <a:pt x="0" y="16765"/>
                  <a:pt x="4835" y="21600"/>
                  <a:pt x="10800" y="21600"/>
                </a:cubicBezTo>
                <a:cubicBezTo>
                  <a:pt x="16765" y="21600"/>
                  <a:pt x="21600" y="16765"/>
                  <a:pt x="21600" y="10800"/>
                </a:cubicBezTo>
                <a:cubicBezTo>
                  <a:pt x="21600" y="4835"/>
                  <a:pt x="16765" y="0"/>
                  <a:pt x="10800" y="0"/>
                </a:cubicBezTo>
              </a:path>
            </a:pathLst>
          </a:custGeom>
          <a:solidFill>
            <a:schemeClr val="bg1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endParaRPr>
              <a:solidFill>
                <a:prstClr val="black"/>
              </a:solidFill>
              <a:latin typeface="Arial" panose="020B0604020202020204" pitchFamily="34" charset="0"/>
              <a:ea typeface="微软雅黑" panose="020B0503020204020204" pitchFamily="34" charset="-122"/>
              <a:cs typeface="思源黑体 CN Regular" panose="020B0500000000000000" charset="-122"/>
              <a:sym typeface="Arial" panose="020B0604020202020204" pitchFamily="34" charset="0"/>
            </a:endParaRPr>
          </a:p>
        </p:txBody>
      </p:sp>
      <p:sp>
        <p:nvSpPr>
          <p:cNvPr id="16" name="文本框 15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SpPr txBox="1"/>
          <p:nvPr/>
        </p:nvSpPr>
        <p:spPr>
          <a:xfrm>
            <a:off x="10100734" y="448734"/>
            <a:ext cx="572593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1050">
                <a:solidFill>
                  <a:schemeClr val="bg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rPr>
              <a:t>LOGO</a:t>
            </a:r>
            <a:endParaRPr lang="zh-CN" altLang="en-US" sz="1050">
              <a:solidFill>
                <a:schemeClr val="bg1"/>
              </a:solidFill>
              <a:latin typeface="Arial" panose="020B0604020202020204" pitchFamily="34" charset="0"/>
              <a:ea typeface="微软雅黑" panose="020B0503020204020204" pitchFamily="34" charset="-122"/>
              <a:cs typeface="思源黑体 CN Regular" panose="020B0500000000000000" charset="-122"/>
              <a:sym typeface="Arial" panose="020B0604020202020204" pitchFamily="34" charset="0"/>
            </a:endParaRPr>
          </a:p>
        </p:txBody>
      </p:sp>
      <p:sp>
        <p:nvSpPr>
          <p:cNvPr id="25" name="e7d195523061f1c0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 hidden="1"/>
          <p:cNvSpPr txBox="1"/>
          <p:nvPr/>
        </p:nvSpPr>
        <p:spPr>
          <a:xfrm>
            <a:off x="-355600" y="1803400"/>
            <a:ext cx="284693" cy="1016000"/>
          </a:xfrm>
          <a:prstGeom prst="rect">
            <a:avLst/>
          </a:prstGeom>
          <a:noFill/>
        </p:spPr>
        <p:txBody>
          <a:bodyPr vert="wordArtVert" rtlCol="0">
            <a:spAutoFit/>
          </a:bodyPr>
          <a:lstStyle/>
          <a:p>
            <a:r>
              <a:rPr lang="en-US" altLang="zh-CN" sz="100"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rPr>
              <a:t>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</a:t>
            </a:r>
            <a:endParaRPr lang="zh-CN" altLang="en-US" sz="100">
              <a:latin typeface="Arial" panose="020B0604020202020204" pitchFamily="34" charset="0"/>
              <a:ea typeface="微软雅黑" panose="020B0503020204020204" pitchFamily="34" charset="-122"/>
              <a:cs typeface="思源黑体 CN Regular" panose="020B0500000000000000" charset="-122"/>
              <a:sym typeface="Arial" panose="020B0604020202020204" pitchFamily="34" charset="0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random/>
      </p:transition>
    </mc:Choice>
    <mc:Fallback xmlns:p159="http://schemas.microsoft.com/office/powerpoint/2015/09/main" xmlns:p15="http://schemas.microsoft.com/office/powerpoint/2012/main" xmlns:a14="http://schemas.microsoft.com/office/drawing/2010/main" xmlns:wp="http://schemas.openxmlformats.org/drawingml/2006/wordprocessingDrawing" xmlns:w="http://schemas.openxmlformats.org/wordprocessingml/2006/main" xmlns:m="http://schemas.openxmlformats.org/officeDocument/2006/math" xmlns="">
      <p:transition spd="slow">
        <p:random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21" dur="5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 nodeType="clickPar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dur="50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0" presetClass="entr" presetSubtype="0" dur="5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dur="5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dur="5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5" grpId="0"/>
      <p:bldP spid="8" grpId="0" animBg="1"/>
      <p:bldP spid="12" grpId="0"/>
    </p:bld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>
            <a:extLst>
              <a:ext uri="{FF2B5EF4-FFF2-40B4-BE49-F238E27FC236}">
                <a16:creationId xmlns:a16="http://schemas.microsoft.com/office/drawing/2014/main" id="{56E43E27-F1B0-02E8-1946-73FF63AFFE33}"/>
              </a:ext>
            </a:extLst>
          </p:cNvPr>
          <p:cNvGrpSpPr/>
          <p:nvPr/>
        </p:nvGrpSpPr>
        <p:grpSpPr>
          <a:xfrm>
            <a:off x="1659925" y="1576395"/>
            <a:ext cx="8872151" cy="3560070"/>
            <a:chOff x="1659925" y="1622451"/>
            <a:chExt cx="8872151" cy="3560070"/>
          </a:xfrm>
        </p:grpSpPr>
        <p:sp>
          <p:nvSpPr>
            <p:cNvPr id="4" name="TextBox 3">
              <a:extLst>
                <a:ext uri="{FF2B5EF4-FFF2-40B4-BE49-F238E27FC236}">
                  <a16:creationId xmlns:a16="http://schemas.microsoft.com/office/drawing/2014/main" id="{0D85D155-BED2-ACEB-3769-8DCFF91CDB3A}"/>
                </a:ext>
              </a:extLst>
            </p:cNvPr>
            <p:cNvSpPr txBox="1"/>
            <p:nvPr/>
          </p:nvSpPr>
          <p:spPr>
            <a:xfrm>
              <a:off x="1659925" y="1622451"/>
              <a:ext cx="8872151" cy="64633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MS Reference Sans Serif" panose="020B0604030504040204" pitchFamily="34" charset="0"/>
                  <a:cs typeface="Arial" panose="020B0604020202020204" pitchFamily="34" charset="0"/>
                </a:rPr>
                <a:t>We respect your valuable time with </a:t>
              </a:r>
              <a:r>
                <a:rPr kumimoji="0" lang="en-US" altLang="zh-CN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MS Reference Sans Serif" panose="020B0604030504040204" pitchFamily="34" charset="0"/>
                  <a:cs typeface="Arial" panose="020B0604020202020204" pitchFamily="34" charset="0"/>
                </a:rPr>
                <a:t>freeppt7</a:t>
              </a:r>
              <a:r>
                <a:rPr kumimoji="0" lang="en-US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MS Reference Sans Serif" panose="020B0604030504040204" pitchFamily="34" charset="0"/>
                  <a:cs typeface="Arial" panose="020B0604020202020204" pitchFamily="34" charset="0"/>
                </a:rPr>
                <a:t>!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MS Reference Sans Serif" panose="020B0604030504040204" pitchFamily="34" charset="0"/>
                  <a:cs typeface="Arial" panose="020B0604020202020204" pitchFamily="34" charset="0"/>
                </a:rPr>
                <a:t>If you have any questions, please reach us</a:t>
              </a:r>
            </a:p>
          </p:txBody>
        </p:sp>
        <p:grpSp>
          <p:nvGrpSpPr>
            <p:cNvPr id="5" name="Group 4">
              <a:extLst>
                <a:ext uri="{FF2B5EF4-FFF2-40B4-BE49-F238E27FC236}">
                  <a16:creationId xmlns:a16="http://schemas.microsoft.com/office/drawing/2014/main" id="{845DEF97-E3F3-DD1E-C544-B2026124D939}"/>
                </a:ext>
              </a:extLst>
            </p:cNvPr>
            <p:cNvGrpSpPr/>
            <p:nvPr/>
          </p:nvGrpSpPr>
          <p:grpSpPr>
            <a:xfrm>
              <a:off x="4744357" y="2961726"/>
              <a:ext cx="2878228" cy="444237"/>
              <a:chOff x="3649099" y="2657323"/>
              <a:chExt cx="4767227" cy="735794"/>
            </a:xfrm>
          </p:grpSpPr>
          <p:pic>
            <p:nvPicPr>
              <p:cNvPr id="8" name="Picture 4" descr="Facebook icon circle Logo PNG Vector (EPS) Free Download">
                <a:hlinkClick r:id="rId2"/>
                <a:extLst>
                  <a:ext uri="{FF2B5EF4-FFF2-40B4-BE49-F238E27FC236}">
                    <a16:creationId xmlns:a16="http://schemas.microsoft.com/office/drawing/2014/main" id="{602876B6-B1F8-A41A-F81C-A10A3E7EDB9A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649099" y="2657323"/>
                <a:ext cx="730592" cy="730598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9" name="Picture 6" descr="Instagram Logo Icon Png #96303 - Free Icons Library">
                <a:hlinkClick r:id="rId4"/>
                <a:extLst>
                  <a:ext uri="{FF2B5EF4-FFF2-40B4-BE49-F238E27FC236}">
                    <a16:creationId xmlns:a16="http://schemas.microsoft.com/office/drawing/2014/main" id="{6041D0AE-538D-F0DF-C0B2-6B86D00F12F9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5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600569" y="2657323"/>
                <a:ext cx="730592" cy="721190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10" name="Picture 8" descr="Youtube PNG images free download">
                <a:hlinkClick r:id="rId6"/>
                <a:extLst>
                  <a:ext uri="{FF2B5EF4-FFF2-40B4-BE49-F238E27FC236}">
                    <a16:creationId xmlns:a16="http://schemas.microsoft.com/office/drawing/2014/main" id="{6D36331A-0349-69CC-F35A-C6E152B11FFA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7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5377912" y="2671927"/>
                <a:ext cx="1019843" cy="721190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11" name="Picture 10" descr="Download Twitter Logo Png Transparent Background - Logo Twitter Png PNG  Image with No Background - PNGkey.com">
                <a:hlinkClick r:id="rId8"/>
                <a:extLst>
                  <a:ext uri="{FF2B5EF4-FFF2-40B4-BE49-F238E27FC236}">
                    <a16:creationId xmlns:a16="http://schemas.microsoft.com/office/drawing/2014/main" id="{DEFC2ED4-7A85-4B63-AA58-3742E8C4C6F9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9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6447455" y="2671928"/>
                <a:ext cx="715988" cy="715988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12" name="Picture 12" descr="LinkedIn Logo – Free PNG format download (2022)">
                <a:hlinkClick r:id="rId10"/>
                <a:extLst>
                  <a:ext uri="{FF2B5EF4-FFF2-40B4-BE49-F238E27FC236}">
                    <a16:creationId xmlns:a16="http://schemas.microsoft.com/office/drawing/2014/main" id="{6305F8BE-4A1B-D495-8890-5153C8455B02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11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7122895" y="2663501"/>
                <a:ext cx="1293431" cy="727555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B923B166-2FB1-3537-5651-CEDA59A06144}"/>
                </a:ext>
              </a:extLst>
            </p:cNvPr>
            <p:cNvSpPr/>
            <p:nvPr/>
          </p:nvSpPr>
          <p:spPr>
            <a:xfrm>
              <a:off x="2668859" y="4659301"/>
              <a:ext cx="6854283" cy="52322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MS Reference Sans Serif" panose="020B0604030504040204" pitchFamily="34" charset="0"/>
                  <a:cs typeface="Arial" panose="020B0604020202020204" pitchFamily="34" charset="0"/>
                </a:rPr>
                <a:t>CREDIT:</a:t>
              </a: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MS Reference Sans Serif" panose="020B0604030504040204" pitchFamily="34" charset="0"/>
                  <a:cs typeface="Arial" panose="020B0604020202020204" pitchFamily="34" charset="0"/>
                </a:rPr>
                <a:t> Freeppt7.com created this PowerPoint template.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MS Reference Sans Serif" panose="020B0604030504040204" pitchFamily="34" charset="0"/>
                  <a:cs typeface="Arial" panose="020B0604020202020204" pitchFamily="34" charset="0"/>
                </a:rPr>
                <a:t>Let this slide be kept for attribution.</a:t>
              </a:r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9CD92F99-F9BB-4F0B-8C48-7B2315895202}"/>
                </a:ext>
              </a:extLst>
            </p:cNvPr>
            <p:cNvSpPr/>
            <p:nvPr/>
          </p:nvSpPr>
          <p:spPr>
            <a:xfrm>
              <a:off x="2129246" y="4098910"/>
              <a:ext cx="8255725" cy="3693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MS Reference Sans Serif" panose="020B0604030504040204" pitchFamily="34" charset="0"/>
                  <a:cs typeface="Arial" panose="020B0604020202020204" pitchFamily="34" charset="0"/>
                </a:rPr>
                <a:t>Do you have a design request, please visit our </a:t>
              </a:r>
              <a:r>
                <a:rPr kumimoji="0" lang="en-US" b="1" i="0" u="sng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MS Reference Sans Serif" panose="020B0604030504040204" pitchFamily="34" charset="0"/>
                  <a:cs typeface="Arial" panose="020B0604020202020204" pitchFamily="34" charset="0"/>
                  <a:hlinkClick r:id="rId12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redesign</a:t>
              </a:r>
              <a:r>
                <a:rPr kumimoji="0" lang="en-US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MS Reference Sans Serif" panose="020B0604030504040204" pitchFamily="34" charset="0"/>
                  <a:cs typeface="Arial" panose="020B0604020202020204" pitchFamily="34" charset="0"/>
                </a:rPr>
                <a:t> page.</a:t>
              </a:r>
            </a:p>
          </p:txBody>
        </p:sp>
      </p:grpSp>
      <p:sp>
        <p:nvSpPr>
          <p:cNvPr id="13" name="TextBox 3">
            <a:hlinkClick r:id="rId13"/>
            <a:extLst>
              <a:ext uri="{FF2B5EF4-FFF2-40B4-BE49-F238E27FC236}">
                <a16:creationId xmlns:a16="http://schemas.microsoft.com/office/drawing/2014/main" id="{BD3C2092-DA25-3AA4-C25B-983997217607}"/>
              </a:ext>
            </a:extLst>
          </p:cNvPr>
          <p:cNvSpPr txBox="1"/>
          <p:nvPr/>
        </p:nvSpPr>
        <p:spPr>
          <a:xfrm>
            <a:off x="3672301" y="5669848"/>
            <a:ext cx="516961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2400" dirty="0">
                <a:cs typeface="Arial" panose="020B0604020202020204" pitchFamily="34" charset="0"/>
                <a:hlinkClick r:id="rId1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www.freeppt7.com</a:t>
            </a:r>
            <a:endParaRPr lang="ko-KR" altLang="en-US" sz="2400" dirty="0"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5296586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100000">
              <a:srgbClr val="C8C8C8"/>
            </a:gs>
            <a:gs pos="29000">
              <a:schemeClr val="bg1">
                <a:alpha val="84000"/>
              </a:schemeClr>
            </a:gs>
          </a:gsLst>
          <a:path path="circle">
            <a:fillToRect l="50000" t="50000" r="50000" b="50000"/>
          </a:path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图片 1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-27270"/>
            <a:ext cx="12192000" cy="9022080"/>
          </a:xfrm>
          <a:prstGeom prst="rect">
            <a:avLst/>
          </a:prstGeom>
        </p:spPr>
      </p:pic>
      <p:sp>
        <p:nvSpPr>
          <p:cNvPr id="3" name="矩形 2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SpPr/>
          <p:nvPr/>
        </p:nvSpPr>
        <p:spPr>
          <a:xfrm>
            <a:off x="10083800" y="0"/>
            <a:ext cx="596900" cy="723900"/>
          </a:xfrm>
          <a:prstGeom prst="rect">
            <a:avLst/>
          </a:prstGeom>
          <a:solidFill>
            <a:srgbClr val="002BF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latin typeface="Arial" panose="020B0604020202020204" pitchFamily="34" charset="0"/>
              <a:ea typeface="微软雅黑" panose="020B0503020204020204" pitchFamily="34" charset="-122"/>
              <a:cs typeface="思源黑体 CN Regular" panose="020B0500000000000000" charset="-122"/>
              <a:sym typeface="Arial" panose="020B0604020202020204" pitchFamily="34" charset="0"/>
            </a:endParaRPr>
          </a:p>
        </p:txBody>
      </p:sp>
      <p:sp>
        <p:nvSpPr>
          <p:cNvPr id="4" name="Shape 3891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SpPr/>
          <p:nvPr/>
        </p:nvSpPr>
        <p:spPr>
          <a:xfrm>
            <a:off x="10245293" y="162829"/>
            <a:ext cx="279033" cy="279033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8429" y="14128"/>
                </a:moveTo>
                <a:cubicBezTo>
                  <a:pt x="17041" y="13430"/>
                  <a:pt x="15777" y="12523"/>
                  <a:pt x="14684" y="11440"/>
                </a:cubicBezTo>
                <a:cubicBezTo>
                  <a:pt x="15214" y="10618"/>
                  <a:pt x="15664" y="9739"/>
                  <a:pt x="16034" y="8820"/>
                </a:cubicBezTo>
                <a:cubicBezTo>
                  <a:pt x="16089" y="8826"/>
                  <a:pt x="16143" y="8836"/>
                  <a:pt x="16200" y="8836"/>
                </a:cubicBezTo>
                <a:cubicBezTo>
                  <a:pt x="17013" y="8836"/>
                  <a:pt x="17673" y="8178"/>
                  <a:pt x="17673" y="7364"/>
                </a:cubicBezTo>
                <a:cubicBezTo>
                  <a:pt x="17673" y="6787"/>
                  <a:pt x="17339" y="6295"/>
                  <a:pt x="16856" y="6052"/>
                </a:cubicBezTo>
                <a:cubicBezTo>
                  <a:pt x="17033" y="5170"/>
                  <a:pt x="17144" y="4264"/>
                  <a:pt x="17167" y="3336"/>
                </a:cubicBezTo>
                <a:cubicBezTo>
                  <a:pt x="19277" y="5136"/>
                  <a:pt x="20618" y="7809"/>
                  <a:pt x="20618" y="10800"/>
                </a:cubicBezTo>
                <a:cubicBezTo>
                  <a:pt x="20618" y="11764"/>
                  <a:pt x="20469" y="12690"/>
                  <a:pt x="20209" y="13568"/>
                </a:cubicBezTo>
                <a:cubicBezTo>
                  <a:pt x="19628" y="13783"/>
                  <a:pt x="19034" y="13971"/>
                  <a:pt x="18429" y="14128"/>
                </a:cubicBezTo>
                <a:moveTo>
                  <a:pt x="10800" y="20618"/>
                </a:moveTo>
                <a:cubicBezTo>
                  <a:pt x="8406" y="20618"/>
                  <a:pt x="6213" y="19759"/>
                  <a:pt x="4509" y="18335"/>
                </a:cubicBezTo>
                <a:cubicBezTo>
                  <a:pt x="6552" y="17934"/>
                  <a:pt x="8450" y="17135"/>
                  <a:pt x="10128" y="16031"/>
                </a:cubicBezTo>
                <a:cubicBezTo>
                  <a:pt x="10330" y="16136"/>
                  <a:pt x="10556" y="16200"/>
                  <a:pt x="10800" y="16200"/>
                </a:cubicBezTo>
                <a:cubicBezTo>
                  <a:pt x="11273" y="16200"/>
                  <a:pt x="11689" y="15974"/>
                  <a:pt x="11959" y="15627"/>
                </a:cubicBezTo>
                <a:cubicBezTo>
                  <a:pt x="12547" y="15680"/>
                  <a:pt x="13142" y="15709"/>
                  <a:pt x="13745" y="15709"/>
                </a:cubicBezTo>
                <a:cubicBezTo>
                  <a:pt x="15323" y="15709"/>
                  <a:pt x="16852" y="15508"/>
                  <a:pt x="18322" y="15156"/>
                </a:cubicBezTo>
                <a:cubicBezTo>
                  <a:pt x="18660" y="15317"/>
                  <a:pt x="18998" y="15480"/>
                  <a:pt x="19350" y="15618"/>
                </a:cubicBezTo>
                <a:cubicBezTo>
                  <a:pt x="17665" y="18601"/>
                  <a:pt x="14470" y="20618"/>
                  <a:pt x="10800" y="20618"/>
                </a:cubicBezTo>
                <a:moveTo>
                  <a:pt x="3539" y="17393"/>
                </a:moveTo>
                <a:cubicBezTo>
                  <a:pt x="3476" y="16840"/>
                  <a:pt x="3436" y="16280"/>
                  <a:pt x="3436" y="15709"/>
                </a:cubicBezTo>
                <a:cubicBezTo>
                  <a:pt x="3436" y="14764"/>
                  <a:pt x="3536" y="13842"/>
                  <a:pt x="3707" y="12946"/>
                </a:cubicBezTo>
                <a:cubicBezTo>
                  <a:pt x="5455" y="13988"/>
                  <a:pt x="7377" y="14767"/>
                  <a:pt x="9421" y="15227"/>
                </a:cubicBezTo>
                <a:cubicBezTo>
                  <a:pt x="9431" y="15254"/>
                  <a:pt x="9436" y="15282"/>
                  <a:pt x="9447" y="15308"/>
                </a:cubicBezTo>
                <a:cubicBezTo>
                  <a:pt x="7724" y="16421"/>
                  <a:pt x="5761" y="17193"/>
                  <a:pt x="3643" y="17507"/>
                </a:cubicBezTo>
                <a:cubicBezTo>
                  <a:pt x="3608" y="17469"/>
                  <a:pt x="3573" y="17430"/>
                  <a:pt x="3539" y="17393"/>
                </a:cubicBezTo>
                <a:moveTo>
                  <a:pt x="3075" y="11369"/>
                </a:moveTo>
                <a:cubicBezTo>
                  <a:pt x="2361" y="10869"/>
                  <a:pt x="1683" y="10322"/>
                  <a:pt x="1046" y="9729"/>
                </a:cubicBezTo>
                <a:cubicBezTo>
                  <a:pt x="1528" y="5299"/>
                  <a:pt x="4955" y="1762"/>
                  <a:pt x="9331" y="1104"/>
                </a:cubicBezTo>
                <a:cubicBezTo>
                  <a:pt x="9335" y="1629"/>
                  <a:pt x="9363" y="2148"/>
                  <a:pt x="9417" y="2660"/>
                </a:cubicBezTo>
                <a:cubicBezTo>
                  <a:pt x="8572" y="3227"/>
                  <a:pt x="7787" y="3879"/>
                  <a:pt x="7069" y="4597"/>
                </a:cubicBezTo>
                <a:cubicBezTo>
                  <a:pt x="6863" y="4486"/>
                  <a:pt x="6632" y="4418"/>
                  <a:pt x="6382" y="4418"/>
                </a:cubicBezTo>
                <a:cubicBezTo>
                  <a:pt x="5569" y="4418"/>
                  <a:pt x="4909" y="5078"/>
                  <a:pt x="4909" y="5891"/>
                </a:cubicBezTo>
                <a:cubicBezTo>
                  <a:pt x="4909" y="6236"/>
                  <a:pt x="5033" y="6549"/>
                  <a:pt x="5231" y="6800"/>
                </a:cubicBezTo>
                <a:cubicBezTo>
                  <a:pt x="4279" y="8179"/>
                  <a:pt x="3550" y="9719"/>
                  <a:pt x="3075" y="11369"/>
                </a:cubicBezTo>
                <a:moveTo>
                  <a:pt x="2466" y="15973"/>
                </a:moveTo>
                <a:cubicBezTo>
                  <a:pt x="1563" y="14521"/>
                  <a:pt x="1025" y="12821"/>
                  <a:pt x="989" y="10995"/>
                </a:cubicBezTo>
                <a:cubicBezTo>
                  <a:pt x="1570" y="11492"/>
                  <a:pt x="2180" y="11955"/>
                  <a:pt x="2817" y="12383"/>
                </a:cubicBezTo>
                <a:cubicBezTo>
                  <a:pt x="2585" y="13456"/>
                  <a:pt x="2455" y="14567"/>
                  <a:pt x="2455" y="15709"/>
                </a:cubicBezTo>
                <a:cubicBezTo>
                  <a:pt x="2455" y="15798"/>
                  <a:pt x="2464" y="15885"/>
                  <a:pt x="2466" y="15973"/>
                </a:cubicBezTo>
                <a:moveTo>
                  <a:pt x="13428" y="11540"/>
                </a:moveTo>
                <a:cubicBezTo>
                  <a:pt x="12907" y="12264"/>
                  <a:pt x="12315" y="12931"/>
                  <a:pt x="11674" y="13548"/>
                </a:cubicBezTo>
                <a:cubicBezTo>
                  <a:pt x="11429" y="13366"/>
                  <a:pt x="11129" y="13255"/>
                  <a:pt x="10800" y="13255"/>
                </a:cubicBezTo>
                <a:cubicBezTo>
                  <a:pt x="10166" y="13255"/>
                  <a:pt x="9631" y="13657"/>
                  <a:pt x="9423" y="14218"/>
                </a:cubicBezTo>
                <a:cubicBezTo>
                  <a:pt x="7455" y="13751"/>
                  <a:pt x="5607" y="12974"/>
                  <a:pt x="3936" y="11937"/>
                </a:cubicBezTo>
                <a:cubicBezTo>
                  <a:pt x="4379" y="10266"/>
                  <a:pt x="5100" y="8709"/>
                  <a:pt x="6060" y="7326"/>
                </a:cubicBezTo>
                <a:cubicBezTo>
                  <a:pt x="6164" y="7349"/>
                  <a:pt x="6271" y="7364"/>
                  <a:pt x="6382" y="7364"/>
                </a:cubicBezTo>
                <a:cubicBezTo>
                  <a:pt x="7195" y="7364"/>
                  <a:pt x="7855" y="6705"/>
                  <a:pt x="7855" y="5891"/>
                </a:cubicBezTo>
                <a:cubicBezTo>
                  <a:pt x="7855" y="5688"/>
                  <a:pt x="7813" y="5494"/>
                  <a:pt x="7739" y="5318"/>
                </a:cubicBezTo>
                <a:cubicBezTo>
                  <a:pt x="8307" y="4747"/>
                  <a:pt x="8920" y="4221"/>
                  <a:pt x="9575" y="3749"/>
                </a:cubicBezTo>
                <a:cubicBezTo>
                  <a:pt x="10104" y="6723"/>
                  <a:pt x="11479" y="9397"/>
                  <a:pt x="13428" y="11540"/>
                </a:cubicBezTo>
                <a:moveTo>
                  <a:pt x="10800" y="982"/>
                </a:moveTo>
                <a:cubicBezTo>
                  <a:pt x="11347" y="982"/>
                  <a:pt x="11881" y="1038"/>
                  <a:pt x="12403" y="1125"/>
                </a:cubicBezTo>
                <a:cubicBezTo>
                  <a:pt x="11696" y="1401"/>
                  <a:pt x="11005" y="1708"/>
                  <a:pt x="10354" y="2082"/>
                </a:cubicBezTo>
                <a:cubicBezTo>
                  <a:pt x="10328" y="1726"/>
                  <a:pt x="10311" y="1368"/>
                  <a:pt x="10310" y="1007"/>
                </a:cubicBezTo>
                <a:cubicBezTo>
                  <a:pt x="10474" y="999"/>
                  <a:pt x="10635" y="982"/>
                  <a:pt x="10800" y="982"/>
                </a:cubicBezTo>
                <a:moveTo>
                  <a:pt x="14120" y="12262"/>
                </a:moveTo>
                <a:cubicBezTo>
                  <a:pt x="14982" y="13097"/>
                  <a:pt x="15950" y="13819"/>
                  <a:pt x="16986" y="14440"/>
                </a:cubicBezTo>
                <a:cubicBezTo>
                  <a:pt x="15933" y="14626"/>
                  <a:pt x="14852" y="14727"/>
                  <a:pt x="13745" y="14727"/>
                </a:cubicBezTo>
                <a:cubicBezTo>
                  <a:pt x="13246" y="14727"/>
                  <a:pt x="12754" y="14702"/>
                  <a:pt x="12265" y="14664"/>
                </a:cubicBezTo>
                <a:cubicBezTo>
                  <a:pt x="12259" y="14569"/>
                  <a:pt x="12250" y="14475"/>
                  <a:pt x="12229" y="14386"/>
                </a:cubicBezTo>
                <a:cubicBezTo>
                  <a:pt x="12921" y="13737"/>
                  <a:pt x="13555" y="13027"/>
                  <a:pt x="14120" y="12262"/>
                </a:cubicBezTo>
                <a:moveTo>
                  <a:pt x="16188" y="2597"/>
                </a:moveTo>
                <a:cubicBezTo>
                  <a:pt x="16191" y="2713"/>
                  <a:pt x="16200" y="2828"/>
                  <a:pt x="16200" y="2945"/>
                </a:cubicBezTo>
                <a:cubicBezTo>
                  <a:pt x="16200" y="3967"/>
                  <a:pt x="16092" y="4962"/>
                  <a:pt x="15894" y="5924"/>
                </a:cubicBezTo>
                <a:cubicBezTo>
                  <a:pt x="15227" y="6065"/>
                  <a:pt x="14727" y="6656"/>
                  <a:pt x="14727" y="7364"/>
                </a:cubicBezTo>
                <a:cubicBezTo>
                  <a:pt x="14727" y="7765"/>
                  <a:pt x="14888" y="8128"/>
                  <a:pt x="15149" y="8393"/>
                </a:cubicBezTo>
                <a:cubicBezTo>
                  <a:pt x="14827" y="9199"/>
                  <a:pt x="14443" y="9974"/>
                  <a:pt x="13991" y="10701"/>
                </a:cubicBezTo>
                <a:cubicBezTo>
                  <a:pt x="12159" y="8620"/>
                  <a:pt x="10894" y="6025"/>
                  <a:pt x="10469" y="3152"/>
                </a:cubicBezTo>
                <a:cubicBezTo>
                  <a:pt x="11590" y="2463"/>
                  <a:pt x="12813" y="1934"/>
                  <a:pt x="14106" y="1565"/>
                </a:cubicBezTo>
                <a:cubicBezTo>
                  <a:pt x="14844" y="1829"/>
                  <a:pt x="15544" y="2174"/>
                  <a:pt x="16188" y="2597"/>
                </a:cubicBezTo>
                <a:moveTo>
                  <a:pt x="10800" y="0"/>
                </a:moveTo>
                <a:cubicBezTo>
                  <a:pt x="4835" y="0"/>
                  <a:pt x="0" y="4835"/>
                  <a:pt x="0" y="10800"/>
                </a:cubicBezTo>
                <a:cubicBezTo>
                  <a:pt x="0" y="16765"/>
                  <a:pt x="4835" y="21600"/>
                  <a:pt x="10800" y="21600"/>
                </a:cubicBezTo>
                <a:cubicBezTo>
                  <a:pt x="16765" y="21600"/>
                  <a:pt x="21600" y="16765"/>
                  <a:pt x="21600" y="10800"/>
                </a:cubicBezTo>
                <a:cubicBezTo>
                  <a:pt x="21600" y="4835"/>
                  <a:pt x="16765" y="0"/>
                  <a:pt x="10800" y="0"/>
                </a:cubicBezTo>
              </a:path>
            </a:pathLst>
          </a:custGeom>
          <a:solidFill>
            <a:schemeClr val="bg1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endParaRPr>
              <a:solidFill>
                <a:prstClr val="black"/>
              </a:solidFill>
              <a:latin typeface="Arial" panose="020B0604020202020204" pitchFamily="34" charset="0"/>
              <a:ea typeface="微软雅黑" panose="020B0503020204020204" pitchFamily="34" charset="-122"/>
              <a:cs typeface="思源黑体 CN Regular" panose="020B0500000000000000" charset="-122"/>
              <a:sym typeface="Arial" panose="020B0604020202020204" pitchFamily="34" charset="0"/>
            </a:endParaRPr>
          </a:p>
        </p:txBody>
      </p:sp>
      <p:sp>
        <p:nvSpPr>
          <p:cNvPr id="5" name="文本框 4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SpPr txBox="1"/>
          <p:nvPr/>
        </p:nvSpPr>
        <p:spPr>
          <a:xfrm>
            <a:off x="10100734" y="448734"/>
            <a:ext cx="572593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1050">
                <a:solidFill>
                  <a:schemeClr val="bg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rPr>
              <a:t>LOGO</a:t>
            </a:r>
            <a:endParaRPr lang="zh-CN" altLang="en-US" sz="1050">
              <a:solidFill>
                <a:schemeClr val="bg1"/>
              </a:solidFill>
              <a:latin typeface="Arial" panose="020B0604020202020204" pitchFamily="34" charset="0"/>
              <a:ea typeface="微软雅黑" panose="020B0503020204020204" pitchFamily="34" charset="-122"/>
              <a:cs typeface="思源黑体 CN Regular" panose="020B0500000000000000" charset="-122"/>
              <a:sym typeface="Arial" panose="020B0604020202020204" pitchFamily="34" charset="0"/>
            </a:endParaRPr>
          </a:p>
        </p:txBody>
      </p:sp>
      <p:sp>
        <p:nvSpPr>
          <p:cNvPr id="6" name="文本框 5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SpPr txBox="1"/>
          <p:nvPr/>
        </p:nvSpPr>
        <p:spPr>
          <a:xfrm>
            <a:off x="4289300" y="2413337"/>
            <a:ext cx="4258602" cy="101566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6000" b="1"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rPr>
              <a:t>PART ONE</a:t>
            </a:r>
            <a:endParaRPr lang="zh-CN" altLang="en-US" sz="6000" b="1">
              <a:latin typeface="Arial" panose="020B0604020202020204" pitchFamily="34" charset="0"/>
              <a:ea typeface="微软雅黑" panose="020B0503020204020204" pitchFamily="34" charset="-122"/>
              <a:cs typeface="思源黑体 CN Regular" panose="020B0500000000000000" charset="-122"/>
              <a:sym typeface="Arial" panose="020B0604020202020204" pitchFamily="34" charset="0"/>
            </a:endParaRPr>
          </a:p>
        </p:txBody>
      </p:sp>
      <p:sp>
        <p:nvSpPr>
          <p:cNvPr id="7" name="Text Placeholder 4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SpPr txBox="1"/>
          <p:nvPr/>
        </p:nvSpPr>
        <p:spPr>
          <a:xfrm>
            <a:off x="4428273" y="3300664"/>
            <a:ext cx="3850106" cy="304800"/>
          </a:xfrm>
          <a:prstGeom prst="rect">
            <a:avLst/>
          </a:prstGeom>
          <a:ln>
            <a:noFill/>
          </a:ln>
        </p:spPr>
        <p:txBody>
          <a:bodyPr/>
          <a:lstStyle>
            <a:lvl1pPr marL="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8800" b="0" kern="1200">
                <a:solidFill>
                  <a:schemeClr val="bg1"/>
                </a:solidFill>
                <a:latin typeface="Levenim MT" panose="02010502060101010101" pitchFamily="2" charset="-79"/>
                <a:ea typeface="Yu Gothic" panose="020B0400000000000000" pitchFamily="34" charset="-128"/>
                <a:cs typeface="Levenim MT" panose="02010502060101010101" pitchFamily="2" charset="-79"/>
              </a:defRPr>
            </a:lvl1pPr>
            <a:lvl2pPr marL="742950" indent="-28575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dist">
              <a:lnSpc>
                <a:spcPct val="70000"/>
              </a:lnSpc>
            </a:pPr>
            <a:r>
              <a:rPr lang="en-US" altLang="zh-CN" sz="200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等线" panose="02010600030101010101" charset="-122"/>
                <a:sym typeface="Arial" panose="020B0604020202020204" pitchFamily="34" charset="0"/>
              </a:rPr>
              <a:t>WHAT</a:t>
            </a:r>
            <a:r>
              <a:rPr lang="en-US" altLang="zh-CN" sz="2000">
                <a:latin typeface="Arial" panose="020B0604020202020204" pitchFamily="34" charset="0"/>
                <a:ea typeface="微软雅黑" panose="020B0503020204020204" pitchFamily="34" charset="-122"/>
                <a:cs typeface="等线" panose="02010600030101010101" charset="-122"/>
                <a:sym typeface="Arial" panose="020B0604020202020204" pitchFamily="34" charset="0"/>
              </a:rPr>
              <a:t> </a:t>
            </a:r>
            <a:r>
              <a:rPr lang="en-US" altLang="zh-CN" sz="2000">
                <a:solidFill>
                  <a:schemeClr val="accent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等线" panose="02010600030101010101" charset="-122"/>
                <a:sym typeface="Arial" panose="020B0604020202020204" pitchFamily="34" charset="0"/>
              </a:rPr>
              <a:t>WE DO?</a:t>
            </a:r>
          </a:p>
        </p:txBody>
      </p:sp>
      <p:sp>
        <p:nvSpPr>
          <p:cNvPr id="8" name="矩形 7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SpPr/>
          <p:nvPr/>
        </p:nvSpPr>
        <p:spPr>
          <a:xfrm>
            <a:off x="5820644" y="4554072"/>
            <a:ext cx="1065364" cy="294656"/>
          </a:xfrm>
          <a:prstGeom prst="rect">
            <a:avLst/>
          </a:prstGeom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600">
              <a:latin typeface="Arial" panose="020B0604020202020204" pitchFamily="34" charset="0"/>
              <a:ea typeface="微软雅黑" panose="020B0503020204020204" pitchFamily="34" charset="-122"/>
              <a:cs typeface="思源黑体 CN Regular" panose="020B0500000000000000" charset="-122"/>
              <a:sym typeface="Arial" panose="020B0604020202020204" pitchFamily="34" charset="0"/>
            </a:endParaRPr>
          </a:p>
        </p:txBody>
      </p:sp>
      <p:sp>
        <p:nvSpPr>
          <p:cNvPr id="9" name="文本框 8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SpPr txBox="1"/>
          <p:nvPr/>
        </p:nvSpPr>
        <p:spPr>
          <a:xfrm>
            <a:off x="5976460" y="4558543"/>
            <a:ext cx="82933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1200">
                <a:solidFill>
                  <a:schemeClr val="bg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rPr>
              <a:t>START</a:t>
            </a:r>
            <a:r>
              <a:rPr lang="zh-CN" altLang="en-US" sz="1200">
                <a:solidFill>
                  <a:schemeClr val="bg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rPr>
              <a:t>→</a:t>
            </a:r>
          </a:p>
        </p:txBody>
      </p:sp>
      <p:sp>
        <p:nvSpPr>
          <p:cNvPr id="12" name="e7d195523061f1c0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 hidden="1"/>
          <p:cNvSpPr txBox="1"/>
          <p:nvPr/>
        </p:nvSpPr>
        <p:spPr>
          <a:xfrm>
            <a:off x="-355600" y="1803400"/>
            <a:ext cx="284693" cy="1016000"/>
          </a:xfrm>
          <a:prstGeom prst="rect">
            <a:avLst/>
          </a:prstGeom>
          <a:noFill/>
        </p:spPr>
        <p:txBody>
          <a:bodyPr vert="wordArtVert" rtlCol="0">
            <a:spAutoFit/>
          </a:bodyPr>
          <a:lstStyle/>
          <a:p>
            <a:r>
              <a:rPr lang="en-US" altLang="zh-CN" sz="100"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rPr>
              <a:t>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</a:t>
            </a:r>
            <a:endParaRPr lang="zh-CN" altLang="en-US" sz="100">
              <a:latin typeface="Arial" panose="020B0604020202020204" pitchFamily="34" charset="0"/>
              <a:ea typeface="微软雅黑" panose="020B0503020204020204" pitchFamily="34" charset="-122"/>
              <a:cs typeface="思源黑体 CN Regular" panose="020B0500000000000000" charset="-122"/>
              <a:sym typeface="Arial" panose="020B0604020202020204" pitchFamily="34" charset="0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random/>
      </p:transition>
    </mc:Choice>
    <mc:Fallback xmlns:p159="http://schemas.microsoft.com/office/powerpoint/2015/09/main" xmlns:p15="http://schemas.microsoft.com/office/powerpoint/2012/main" xmlns:a14="http://schemas.microsoft.com/office/drawing/2010/main" xmlns:wp="http://schemas.openxmlformats.org/drawingml/2006/wordprocessingDrawing" xmlns:w="http://schemas.openxmlformats.org/wordprocessingml/2006/main" xmlns:m="http://schemas.openxmlformats.org/officeDocument/2006/math" xmlns="">
      <p:transition spd="slow">
        <p:random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3" presetClass="entr" presetSubtype="0" dur="1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4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4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0.3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+0.3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600" decel="50000" fill="hold">
                                          <p:stCondLst>
                                            <p:cond delay="40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5000">
                                          <p:val>
                                            <p:strVal val="#ppt_x+0.0242"/>
                                          </p:val>
                                        </p:tav>
                                        <p:tav tm="10000">
                                          <p:val>
                                            <p:strVal val="#ppt_x+0.0479"/>
                                          </p:val>
                                        </p:tav>
                                        <p:tav tm="15000">
                                          <p:val>
                                            <p:strVal val="#ppt_x+0.0704"/>
                                          </p:val>
                                        </p:tav>
                                        <p:tav tm="20000">
                                          <p:val>
                                            <p:strVal val="#ppt_x+0.0911"/>
                                          </p:val>
                                        </p:tav>
                                        <p:tav tm="25000">
                                          <p:val>
                                            <p:strVal val="#ppt_x+0.1096"/>
                                          </p:val>
                                        </p:tav>
                                        <p:tav tm="30000">
                                          <p:val>
                                            <p:strVal val="#ppt_x+0.1254"/>
                                          </p:val>
                                        </p:tav>
                                        <p:tav tm="35000">
                                          <p:val>
                                            <p:strVal val="#ppt_x+0.1381"/>
                                          </p:val>
                                        </p:tav>
                                        <p:tav tm="40000">
                                          <p:val>
                                            <p:strVal val="#ppt_x+0.1474"/>
                                          </p:val>
                                        </p:tav>
                                        <p:tav tm="45000">
                                          <p:val>
                                            <p:strVal val="#ppt_x+0.1531"/>
                                          </p:val>
                                        </p:tav>
                                        <p:tav tm="50000">
                                          <p:val>
                                            <p:strVal val="#ppt_x+0.1550"/>
                                          </p:val>
                                        </p:tav>
                                        <p:tav tm="55000">
                                          <p:val>
                                            <p:strVal val="#ppt_x+0.1531"/>
                                          </p:val>
                                        </p:tav>
                                        <p:tav tm="60000">
                                          <p:val>
                                            <p:strVal val="#ppt_x+0.1474"/>
                                          </p:val>
                                        </p:tav>
                                        <p:tav tm="65000">
                                          <p:val>
                                            <p:strVal val="#ppt_x+0.1381"/>
                                          </p:val>
                                        </p:tav>
                                        <p:tav tm="70000">
                                          <p:val>
                                            <p:strVal val="#ppt_x+0.1254"/>
                                          </p:val>
                                        </p:tav>
                                        <p:tav tm="75000">
                                          <p:val>
                                            <p:strVal val="#ppt_x+0.1096"/>
                                          </p:val>
                                        </p:tav>
                                        <p:tav tm="80000">
                                          <p:val>
                                            <p:strVal val="#ppt_x+0.0911"/>
                                          </p:val>
                                        </p:tav>
                                        <p:tav tm="85000">
                                          <p:val>
                                            <p:strVal val="#ppt_x+0.0704"/>
                                          </p:val>
                                        </p:tav>
                                        <p:tav tm="90000">
                                          <p:val>
                                            <p:strVal val="#ppt_x+0.0479"/>
                                          </p:val>
                                        </p:tav>
                                        <p:tav tm="95000">
                                          <p:val>
                                            <p:strVal val="#ppt_x+0.024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" dur="600" decel="50000" fill="hold">
                                          <p:stCondLst>
                                            <p:cond delay="40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0.31"/>
                                          </p:val>
                                        </p:tav>
                                        <p:tav tm="5000">
                                          <p:val>
                                            <p:strVal val="#ppt_y+0.308"/>
                                          </p:val>
                                        </p:tav>
                                        <p:tav tm="10000">
                                          <p:val>
                                            <p:strVal val="#ppt_y+0.3024"/>
                                          </p:val>
                                        </p:tav>
                                        <p:tav tm="15000">
                                          <p:val>
                                            <p:strVal val="#ppt_y+0.2931"/>
                                          </p:val>
                                        </p:tav>
                                        <p:tav tm="20000">
                                          <p:val>
                                            <p:strVal val="#ppt_y+0.2804"/>
                                          </p:val>
                                        </p:tav>
                                        <p:tav tm="25000">
                                          <p:val>
                                            <p:strVal val="#ppt_y+0.2646"/>
                                          </p:val>
                                        </p:tav>
                                        <p:tav tm="30000">
                                          <p:val>
                                            <p:strVal val="#ppt_y+0.2461"/>
                                          </p:val>
                                        </p:tav>
                                        <p:tav tm="35000">
                                          <p:val>
                                            <p:strVal val="#ppt_y+0.2253"/>
                                          </p:val>
                                        </p:tav>
                                        <p:tav tm="40000">
                                          <p:val>
                                            <p:strVal val="#ppt_y+0.2029"/>
                                          </p:val>
                                        </p:tav>
                                        <p:tav tm="45000">
                                          <p:val>
                                            <p:strVal val="#ppt_y+0.1792"/>
                                          </p:val>
                                        </p:tav>
                                        <p:tav tm="50000">
                                          <p:val>
                                            <p:strVal val="#ppt_y+0.155"/>
                                          </p:val>
                                        </p:tav>
                                        <p:tav tm="55000">
                                          <p:val>
                                            <p:strVal val="#ppt_y+0.1307"/>
                                          </p:val>
                                        </p:tav>
                                        <p:tav tm="60000">
                                          <p:val>
                                            <p:strVal val="#ppt_y+0.1071"/>
                                          </p:val>
                                        </p:tav>
                                        <p:tav tm="65000">
                                          <p:val>
                                            <p:strVal val="#ppt_y+0.0846"/>
                                          </p:val>
                                        </p:tav>
                                        <p:tav tm="70000">
                                          <p:val>
                                            <p:strVal val="#ppt_y+0.0639"/>
                                          </p:val>
                                        </p:tav>
                                        <p:tav tm="75000">
                                          <p:val>
                                            <p:strVal val="#ppt_y+0.0454"/>
                                          </p:val>
                                        </p:tav>
                                        <p:tav tm="80000">
                                          <p:val>
                                            <p:strVal val="#ppt_y+0.0296"/>
                                          </p:val>
                                        </p:tav>
                                        <p:tav tm="85000">
                                          <p:val>
                                            <p:strVal val="#ppt_y+0.0169"/>
                                          </p:val>
                                        </p:tav>
                                        <p:tav tm="90000">
                                          <p:val>
                                            <p:strVal val="#ppt_y+0.0076"/>
                                          </p:val>
                                        </p:tav>
                                        <p:tav tm="95000">
                                          <p:val>
                                            <p:strVal val="#ppt_y+0.0019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 nodeType="clickPar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10" presetClass="entr" presetSubtype="0" dur="50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dur="5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7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图片占位符 2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PicPr>
            <a:picLocks noGrp="1" noChangeAspect="1"/>
          </p:cNvPicPr>
          <p:nvPr>
            <p:ph type="pic" sz="quarter" idx="10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/>
      </p:pic>
      <p:sp>
        <p:nvSpPr>
          <p:cNvPr id="44" name="Rectangle 43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SpPr/>
          <p:nvPr/>
        </p:nvSpPr>
        <p:spPr>
          <a:xfrm>
            <a:off x="1" y="0"/>
            <a:ext cx="12192000" cy="3429000"/>
          </a:xfrm>
          <a:prstGeom prst="rect">
            <a:avLst/>
          </a:prstGeom>
          <a:solidFill>
            <a:schemeClr val="bg1"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/>
            <a:endParaRPr lang="en-US">
              <a:latin typeface="Arial" panose="020B0604020202020204" pitchFamily="34" charset="0"/>
              <a:ea typeface="微软雅黑" panose="020B0503020204020204" pitchFamily="34" charset="-122"/>
              <a:cs typeface="思源黑体 CN Regular" panose="020B0500000000000000" charset="-122"/>
              <a:sym typeface="Arial" panose="020B0604020202020204" pitchFamily="34" charset="0"/>
            </a:endParaRPr>
          </a:p>
        </p:txBody>
      </p:sp>
      <p:sp>
        <p:nvSpPr>
          <p:cNvPr id="26" name="TextBox 25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SpPr txBox="1"/>
          <p:nvPr/>
        </p:nvSpPr>
        <p:spPr>
          <a:xfrm>
            <a:off x="2413297" y="3914045"/>
            <a:ext cx="628377" cy="5416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80000"/>
              </a:lnSpc>
            </a:pPr>
            <a:r>
              <a:rPr lang="en-US" sz="4400">
                <a:solidFill>
                  <a:schemeClr val="accent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rPr>
              <a:t>01</a:t>
            </a:r>
          </a:p>
        </p:txBody>
      </p:sp>
      <p:sp>
        <p:nvSpPr>
          <p:cNvPr id="33" name="TextBox 32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SpPr txBox="1"/>
          <p:nvPr/>
        </p:nvSpPr>
        <p:spPr>
          <a:xfrm>
            <a:off x="4692040" y="3914045"/>
            <a:ext cx="628377" cy="5416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80000"/>
              </a:lnSpc>
            </a:pPr>
            <a:r>
              <a:rPr lang="en-US" sz="4400">
                <a:solidFill>
                  <a:schemeClr val="accent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rPr>
              <a:t>02</a:t>
            </a:r>
          </a:p>
        </p:txBody>
      </p:sp>
      <p:sp>
        <p:nvSpPr>
          <p:cNvPr id="37" name="TextBox 36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SpPr txBox="1"/>
          <p:nvPr/>
        </p:nvSpPr>
        <p:spPr>
          <a:xfrm>
            <a:off x="6970783" y="3914045"/>
            <a:ext cx="628377" cy="5416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80000"/>
              </a:lnSpc>
            </a:pPr>
            <a:r>
              <a:rPr lang="en-US" sz="4400">
                <a:solidFill>
                  <a:schemeClr val="accent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rPr>
              <a:t>03</a:t>
            </a:r>
          </a:p>
        </p:txBody>
      </p:sp>
      <p:sp>
        <p:nvSpPr>
          <p:cNvPr id="41" name="TextBox 40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SpPr txBox="1"/>
          <p:nvPr/>
        </p:nvSpPr>
        <p:spPr>
          <a:xfrm>
            <a:off x="9249526" y="3914045"/>
            <a:ext cx="628377" cy="5416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80000"/>
              </a:lnSpc>
            </a:pPr>
            <a:r>
              <a:rPr lang="en-US" sz="4400">
                <a:solidFill>
                  <a:schemeClr val="accent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rPr>
              <a:t>04</a:t>
            </a:r>
          </a:p>
        </p:txBody>
      </p:sp>
      <p:sp>
        <p:nvSpPr>
          <p:cNvPr id="43" name="Title 1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SpPr txBox="1"/>
          <p:nvPr/>
        </p:nvSpPr>
        <p:spPr>
          <a:xfrm>
            <a:off x="2413296" y="1425005"/>
            <a:ext cx="6768414" cy="1708081"/>
          </a:xfrm>
          <a:prstGeom prst="rect">
            <a:avLst/>
          </a:prstGeom>
        </p:spPr>
        <p:txBody>
          <a:bodyPr lIns="0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i="0" kern="1200">
                <a:solidFill>
                  <a:schemeClr val="tx1"/>
                </a:solidFill>
                <a:latin typeface="Titillium" charset="0"/>
                <a:ea typeface="Titillium" charset="0"/>
                <a:cs typeface="Titillium" charset="0"/>
              </a:defRPr>
            </a:lvl1pPr>
          </a:lstStyle>
          <a:p>
            <a:pPr>
              <a:lnSpc>
                <a:spcPct val="70000"/>
              </a:lnSpc>
            </a:pPr>
            <a:r>
              <a:rPr lang="en-US" sz="6000"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rPr>
              <a:t>WHAT </a:t>
            </a:r>
            <a:r>
              <a:rPr lang="en-US" sz="6000">
                <a:solidFill>
                  <a:schemeClr val="accent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rPr>
              <a:t>WE DO?</a:t>
            </a:r>
          </a:p>
        </p:txBody>
      </p:sp>
      <p:sp>
        <p:nvSpPr>
          <p:cNvPr id="45" name="TextBox 44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SpPr txBox="1"/>
          <p:nvPr/>
        </p:nvSpPr>
        <p:spPr>
          <a:xfrm>
            <a:off x="2400300" y="1028700"/>
            <a:ext cx="843180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1100"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rPr>
              <a:t>OUR ABOUT</a:t>
            </a:r>
          </a:p>
        </p:txBody>
      </p:sp>
      <p:sp>
        <p:nvSpPr>
          <p:cNvPr id="22" name="Rectangle 33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SpPr/>
          <p:nvPr/>
        </p:nvSpPr>
        <p:spPr>
          <a:xfrm>
            <a:off x="2400300" y="4556699"/>
            <a:ext cx="1903926" cy="86966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30000"/>
              </a:lnSpc>
            </a:pPr>
            <a:r>
              <a:rPr lang="en-US" b="1" dirty="0"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rPr>
              <a:t>Consulting</a:t>
            </a:r>
          </a:p>
          <a:p>
            <a:pPr>
              <a:lnSpc>
                <a:spcPct val="130000"/>
              </a:lnSpc>
            </a:pPr>
            <a:r>
              <a:rPr lang="en-US" sz="1100" dirty="0"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rPr>
              <a:t>Click here to add content, content to match the title. </a:t>
            </a:r>
          </a:p>
        </p:txBody>
      </p:sp>
      <p:sp>
        <p:nvSpPr>
          <p:cNvPr id="24" name="Rectangle 36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SpPr/>
          <p:nvPr/>
        </p:nvSpPr>
        <p:spPr>
          <a:xfrm>
            <a:off x="6943552" y="4556699"/>
            <a:ext cx="1903926" cy="86966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30000"/>
              </a:lnSpc>
            </a:pPr>
            <a:r>
              <a:rPr lang="en-US" b="1" dirty="0"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rPr>
              <a:t>Design</a:t>
            </a:r>
          </a:p>
          <a:p>
            <a:pPr>
              <a:lnSpc>
                <a:spcPct val="130000"/>
              </a:lnSpc>
            </a:pPr>
            <a:r>
              <a:rPr lang="en-US" sz="1100" dirty="0"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rPr>
              <a:t>Click here to add content, content to match the title. </a:t>
            </a:r>
          </a:p>
        </p:txBody>
      </p:sp>
      <p:sp>
        <p:nvSpPr>
          <p:cNvPr id="27" name="Rectangle 39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SpPr/>
          <p:nvPr/>
        </p:nvSpPr>
        <p:spPr>
          <a:xfrm>
            <a:off x="9215178" y="4556699"/>
            <a:ext cx="1903926" cy="86966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30000"/>
              </a:lnSpc>
            </a:pPr>
            <a:r>
              <a:rPr lang="en-US" b="1" dirty="0" err="1"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rPr>
              <a:t>Awwards</a:t>
            </a:r>
            <a:endParaRPr lang="en-US" b="1" dirty="0">
              <a:latin typeface="Arial" panose="020B0604020202020204" pitchFamily="34" charset="0"/>
              <a:ea typeface="微软雅黑" panose="020B0503020204020204" pitchFamily="34" charset="-122"/>
              <a:cs typeface="思源黑体 CN Regular" panose="020B0500000000000000" charset="-122"/>
              <a:sym typeface="Arial" panose="020B0604020202020204" pitchFamily="34" charset="0"/>
            </a:endParaRPr>
          </a:p>
          <a:p>
            <a:pPr>
              <a:lnSpc>
                <a:spcPct val="130000"/>
              </a:lnSpc>
            </a:pPr>
            <a:r>
              <a:rPr lang="en-US" sz="1100" dirty="0"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rPr>
              <a:t>Click here to add content, content to match the title. </a:t>
            </a:r>
          </a:p>
        </p:txBody>
      </p:sp>
      <p:sp>
        <p:nvSpPr>
          <p:cNvPr id="28" name="Rectangle 41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SpPr/>
          <p:nvPr/>
        </p:nvSpPr>
        <p:spPr>
          <a:xfrm>
            <a:off x="4671926" y="4556699"/>
            <a:ext cx="1903926" cy="86966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30000"/>
              </a:lnSpc>
            </a:pPr>
            <a:r>
              <a:rPr lang="en-US" b="1" dirty="0"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rPr>
              <a:t>Online Shop</a:t>
            </a:r>
          </a:p>
          <a:p>
            <a:pPr>
              <a:lnSpc>
                <a:spcPct val="130000"/>
              </a:lnSpc>
            </a:pPr>
            <a:r>
              <a:rPr lang="en-US" sz="1100" dirty="0"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rPr>
              <a:t>Click here to add content, content to match the title. </a:t>
            </a:r>
          </a:p>
        </p:txBody>
      </p:sp>
      <p:sp>
        <p:nvSpPr>
          <p:cNvPr id="42" name="Rectangle 13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SpPr/>
          <p:nvPr/>
        </p:nvSpPr>
        <p:spPr>
          <a:xfrm>
            <a:off x="2400300" y="1949262"/>
            <a:ext cx="6707124" cy="30745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30000"/>
              </a:lnSpc>
            </a:pPr>
            <a:r>
              <a:rPr lang="en-US" sz="1200" dirty="0"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rPr>
              <a:t>Click here to add content, content to match the title. </a:t>
            </a:r>
          </a:p>
        </p:txBody>
      </p:sp>
      <p:sp>
        <p:nvSpPr>
          <p:cNvPr id="4" name="e7d195523061f1c0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 hidden="1"/>
          <p:cNvSpPr txBox="1"/>
          <p:nvPr/>
        </p:nvSpPr>
        <p:spPr>
          <a:xfrm>
            <a:off x="-355600" y="1803400"/>
            <a:ext cx="284693" cy="1016000"/>
          </a:xfrm>
          <a:prstGeom prst="rect">
            <a:avLst/>
          </a:prstGeom>
          <a:noFill/>
        </p:spPr>
        <p:txBody>
          <a:bodyPr vert="wordArtVert" rtlCol="0">
            <a:spAutoFit/>
          </a:bodyPr>
          <a:lstStyle/>
          <a:p>
            <a:r>
              <a:rPr lang="en-US" altLang="zh-CN" sz="100"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rPr>
              <a:t>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</a:t>
            </a:r>
            <a:endParaRPr lang="zh-CN" altLang="en-US" sz="100">
              <a:latin typeface="Arial" panose="020B0604020202020204" pitchFamily="34" charset="0"/>
              <a:ea typeface="微软雅黑" panose="020B0503020204020204" pitchFamily="34" charset="-122"/>
              <a:cs typeface="思源黑体 CN Regular" panose="020B0500000000000000" charset="-122"/>
              <a:sym typeface="Arial" panose="020B0604020202020204" pitchFamily="34" charset="0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random/>
      </p:transition>
    </mc:Choice>
    <mc:Fallback xmlns:p159="http://schemas.microsoft.com/office/powerpoint/2015/09/main" xmlns:p15="http://schemas.microsoft.com/office/powerpoint/2012/main" xmlns:a14="http://schemas.microsoft.com/office/drawing/2010/main" xmlns:wp="http://schemas.openxmlformats.org/drawingml/2006/wordprocessingDrawing" xmlns:w="http://schemas.openxmlformats.org/wordprocessingml/2006/main" xmlns:m="http://schemas.openxmlformats.org/officeDocument/2006/math" xmlns="">
      <p:transition spd="slow">
        <p:random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dur="50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dur="5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dur="5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 nodeType="clickPar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2" presetClass="entr" presetSubtype="4" dur="50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0" presetID="2" presetClass="entr" presetSubtype="4" dur="5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2" dur="5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4" presetID="2" presetClass="entr" presetSubtype="4" dur="5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8" presetID="2" presetClass="entr" presetSubtype="4" dur="5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0" dur="5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2" presetID="2" presetClass="entr" presetSubtype="4" dur="5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4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5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6" presetID="2" presetClass="entr" presetSubtype="4" dur="5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8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9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0" presetID="2" presetClass="entr" presetSubtype="4" dur="5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2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3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4" presetID="2" presetClass="entr" presetSubtype="4" dur="5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6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7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6" grpId="0"/>
      <p:bldP spid="33" grpId="0"/>
      <p:bldP spid="37" grpId="0"/>
      <p:bldP spid="41" grpId="0"/>
      <p:bldP spid="43" grpId="0"/>
      <p:bldP spid="45" grpId="0"/>
      <p:bldP spid="22" grpId="0"/>
      <p:bldP spid="24" grpId="0"/>
      <p:bldP spid="27" grpId="0"/>
      <p:bldP spid="28" grpId="0"/>
      <p:bldP spid="42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Заголовок 8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SpPr>
            <a:spLocks noGrp="1"/>
          </p:cNvSpPr>
          <p:nvPr>
            <p:ph type="title" idx="4294967295"/>
          </p:nvPr>
        </p:nvSpPr>
        <p:spPr>
          <a:xfrm>
            <a:off x="1714500" y="2050889"/>
            <a:ext cx="3659188" cy="1448596"/>
          </a:xfrm>
        </p:spPr>
        <p:txBody>
          <a:bodyPr>
            <a:noAutofit/>
          </a:bodyPr>
          <a:lstStyle/>
          <a:p>
            <a:r>
              <a:rPr lang="en-US" sz="5400"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WHAT </a:t>
            </a:r>
            <a:br>
              <a:rPr lang="en-US" sz="5400"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</a:br>
            <a:r>
              <a:rPr lang="en-US" sz="5400"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WE DO</a:t>
            </a:r>
          </a:p>
        </p:txBody>
      </p:sp>
      <p:sp>
        <p:nvSpPr>
          <p:cNvPr id="10" name="Прямоугольник 9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SpPr/>
          <p:nvPr/>
        </p:nvSpPr>
        <p:spPr>
          <a:xfrm>
            <a:off x="0" y="0"/>
            <a:ext cx="45719" cy="3429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rial" panose="020B0604020202020204" pitchFamily="34" charset="0"/>
              <a:ea typeface="微软雅黑" panose="020B0503020204020204" pitchFamily="34" charset="-122"/>
              <a:cs typeface="思源黑体 CN Regular" panose="020B0500000000000000" charset="-122"/>
              <a:sym typeface="Arial" panose="020B0604020202020204" pitchFamily="34" charset="0"/>
            </a:endParaRPr>
          </a:p>
        </p:txBody>
      </p:sp>
      <p:sp>
        <p:nvSpPr>
          <p:cNvPr id="16" name="Text Placeholder 4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SpPr txBox="1"/>
          <p:nvPr/>
        </p:nvSpPr>
        <p:spPr>
          <a:xfrm>
            <a:off x="1678719" y="1671793"/>
            <a:ext cx="2253201" cy="285023"/>
          </a:xfrm>
          <a:prstGeom prst="rect">
            <a:avLst/>
          </a:prstGeom>
          <a:ln>
            <a:noFill/>
          </a:ln>
        </p:spPr>
        <p:txBody>
          <a:bodyPr/>
          <a:lstStyle>
            <a:lvl1pPr marL="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8800" b="0" kern="1200">
                <a:solidFill>
                  <a:schemeClr val="bg1"/>
                </a:solidFill>
                <a:latin typeface="Levenim MT" panose="02010502060101010101" pitchFamily="2" charset="-79"/>
                <a:ea typeface="Yu Gothic" panose="020B0400000000000000" pitchFamily="34" charset="-128"/>
                <a:cs typeface="Levenim MT" panose="02010502060101010101" pitchFamily="2" charset="-79"/>
              </a:defRPr>
            </a:lvl1pPr>
            <a:lvl2pPr marL="742950" indent="-28575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dist"/>
            <a:r>
              <a:rPr lang="en-US" sz="1100" spc="-300">
                <a:solidFill>
                  <a:schemeClr val="tx2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等线" panose="02010600030101010101" charset="-122"/>
                <a:sym typeface="Arial" panose="020B0604020202020204" pitchFamily="34" charset="0"/>
              </a:rPr>
              <a:t>T     H     E               M     O     D     E     R     N               P     R    E     S     E    N     T     A     T     I     O     N</a:t>
            </a:r>
          </a:p>
        </p:txBody>
      </p:sp>
      <p:sp>
        <p:nvSpPr>
          <p:cNvPr id="17" name="TextBox 6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SpPr txBox="1"/>
          <p:nvPr/>
        </p:nvSpPr>
        <p:spPr>
          <a:xfrm>
            <a:off x="1761427" y="3593224"/>
            <a:ext cx="2642052" cy="95840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20000"/>
              </a:lnSpc>
            </a:pPr>
            <a:r>
              <a:rPr lang="en-US" sz="1200" dirty="0">
                <a:solidFill>
                  <a:schemeClr val="tx1">
                    <a:alpha val="60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rPr>
              <a:t>Click here to add content, content to match the title.  </a:t>
            </a:r>
            <a:r>
              <a:rPr lang="en-US" altLang="zh-CN" sz="1200" dirty="0">
                <a:solidFill>
                  <a:schemeClr val="tx1">
                    <a:alpha val="60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rPr>
              <a:t>Click here to add content, content to match the title.  </a:t>
            </a:r>
          </a:p>
          <a:p>
            <a:pPr>
              <a:lnSpc>
                <a:spcPct val="120000"/>
              </a:lnSpc>
            </a:pPr>
            <a:endParaRPr lang="en-US" sz="1200" dirty="0">
              <a:solidFill>
                <a:schemeClr val="tx1">
                  <a:alpha val="60000"/>
                </a:schemeClr>
              </a:solidFill>
              <a:latin typeface="Arial" panose="020B0604020202020204" pitchFamily="34" charset="0"/>
              <a:ea typeface="微软雅黑" panose="020B0503020204020204" pitchFamily="34" charset="-122"/>
              <a:cs typeface="思源黑体 CN Regular" panose="020B0500000000000000" charset="-122"/>
              <a:sym typeface="Arial" panose="020B0604020202020204" pitchFamily="34" charset="0"/>
            </a:endParaRPr>
          </a:p>
        </p:txBody>
      </p:sp>
      <p:sp>
        <p:nvSpPr>
          <p:cNvPr id="18" name="矩形 17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SpPr/>
          <p:nvPr/>
        </p:nvSpPr>
        <p:spPr>
          <a:xfrm>
            <a:off x="8821819" y="365978"/>
            <a:ext cx="4942014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2000" b="1">
                <a:solidFill>
                  <a:sysClr val="windowText" lastClr="000000">
                    <a:alpha val="60000"/>
                  </a:sysClr>
                </a:solidFill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rPr>
              <a:t>COMPANY</a:t>
            </a:r>
          </a:p>
          <a:p>
            <a:r>
              <a:rPr lang="en-US" altLang="zh-CN" sz="2000" b="1">
                <a:solidFill>
                  <a:sysClr val="windowText" lastClr="000000">
                    <a:alpha val="60000"/>
                  </a:sysClr>
                </a:solidFill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rPr>
              <a:t>INTRODUCTION</a:t>
            </a:r>
            <a:endParaRPr lang="zh-CN" altLang="en-US" sz="2000" b="1">
              <a:solidFill>
                <a:sysClr val="windowText" lastClr="000000">
                  <a:alpha val="60000"/>
                </a:sysClr>
              </a:solidFill>
              <a:latin typeface="Arial" panose="020B0604020202020204" pitchFamily="34" charset="0"/>
              <a:ea typeface="微软雅黑" panose="020B0503020204020204" pitchFamily="34" charset="-122"/>
              <a:cs typeface="思源黑体 CN Regular" panose="020B0500000000000000" charset="-122"/>
              <a:sym typeface="Arial" panose="020B0604020202020204" pitchFamily="34" charset="0"/>
            </a:endParaRPr>
          </a:p>
        </p:txBody>
      </p:sp>
      <p:sp>
        <p:nvSpPr>
          <p:cNvPr id="19" name="文本框 18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SpPr txBox="1"/>
          <p:nvPr/>
        </p:nvSpPr>
        <p:spPr>
          <a:xfrm>
            <a:off x="8821819" y="1071170"/>
            <a:ext cx="3019323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200" dirty="0"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rPr>
              <a:t>Click here to add content, content to match the title.  Click here to add content, content to match the title.  </a:t>
            </a:r>
          </a:p>
          <a:p>
            <a:endParaRPr lang="en-US" altLang="zh-CN" sz="1200" dirty="0">
              <a:latin typeface="Arial" panose="020B0604020202020204" pitchFamily="34" charset="0"/>
              <a:ea typeface="微软雅黑" panose="020B0503020204020204" pitchFamily="34" charset="-122"/>
              <a:cs typeface="思源黑体 CN Regular" panose="020B0500000000000000" charset="-122"/>
              <a:sym typeface="Arial" panose="020B0604020202020204" pitchFamily="34" charset="0"/>
            </a:endParaRPr>
          </a:p>
          <a:p>
            <a:endParaRPr lang="zh-CN" altLang="en-US" sz="1200" dirty="0">
              <a:latin typeface="Arial" panose="020B0604020202020204" pitchFamily="34" charset="0"/>
              <a:ea typeface="微软雅黑" panose="020B0503020204020204" pitchFamily="34" charset="-122"/>
              <a:cs typeface="思源黑体 CN Regular" panose="020B0500000000000000" charset="-122"/>
              <a:sym typeface="Arial" panose="020B0604020202020204" pitchFamily="34" charset="0"/>
            </a:endParaRPr>
          </a:p>
        </p:txBody>
      </p:sp>
      <p:sp>
        <p:nvSpPr>
          <p:cNvPr id="20" name="矩形 19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SpPr/>
          <p:nvPr/>
        </p:nvSpPr>
        <p:spPr>
          <a:xfrm>
            <a:off x="8821819" y="2721114"/>
            <a:ext cx="4942014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2000" b="1">
                <a:solidFill>
                  <a:sysClr val="windowText" lastClr="000000">
                    <a:alpha val="60000"/>
                  </a:sysClr>
                </a:solidFill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rPr>
              <a:t>COMPANY</a:t>
            </a:r>
          </a:p>
          <a:p>
            <a:r>
              <a:rPr lang="en-US" altLang="zh-CN" sz="2000" b="1">
                <a:solidFill>
                  <a:sysClr val="windowText" lastClr="000000">
                    <a:alpha val="60000"/>
                  </a:sysClr>
                </a:solidFill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rPr>
              <a:t>INTRODUCTION</a:t>
            </a:r>
            <a:endParaRPr lang="zh-CN" altLang="en-US" sz="2000" b="1">
              <a:solidFill>
                <a:sysClr val="windowText" lastClr="000000">
                  <a:alpha val="60000"/>
                </a:sysClr>
              </a:solidFill>
              <a:latin typeface="Arial" panose="020B0604020202020204" pitchFamily="34" charset="0"/>
              <a:ea typeface="微软雅黑" panose="020B0503020204020204" pitchFamily="34" charset="-122"/>
              <a:cs typeface="思源黑体 CN Regular" panose="020B0500000000000000" charset="-122"/>
              <a:sym typeface="Arial" panose="020B0604020202020204" pitchFamily="34" charset="0"/>
            </a:endParaRPr>
          </a:p>
        </p:txBody>
      </p:sp>
      <p:sp>
        <p:nvSpPr>
          <p:cNvPr id="21" name="文本框 20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SpPr txBox="1"/>
          <p:nvPr/>
        </p:nvSpPr>
        <p:spPr>
          <a:xfrm>
            <a:off x="8821819" y="3426306"/>
            <a:ext cx="3019323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200" dirty="0"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rPr>
              <a:t>Click here to add content, content to match the title.  Click here to add content, content to match the title.  </a:t>
            </a:r>
          </a:p>
          <a:p>
            <a:endParaRPr lang="en-US" altLang="zh-CN" sz="1200" dirty="0">
              <a:latin typeface="Arial" panose="020B0604020202020204" pitchFamily="34" charset="0"/>
              <a:ea typeface="微软雅黑" panose="020B0503020204020204" pitchFamily="34" charset="-122"/>
              <a:cs typeface="思源黑体 CN Regular" panose="020B0500000000000000" charset="-122"/>
              <a:sym typeface="Arial" panose="020B0604020202020204" pitchFamily="34" charset="0"/>
            </a:endParaRPr>
          </a:p>
          <a:p>
            <a:endParaRPr lang="zh-CN" altLang="en-US" sz="1200" dirty="0">
              <a:latin typeface="Arial" panose="020B0604020202020204" pitchFamily="34" charset="0"/>
              <a:ea typeface="微软雅黑" panose="020B0503020204020204" pitchFamily="34" charset="-122"/>
              <a:cs typeface="思源黑体 CN Regular" panose="020B0500000000000000" charset="-122"/>
              <a:sym typeface="Arial" panose="020B0604020202020204" pitchFamily="34" charset="0"/>
            </a:endParaRPr>
          </a:p>
        </p:txBody>
      </p:sp>
      <p:sp>
        <p:nvSpPr>
          <p:cNvPr id="22" name="矩形 21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SpPr/>
          <p:nvPr/>
        </p:nvSpPr>
        <p:spPr>
          <a:xfrm>
            <a:off x="8821819" y="4952479"/>
            <a:ext cx="4942014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2000" b="1">
                <a:solidFill>
                  <a:sysClr val="windowText" lastClr="000000">
                    <a:alpha val="60000"/>
                  </a:sysClr>
                </a:solidFill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rPr>
              <a:t>COMPANY</a:t>
            </a:r>
          </a:p>
          <a:p>
            <a:r>
              <a:rPr lang="en-US" altLang="zh-CN" sz="2000" b="1">
                <a:solidFill>
                  <a:sysClr val="windowText" lastClr="000000">
                    <a:alpha val="60000"/>
                  </a:sysClr>
                </a:solidFill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rPr>
              <a:t>INTRODUCTION</a:t>
            </a:r>
            <a:endParaRPr lang="zh-CN" altLang="en-US" sz="2000" b="1">
              <a:solidFill>
                <a:sysClr val="windowText" lastClr="000000">
                  <a:alpha val="60000"/>
                </a:sysClr>
              </a:solidFill>
              <a:latin typeface="Arial" panose="020B0604020202020204" pitchFamily="34" charset="0"/>
              <a:ea typeface="微软雅黑" panose="020B0503020204020204" pitchFamily="34" charset="-122"/>
              <a:cs typeface="思源黑体 CN Regular" panose="020B0500000000000000" charset="-122"/>
              <a:sym typeface="Arial" panose="020B0604020202020204" pitchFamily="34" charset="0"/>
            </a:endParaRPr>
          </a:p>
        </p:txBody>
      </p:sp>
      <p:sp>
        <p:nvSpPr>
          <p:cNvPr id="23" name="文本框 22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SpPr txBox="1"/>
          <p:nvPr/>
        </p:nvSpPr>
        <p:spPr>
          <a:xfrm>
            <a:off x="8821819" y="5657671"/>
            <a:ext cx="3019323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200" dirty="0"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rPr>
              <a:t>Click here to add content, content to match the title.  Click here to add content, content to match the title.  </a:t>
            </a:r>
          </a:p>
          <a:p>
            <a:endParaRPr lang="en-US" altLang="zh-CN" sz="1200" dirty="0">
              <a:latin typeface="Arial" panose="020B0604020202020204" pitchFamily="34" charset="0"/>
              <a:ea typeface="微软雅黑" panose="020B0503020204020204" pitchFamily="34" charset="-122"/>
              <a:cs typeface="思源黑体 CN Regular" panose="020B0500000000000000" charset="-122"/>
              <a:sym typeface="Arial" panose="020B0604020202020204" pitchFamily="34" charset="0"/>
            </a:endParaRPr>
          </a:p>
          <a:p>
            <a:endParaRPr lang="zh-CN" altLang="en-US" sz="1200" dirty="0">
              <a:latin typeface="Arial" panose="020B0604020202020204" pitchFamily="34" charset="0"/>
              <a:ea typeface="微软雅黑" panose="020B0503020204020204" pitchFamily="34" charset="-122"/>
              <a:cs typeface="思源黑体 CN Regular" panose="020B0500000000000000" charset="-122"/>
              <a:sym typeface="Arial" panose="020B0604020202020204" pitchFamily="34" charset="0"/>
            </a:endParaRPr>
          </a:p>
        </p:txBody>
      </p:sp>
      <p:sp>
        <p:nvSpPr>
          <p:cNvPr id="29" name="矩形 28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SpPr/>
          <p:nvPr/>
        </p:nvSpPr>
        <p:spPr>
          <a:xfrm>
            <a:off x="1852148" y="5358744"/>
            <a:ext cx="1065364" cy="294656"/>
          </a:xfrm>
          <a:prstGeom prst="rect">
            <a:avLst/>
          </a:prstGeom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600">
              <a:latin typeface="Arial" panose="020B0604020202020204" pitchFamily="34" charset="0"/>
              <a:ea typeface="微软雅黑" panose="020B0503020204020204" pitchFamily="34" charset="-122"/>
              <a:cs typeface="思源黑体 CN Regular" panose="020B0500000000000000" charset="-122"/>
              <a:sym typeface="Arial" panose="020B0604020202020204" pitchFamily="34" charset="0"/>
            </a:endParaRPr>
          </a:p>
        </p:txBody>
      </p:sp>
      <p:sp>
        <p:nvSpPr>
          <p:cNvPr id="30" name="文本框 29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SpPr txBox="1"/>
          <p:nvPr/>
        </p:nvSpPr>
        <p:spPr>
          <a:xfrm>
            <a:off x="2007964" y="5363215"/>
            <a:ext cx="82933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1200">
                <a:solidFill>
                  <a:schemeClr val="bg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rPr>
              <a:t>START</a:t>
            </a:r>
            <a:r>
              <a:rPr lang="zh-CN" altLang="en-US" sz="1200">
                <a:solidFill>
                  <a:schemeClr val="bg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rPr>
              <a:t>→</a:t>
            </a:r>
          </a:p>
        </p:txBody>
      </p:sp>
      <p:pic>
        <p:nvPicPr>
          <p:cNvPr id="31" name="Picture 2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PicPr>
            <a:picLocks noGrp="1" noChangeAspect="1" noChangeArrowheads="1"/>
          </p:cNvPicPr>
          <p:nvPr>
            <p:ph type="pic" sz="quarter" idx="86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2" name="Picture 2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PicPr>
            <a:picLocks noGrp="1" noChangeAspect="1" noChangeArrowheads="1"/>
          </p:cNvPicPr>
          <p:nvPr>
            <p:ph type="pic" sz="quarter" idx="88"/>
          </p:nvPr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3" name="Picture 2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PicPr>
            <a:picLocks noGrp="1" noChangeAspect="1" noChangeArrowheads="1"/>
          </p:cNvPicPr>
          <p:nvPr>
            <p:ph type="pic" sz="quarter" idx="87"/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e7d195523061f1c0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 hidden="1"/>
          <p:cNvSpPr txBox="1"/>
          <p:nvPr/>
        </p:nvSpPr>
        <p:spPr>
          <a:xfrm>
            <a:off x="-355600" y="1803400"/>
            <a:ext cx="284693" cy="1016000"/>
          </a:xfrm>
          <a:prstGeom prst="rect">
            <a:avLst/>
          </a:prstGeom>
          <a:noFill/>
        </p:spPr>
        <p:txBody>
          <a:bodyPr vert="wordArtVert" rtlCol="0">
            <a:spAutoFit/>
          </a:bodyPr>
          <a:lstStyle/>
          <a:p>
            <a:r>
              <a:rPr lang="en-US" altLang="zh-CN" sz="100"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rPr>
              <a:t>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</a:t>
            </a:r>
            <a:endParaRPr lang="zh-CN" altLang="en-US" sz="100">
              <a:latin typeface="Arial" panose="020B0604020202020204" pitchFamily="34" charset="0"/>
              <a:ea typeface="微软雅黑" panose="020B0503020204020204" pitchFamily="34" charset="-122"/>
              <a:cs typeface="思源黑体 CN Regular" panose="020B0500000000000000" charset="-122"/>
              <a:sym typeface="Arial" panose="020B0604020202020204" pitchFamily="34" charset="0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random/>
      </p:transition>
    </mc:Choice>
    <mc:Fallback xmlns:p159="http://schemas.microsoft.com/office/powerpoint/2015/09/main" xmlns:p15="http://schemas.microsoft.com/office/powerpoint/2012/main" xmlns:a14="http://schemas.microsoft.com/office/drawing/2010/main" xmlns:wp="http://schemas.openxmlformats.org/drawingml/2006/wordprocessingDrawing" xmlns:w="http://schemas.openxmlformats.org/wordprocessingml/2006/main" xmlns:m="http://schemas.openxmlformats.org/officeDocument/2006/math" xmlns="">
      <p:transition spd="slow">
        <p:random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dur="50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dur="5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dur="5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dur="5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dur="5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 nodeType="clickPar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22" presetClass="entr" presetSubtype="4" dur="5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4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 nodeType="clickPar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47" presetClass="entr" presetSubtype="0" dur="100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10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0" dur="1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1" dur="1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2" presetID="47" presetClass="entr" presetSubtype="0" dur="1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10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5" dur="1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6" dur="1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 nodeType="clickPar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22" presetClass="entr" presetSubtype="4" dur="5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1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2" fill="hold" nodeType="clickPar">
                      <p:stCondLst>
                        <p:cond delay="indefinite"/>
                      </p:stCondLst>
                      <p:childTnLst>
                        <p:par>
                          <p:cTn id="43" fill="hold">
                            <p:stCondLst>
                              <p:cond delay="0"/>
                            </p:stCondLst>
                            <p:childTnLst>
                              <p:par>
                                <p:cTn id="44" presetID="47" presetClass="entr" presetSubtype="0" dur="100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10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7" dur="10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8" dur="10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9" presetID="47" presetClass="entr" presetSubtype="0" dur="1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1" dur="10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2" dur="10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3" dur="10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4" fill="hold" nodeType="clickPar">
                      <p:stCondLst>
                        <p:cond delay="indefinite"/>
                      </p:stCondLst>
                      <p:childTnLst>
                        <p:par>
                          <p:cTn id="55" fill="hold">
                            <p:stCondLst>
                              <p:cond delay="0"/>
                            </p:stCondLst>
                            <p:childTnLst>
                              <p:par>
                                <p:cTn id="56" presetID="22" presetClass="entr" presetSubtype="4" dur="5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8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9" fill="hold" nodeType="clickPar">
                      <p:stCondLst>
                        <p:cond delay="indefinite"/>
                      </p:stCondLst>
                      <p:childTnLst>
                        <p:par>
                          <p:cTn id="60" fill="hold">
                            <p:stCondLst>
                              <p:cond delay="0"/>
                            </p:stCondLst>
                            <p:childTnLst>
                              <p:par>
                                <p:cTn id="61" presetID="47" presetClass="entr" presetSubtype="0" dur="100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3" dur="10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4" dur="10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5" dur="10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6" presetID="47" presetClass="entr" presetSubtype="0" dur="1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8" dur="10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9" dur="10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0" dur="10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  <p:bldP spid="16" grpId="0"/>
      <p:bldP spid="17" grpId="0"/>
      <p:bldP spid="18" grpId="0"/>
      <p:bldP spid="19" grpId="0"/>
      <p:bldP spid="20" grpId="0"/>
      <p:bldP spid="21" grpId="0"/>
      <p:bldP spid="22" grpId="0"/>
      <p:bldP spid="23" grpId="0"/>
      <p:bldP spid="29" grpId="0" animBg="1"/>
      <p:bldP spid="30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2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PicPr>
            <a:picLocks noGrp="1" noChangeAspect="1" noChangeArrowheads="1"/>
          </p:cNvPicPr>
          <p:nvPr>
            <p:ph type="pic" sz="quarter" idx="10"/>
          </p:nvPr>
        </p:nvPicPr>
        <p:blipFill>
          <a:blip r:embed="rId3"/>
          <a:stretch>
            <a:fillRect/>
          </a:stretch>
        </p:blipFill>
        <p:spPr bwMode="auto"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Rectangle 8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SpPr/>
          <p:nvPr/>
        </p:nvSpPr>
        <p:spPr>
          <a:xfrm>
            <a:off x="8849712" y="3429000"/>
            <a:ext cx="2685874" cy="2685874"/>
          </a:xfrm>
          <a:prstGeom prst="rect">
            <a:avLst/>
          </a:prstGeom>
          <a:noFill/>
          <a:ln w="381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rial" panose="020B0604020202020204" pitchFamily="34" charset="0"/>
              <a:ea typeface="微软雅黑" panose="020B0503020204020204" pitchFamily="34" charset="-122"/>
              <a:cs typeface="思源黑体 CN Regular" panose="020B0500000000000000" charset="-122"/>
              <a:sym typeface="Arial" panose="020B0604020202020204" pitchFamily="34" charset="0"/>
            </a:endParaRPr>
          </a:p>
        </p:txBody>
      </p:sp>
      <p:sp>
        <p:nvSpPr>
          <p:cNvPr id="11" name="Title 3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SpPr txBox="1"/>
          <p:nvPr/>
        </p:nvSpPr>
        <p:spPr>
          <a:xfrm>
            <a:off x="9121734" y="3981521"/>
            <a:ext cx="742707" cy="916093"/>
          </a:xfrm>
          <a:prstGeom prst="rect">
            <a:avLst/>
          </a:prstGeom>
        </p:spPr>
        <p:txBody>
          <a:bodyPr lIns="0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i="0" kern="1200">
                <a:solidFill>
                  <a:schemeClr val="tx1"/>
                </a:solidFill>
                <a:latin typeface="Titillium" charset="0"/>
                <a:ea typeface="Titillium" charset="0"/>
                <a:cs typeface="Titillium" charset="0"/>
              </a:defRPr>
            </a:lvl1pPr>
          </a:lstStyle>
          <a:p>
            <a:pPr algn="ctr">
              <a:lnSpc>
                <a:spcPct val="80000"/>
              </a:lnSpc>
            </a:pPr>
            <a:r>
              <a:rPr lang="en-US" sz="5400" b="0" spc="300"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rPr>
              <a:t>D</a:t>
            </a:r>
          </a:p>
        </p:txBody>
      </p:sp>
      <p:sp>
        <p:nvSpPr>
          <p:cNvPr id="12" name="Title 3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SpPr txBox="1"/>
          <p:nvPr/>
        </p:nvSpPr>
        <p:spPr>
          <a:xfrm>
            <a:off x="9858651" y="3981521"/>
            <a:ext cx="742707" cy="916093"/>
          </a:xfrm>
          <a:prstGeom prst="rect">
            <a:avLst/>
          </a:prstGeom>
        </p:spPr>
        <p:txBody>
          <a:bodyPr lIns="0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i="0" kern="1200">
                <a:solidFill>
                  <a:schemeClr val="tx1"/>
                </a:solidFill>
                <a:latin typeface="Titillium" charset="0"/>
                <a:ea typeface="Titillium" charset="0"/>
                <a:cs typeface="Titillium" charset="0"/>
              </a:defRPr>
            </a:lvl1pPr>
          </a:lstStyle>
          <a:p>
            <a:pPr algn="ctr">
              <a:lnSpc>
                <a:spcPct val="80000"/>
              </a:lnSpc>
            </a:pPr>
            <a:r>
              <a:rPr lang="en-US" sz="5400" b="0" spc="300"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rPr>
              <a:t>E</a:t>
            </a:r>
          </a:p>
        </p:txBody>
      </p:sp>
      <p:sp>
        <p:nvSpPr>
          <p:cNvPr id="13" name="Title 3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SpPr txBox="1"/>
          <p:nvPr/>
        </p:nvSpPr>
        <p:spPr>
          <a:xfrm>
            <a:off x="10595567" y="3981521"/>
            <a:ext cx="742707" cy="916093"/>
          </a:xfrm>
          <a:prstGeom prst="rect">
            <a:avLst/>
          </a:prstGeom>
        </p:spPr>
        <p:txBody>
          <a:bodyPr lIns="0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i="0" kern="1200">
                <a:solidFill>
                  <a:schemeClr val="tx1"/>
                </a:solidFill>
                <a:latin typeface="Titillium" charset="0"/>
                <a:ea typeface="Titillium" charset="0"/>
                <a:cs typeface="Titillium" charset="0"/>
              </a:defRPr>
            </a:lvl1pPr>
          </a:lstStyle>
          <a:p>
            <a:pPr algn="ctr">
              <a:lnSpc>
                <a:spcPct val="80000"/>
              </a:lnSpc>
            </a:pPr>
            <a:r>
              <a:rPr lang="en-US" sz="5400" b="0" spc="300"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rPr>
              <a:t>S</a:t>
            </a:r>
          </a:p>
        </p:txBody>
      </p:sp>
      <p:sp>
        <p:nvSpPr>
          <p:cNvPr id="14" name="Title 3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SpPr txBox="1"/>
          <p:nvPr/>
        </p:nvSpPr>
        <p:spPr>
          <a:xfrm>
            <a:off x="9121734" y="4897614"/>
            <a:ext cx="742707" cy="916093"/>
          </a:xfrm>
          <a:prstGeom prst="rect">
            <a:avLst/>
          </a:prstGeom>
        </p:spPr>
        <p:txBody>
          <a:bodyPr lIns="0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i="0" kern="1200">
                <a:solidFill>
                  <a:schemeClr val="tx1"/>
                </a:solidFill>
                <a:latin typeface="Titillium" charset="0"/>
                <a:ea typeface="Titillium" charset="0"/>
                <a:cs typeface="Titillium" charset="0"/>
              </a:defRPr>
            </a:lvl1pPr>
          </a:lstStyle>
          <a:p>
            <a:pPr algn="ctr">
              <a:lnSpc>
                <a:spcPct val="80000"/>
              </a:lnSpc>
            </a:pPr>
            <a:r>
              <a:rPr lang="en-US" sz="5400" b="0" spc="300"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rPr>
              <a:t>I</a:t>
            </a:r>
          </a:p>
        </p:txBody>
      </p:sp>
      <p:sp>
        <p:nvSpPr>
          <p:cNvPr id="15" name="Title 3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SpPr txBox="1"/>
          <p:nvPr/>
        </p:nvSpPr>
        <p:spPr>
          <a:xfrm>
            <a:off x="9858651" y="4897614"/>
            <a:ext cx="742707" cy="916093"/>
          </a:xfrm>
          <a:prstGeom prst="rect">
            <a:avLst/>
          </a:prstGeom>
        </p:spPr>
        <p:txBody>
          <a:bodyPr lIns="0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i="0" kern="1200">
                <a:solidFill>
                  <a:schemeClr val="tx1"/>
                </a:solidFill>
                <a:latin typeface="Titillium" charset="0"/>
                <a:ea typeface="Titillium" charset="0"/>
                <a:cs typeface="Titillium" charset="0"/>
              </a:defRPr>
            </a:lvl1pPr>
          </a:lstStyle>
          <a:p>
            <a:pPr algn="ctr">
              <a:lnSpc>
                <a:spcPct val="80000"/>
              </a:lnSpc>
            </a:pPr>
            <a:r>
              <a:rPr lang="en-US" sz="5400" b="0" spc="300"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rPr>
              <a:t>G</a:t>
            </a:r>
          </a:p>
        </p:txBody>
      </p:sp>
      <p:sp>
        <p:nvSpPr>
          <p:cNvPr id="16" name="Title 3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SpPr txBox="1"/>
          <p:nvPr/>
        </p:nvSpPr>
        <p:spPr>
          <a:xfrm>
            <a:off x="10595567" y="4897614"/>
            <a:ext cx="742707" cy="916093"/>
          </a:xfrm>
          <a:prstGeom prst="rect">
            <a:avLst/>
          </a:prstGeom>
        </p:spPr>
        <p:txBody>
          <a:bodyPr lIns="0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i="0" kern="1200">
                <a:solidFill>
                  <a:schemeClr val="tx1"/>
                </a:solidFill>
                <a:latin typeface="Titillium" charset="0"/>
                <a:ea typeface="Titillium" charset="0"/>
                <a:cs typeface="Titillium" charset="0"/>
              </a:defRPr>
            </a:lvl1pPr>
          </a:lstStyle>
          <a:p>
            <a:pPr algn="ctr">
              <a:lnSpc>
                <a:spcPct val="80000"/>
              </a:lnSpc>
            </a:pPr>
            <a:r>
              <a:rPr lang="en-US" sz="5400" b="0" spc="300"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rPr>
              <a:t>N</a:t>
            </a:r>
          </a:p>
        </p:txBody>
      </p:sp>
      <p:sp>
        <p:nvSpPr>
          <p:cNvPr id="5" name="矩形 4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SpPr/>
          <p:nvPr/>
        </p:nvSpPr>
        <p:spPr>
          <a:xfrm>
            <a:off x="4462272" y="0"/>
            <a:ext cx="2286000" cy="6858000"/>
          </a:xfrm>
          <a:prstGeom prst="rect">
            <a:avLst/>
          </a:prstGeom>
          <a:solidFill>
            <a:schemeClr val="accent3">
              <a:alpha val="46000"/>
            </a:schemeClr>
          </a:solidFill>
          <a:ln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latin typeface="Arial" panose="020B0604020202020204" pitchFamily="34" charset="0"/>
              <a:ea typeface="微软雅黑" panose="020B0503020204020204" pitchFamily="34" charset="-122"/>
              <a:cs typeface="思源黑体 CN Regular" panose="020B0500000000000000" charset="-122"/>
              <a:sym typeface="Arial" panose="020B0604020202020204" pitchFamily="34" charset="0"/>
            </a:endParaRPr>
          </a:p>
        </p:txBody>
      </p:sp>
      <p:cxnSp>
        <p:nvCxnSpPr>
          <p:cNvPr id="10" name="Straight Connector 9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CxnSpPr/>
          <p:nvPr/>
        </p:nvCxnSpPr>
        <p:spPr>
          <a:xfrm>
            <a:off x="431315" y="4478305"/>
            <a:ext cx="4529568" cy="0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Shape 22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SpPr/>
          <p:nvPr/>
        </p:nvSpPr>
        <p:spPr>
          <a:xfrm>
            <a:off x="5249899" y="628652"/>
            <a:ext cx="692903" cy="80009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0"/>
                </a:moveTo>
                <a:lnTo>
                  <a:pt x="21600" y="5400"/>
                </a:lnTo>
                <a:lnTo>
                  <a:pt x="21600" y="16200"/>
                </a:lnTo>
                <a:lnTo>
                  <a:pt x="10800" y="21600"/>
                </a:lnTo>
                <a:lnTo>
                  <a:pt x="0" y="16200"/>
                </a:lnTo>
                <a:lnTo>
                  <a:pt x="0" y="5400"/>
                </a:lnTo>
                <a:close/>
              </a:path>
            </a:pathLst>
          </a:custGeom>
          <a:noFill/>
          <a:ln w="9525">
            <a:solidFill>
              <a:schemeClr val="tx2">
                <a:alpha val="20000"/>
              </a:schemeClr>
            </a:solidFill>
            <a:miter lim="400000"/>
          </a:ln>
        </p:spPr>
        <p:txBody>
          <a:bodyPr lIns="45719" rIns="45719" anchor="ctr"/>
          <a:lstStyle/>
          <a:p>
            <a:endParaRPr>
              <a:latin typeface="Arial" panose="020B0604020202020204" pitchFamily="34" charset="0"/>
              <a:ea typeface="微软雅黑" panose="020B0503020204020204" pitchFamily="34" charset="-122"/>
              <a:cs typeface="思源黑体 CN Regular" panose="020B0500000000000000" charset="-122"/>
              <a:sym typeface="Arial" panose="020B0604020202020204" pitchFamily="34" charset="0"/>
            </a:endParaRPr>
          </a:p>
        </p:txBody>
      </p:sp>
      <p:sp>
        <p:nvSpPr>
          <p:cNvPr id="19" name="Shape 3656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SpPr/>
          <p:nvPr/>
        </p:nvSpPr>
        <p:spPr>
          <a:xfrm>
            <a:off x="5456060" y="888410"/>
            <a:ext cx="280580" cy="28058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1291" y="17673"/>
                </a:moveTo>
                <a:cubicBezTo>
                  <a:pt x="11427" y="17673"/>
                  <a:pt x="11549" y="17618"/>
                  <a:pt x="11638" y="17529"/>
                </a:cubicBezTo>
                <a:lnTo>
                  <a:pt x="14583" y="14583"/>
                </a:lnTo>
                <a:cubicBezTo>
                  <a:pt x="14673" y="14495"/>
                  <a:pt x="14727" y="14372"/>
                  <a:pt x="14727" y="14236"/>
                </a:cubicBezTo>
                <a:cubicBezTo>
                  <a:pt x="14727" y="13966"/>
                  <a:pt x="14508" y="13745"/>
                  <a:pt x="14236" y="13745"/>
                </a:cubicBezTo>
                <a:cubicBezTo>
                  <a:pt x="14101" y="13745"/>
                  <a:pt x="13978" y="13801"/>
                  <a:pt x="13889" y="13889"/>
                </a:cubicBezTo>
                <a:lnTo>
                  <a:pt x="10944" y="16835"/>
                </a:lnTo>
                <a:cubicBezTo>
                  <a:pt x="10855" y="16924"/>
                  <a:pt x="10800" y="17047"/>
                  <a:pt x="10800" y="17183"/>
                </a:cubicBezTo>
                <a:cubicBezTo>
                  <a:pt x="10800" y="17453"/>
                  <a:pt x="11020" y="17673"/>
                  <a:pt x="11291" y="17673"/>
                </a:cubicBezTo>
                <a:moveTo>
                  <a:pt x="8980" y="14871"/>
                </a:moveTo>
                <a:cubicBezTo>
                  <a:pt x="8891" y="14960"/>
                  <a:pt x="8836" y="15083"/>
                  <a:pt x="8836" y="15218"/>
                </a:cubicBezTo>
                <a:cubicBezTo>
                  <a:pt x="8836" y="15490"/>
                  <a:pt x="9056" y="15709"/>
                  <a:pt x="9327" y="15709"/>
                </a:cubicBezTo>
                <a:cubicBezTo>
                  <a:pt x="9463" y="15709"/>
                  <a:pt x="9586" y="15654"/>
                  <a:pt x="9674" y="15565"/>
                </a:cubicBezTo>
                <a:lnTo>
                  <a:pt x="10656" y="14583"/>
                </a:lnTo>
                <a:cubicBezTo>
                  <a:pt x="10745" y="14495"/>
                  <a:pt x="10800" y="14372"/>
                  <a:pt x="10800" y="14236"/>
                </a:cubicBezTo>
                <a:cubicBezTo>
                  <a:pt x="10800" y="13966"/>
                  <a:pt x="10580" y="13745"/>
                  <a:pt x="10309" y="13745"/>
                </a:cubicBezTo>
                <a:cubicBezTo>
                  <a:pt x="10174" y="13745"/>
                  <a:pt x="10051" y="13801"/>
                  <a:pt x="9962" y="13889"/>
                </a:cubicBezTo>
                <a:cubicBezTo>
                  <a:pt x="9962" y="13889"/>
                  <a:pt x="8980" y="14871"/>
                  <a:pt x="8980" y="14871"/>
                </a:cubicBezTo>
                <a:close/>
                <a:moveTo>
                  <a:pt x="11291" y="20415"/>
                </a:moveTo>
                <a:lnTo>
                  <a:pt x="982" y="10106"/>
                </a:lnTo>
                <a:lnTo>
                  <a:pt x="982" y="1473"/>
                </a:lnTo>
                <a:cubicBezTo>
                  <a:pt x="982" y="1202"/>
                  <a:pt x="1201" y="982"/>
                  <a:pt x="1473" y="982"/>
                </a:cubicBezTo>
                <a:lnTo>
                  <a:pt x="10106" y="982"/>
                </a:lnTo>
                <a:lnTo>
                  <a:pt x="20415" y="11291"/>
                </a:lnTo>
                <a:cubicBezTo>
                  <a:pt x="20415" y="11291"/>
                  <a:pt x="11291" y="20415"/>
                  <a:pt x="11291" y="20415"/>
                </a:cubicBezTo>
                <a:close/>
                <a:moveTo>
                  <a:pt x="21456" y="10944"/>
                </a:moveTo>
                <a:lnTo>
                  <a:pt x="10656" y="144"/>
                </a:lnTo>
                <a:cubicBezTo>
                  <a:pt x="10567" y="55"/>
                  <a:pt x="10445" y="0"/>
                  <a:pt x="10309" y="0"/>
                </a:cubicBezTo>
                <a:lnTo>
                  <a:pt x="1473" y="0"/>
                </a:lnTo>
                <a:cubicBezTo>
                  <a:pt x="660" y="0"/>
                  <a:pt x="0" y="660"/>
                  <a:pt x="0" y="1473"/>
                </a:cubicBezTo>
                <a:lnTo>
                  <a:pt x="0" y="10310"/>
                </a:lnTo>
                <a:cubicBezTo>
                  <a:pt x="0" y="10445"/>
                  <a:pt x="55" y="10567"/>
                  <a:pt x="144" y="10656"/>
                </a:cubicBezTo>
                <a:lnTo>
                  <a:pt x="10944" y="21456"/>
                </a:lnTo>
                <a:cubicBezTo>
                  <a:pt x="11033" y="21545"/>
                  <a:pt x="11155" y="21600"/>
                  <a:pt x="11291" y="21600"/>
                </a:cubicBezTo>
                <a:cubicBezTo>
                  <a:pt x="11427" y="21600"/>
                  <a:pt x="11549" y="21545"/>
                  <a:pt x="11638" y="21456"/>
                </a:cubicBezTo>
                <a:lnTo>
                  <a:pt x="21456" y="11638"/>
                </a:lnTo>
                <a:cubicBezTo>
                  <a:pt x="21545" y="11549"/>
                  <a:pt x="21600" y="11427"/>
                  <a:pt x="21600" y="11291"/>
                </a:cubicBezTo>
                <a:cubicBezTo>
                  <a:pt x="21600" y="11156"/>
                  <a:pt x="21545" y="11033"/>
                  <a:pt x="21456" y="10944"/>
                </a:cubicBezTo>
                <a:moveTo>
                  <a:pt x="11782" y="13255"/>
                </a:moveTo>
                <a:cubicBezTo>
                  <a:pt x="11917" y="13255"/>
                  <a:pt x="12040" y="13200"/>
                  <a:pt x="12129" y="13111"/>
                </a:cubicBezTo>
                <a:lnTo>
                  <a:pt x="14093" y="11147"/>
                </a:lnTo>
                <a:cubicBezTo>
                  <a:pt x="14182" y="11058"/>
                  <a:pt x="14236" y="10936"/>
                  <a:pt x="14236" y="10800"/>
                </a:cubicBezTo>
                <a:cubicBezTo>
                  <a:pt x="14236" y="10529"/>
                  <a:pt x="14017" y="10310"/>
                  <a:pt x="13745" y="10310"/>
                </a:cubicBezTo>
                <a:cubicBezTo>
                  <a:pt x="13610" y="10310"/>
                  <a:pt x="13487" y="10364"/>
                  <a:pt x="13398" y="10453"/>
                </a:cubicBezTo>
                <a:lnTo>
                  <a:pt x="11435" y="12417"/>
                </a:lnTo>
                <a:cubicBezTo>
                  <a:pt x="11346" y="12506"/>
                  <a:pt x="11291" y="12628"/>
                  <a:pt x="11291" y="12765"/>
                </a:cubicBezTo>
                <a:cubicBezTo>
                  <a:pt x="11291" y="13035"/>
                  <a:pt x="11510" y="13255"/>
                  <a:pt x="11782" y="13255"/>
                </a:cubicBezTo>
                <a:moveTo>
                  <a:pt x="4418" y="4909"/>
                </a:moveTo>
                <a:cubicBezTo>
                  <a:pt x="4147" y="4909"/>
                  <a:pt x="3927" y="4690"/>
                  <a:pt x="3927" y="4418"/>
                </a:cubicBezTo>
                <a:cubicBezTo>
                  <a:pt x="3927" y="4147"/>
                  <a:pt x="4147" y="3927"/>
                  <a:pt x="4418" y="3927"/>
                </a:cubicBezTo>
                <a:cubicBezTo>
                  <a:pt x="4690" y="3927"/>
                  <a:pt x="4909" y="4147"/>
                  <a:pt x="4909" y="4418"/>
                </a:cubicBezTo>
                <a:cubicBezTo>
                  <a:pt x="4909" y="4690"/>
                  <a:pt x="4690" y="4909"/>
                  <a:pt x="4418" y="4909"/>
                </a:cubicBezTo>
                <a:moveTo>
                  <a:pt x="4418" y="2945"/>
                </a:moveTo>
                <a:cubicBezTo>
                  <a:pt x="3605" y="2945"/>
                  <a:pt x="2945" y="3605"/>
                  <a:pt x="2945" y="4418"/>
                </a:cubicBezTo>
                <a:cubicBezTo>
                  <a:pt x="2945" y="5232"/>
                  <a:pt x="3605" y="5891"/>
                  <a:pt x="4418" y="5891"/>
                </a:cubicBezTo>
                <a:cubicBezTo>
                  <a:pt x="5231" y="5891"/>
                  <a:pt x="5891" y="5232"/>
                  <a:pt x="5891" y="4418"/>
                </a:cubicBezTo>
                <a:cubicBezTo>
                  <a:pt x="5891" y="3605"/>
                  <a:pt x="5231" y="2945"/>
                  <a:pt x="4418" y="2945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endParaRPr>
              <a:solidFill>
                <a:prstClr val="black"/>
              </a:solidFill>
              <a:latin typeface="Arial" panose="020B0604020202020204" pitchFamily="34" charset="0"/>
              <a:ea typeface="微软雅黑" panose="020B0503020204020204" pitchFamily="34" charset="-122"/>
              <a:cs typeface="思源黑体 CN Regular" panose="020B0500000000000000" charset="-122"/>
              <a:sym typeface="Arial" panose="020B0604020202020204" pitchFamily="34" charset="0"/>
            </a:endParaRPr>
          </a:p>
        </p:txBody>
      </p:sp>
      <p:sp>
        <p:nvSpPr>
          <p:cNvPr id="20" name="TextBox 7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SpPr txBox="1"/>
          <p:nvPr/>
        </p:nvSpPr>
        <p:spPr>
          <a:xfrm>
            <a:off x="5142213" y="1596069"/>
            <a:ext cx="992259" cy="276999"/>
          </a:xfrm>
          <a:prstGeom prst="rect">
            <a:avLst/>
          </a:prstGeom>
          <a:noFill/>
        </p:spPr>
        <p:txBody>
          <a:bodyPr wrap="none" lIns="0" rIns="0" rtlCol="0">
            <a:spAutoFit/>
          </a:bodyPr>
          <a:lstStyle/>
          <a:p>
            <a:r>
              <a:rPr lang="en-US" sz="1200" b="1"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rPr>
              <a:t>WEB DESIGN</a:t>
            </a:r>
          </a:p>
        </p:txBody>
      </p:sp>
      <p:sp>
        <p:nvSpPr>
          <p:cNvPr id="22" name="Shape 22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SpPr/>
          <p:nvPr/>
        </p:nvSpPr>
        <p:spPr>
          <a:xfrm>
            <a:off x="5231611" y="2336296"/>
            <a:ext cx="692903" cy="80009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0"/>
                </a:moveTo>
                <a:lnTo>
                  <a:pt x="21600" y="5400"/>
                </a:lnTo>
                <a:lnTo>
                  <a:pt x="21600" y="16200"/>
                </a:lnTo>
                <a:lnTo>
                  <a:pt x="10800" y="21600"/>
                </a:lnTo>
                <a:lnTo>
                  <a:pt x="0" y="16200"/>
                </a:lnTo>
                <a:lnTo>
                  <a:pt x="0" y="5400"/>
                </a:lnTo>
                <a:close/>
              </a:path>
            </a:pathLst>
          </a:custGeom>
          <a:noFill/>
          <a:ln w="9525">
            <a:solidFill>
              <a:schemeClr val="tx2">
                <a:alpha val="20000"/>
              </a:schemeClr>
            </a:solidFill>
            <a:miter lim="400000"/>
          </a:ln>
        </p:spPr>
        <p:txBody>
          <a:bodyPr lIns="45719" rIns="45719" anchor="ctr"/>
          <a:lstStyle/>
          <a:p>
            <a:endParaRPr>
              <a:latin typeface="Arial" panose="020B0604020202020204" pitchFamily="34" charset="0"/>
              <a:ea typeface="微软雅黑" panose="020B0503020204020204" pitchFamily="34" charset="-122"/>
              <a:cs typeface="思源黑体 CN Regular" panose="020B0500000000000000" charset="-122"/>
              <a:sym typeface="Arial" panose="020B0604020202020204" pitchFamily="34" charset="0"/>
            </a:endParaRPr>
          </a:p>
        </p:txBody>
      </p:sp>
      <p:sp>
        <p:nvSpPr>
          <p:cNvPr id="23" name="TextBox 10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SpPr txBox="1"/>
          <p:nvPr/>
        </p:nvSpPr>
        <p:spPr>
          <a:xfrm>
            <a:off x="4685923" y="3315324"/>
            <a:ext cx="2044855" cy="276999"/>
          </a:xfrm>
          <a:prstGeom prst="rect">
            <a:avLst/>
          </a:prstGeom>
          <a:noFill/>
        </p:spPr>
        <p:txBody>
          <a:bodyPr wrap="none" lIns="0" rIns="0" rtlCol="0">
            <a:spAutoFit/>
          </a:bodyPr>
          <a:lstStyle/>
          <a:p>
            <a:r>
              <a:rPr lang="en-US" sz="1200" b="1"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rPr>
              <a:t>PRESENTATION TEMPLATE</a:t>
            </a:r>
          </a:p>
        </p:txBody>
      </p:sp>
      <p:sp>
        <p:nvSpPr>
          <p:cNvPr id="24" name="Text Placeholder 3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SpPr txBox="1"/>
          <p:nvPr/>
        </p:nvSpPr>
        <p:spPr>
          <a:xfrm>
            <a:off x="4868803" y="5505480"/>
            <a:ext cx="1531997" cy="529134"/>
          </a:xfrm>
          <a:prstGeom prst="rect">
            <a:avLst/>
          </a:prstGeom>
        </p:spPr>
        <p:txBody>
          <a:bodyPr lIns="0" rIns="0"/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Font typeface="Arial" panose="020B0604020202020204" pitchFamily="34" charset="0"/>
              <a:buNone/>
              <a:defRPr sz="1000" kern="1200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Font typeface="Arial" panose="020B0604020202020204" pitchFamily="34" charset="0"/>
              <a:buNone/>
              <a:defRPr sz="1000" kern="1200" baseline="0">
                <a:solidFill>
                  <a:schemeClr val="tx1">
                    <a:alpha val="50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565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45000"/>
              </a:lnSpc>
            </a:pPr>
            <a:r>
              <a:rPr lang="en-US" sz="1000">
                <a:solidFill>
                  <a:schemeClr val="tx1">
                    <a:alpha val="80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rPr>
              <a:t>There are many variations of passages of Lorem Ipsum available, but the.</a:t>
            </a:r>
          </a:p>
        </p:txBody>
      </p:sp>
      <p:sp>
        <p:nvSpPr>
          <p:cNvPr id="25" name="Shape 3664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SpPr/>
          <p:nvPr/>
        </p:nvSpPr>
        <p:spPr>
          <a:xfrm>
            <a:off x="5437772" y="2591246"/>
            <a:ext cx="280580" cy="28058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14727"/>
                </a:moveTo>
                <a:cubicBezTo>
                  <a:pt x="8631" y="14727"/>
                  <a:pt x="6873" y="12969"/>
                  <a:pt x="6873" y="10800"/>
                </a:cubicBezTo>
                <a:cubicBezTo>
                  <a:pt x="6873" y="8631"/>
                  <a:pt x="8631" y="6873"/>
                  <a:pt x="10800" y="6873"/>
                </a:cubicBezTo>
                <a:cubicBezTo>
                  <a:pt x="12969" y="6873"/>
                  <a:pt x="14727" y="8631"/>
                  <a:pt x="14727" y="10800"/>
                </a:cubicBezTo>
                <a:cubicBezTo>
                  <a:pt x="14727" y="12969"/>
                  <a:pt x="12969" y="14727"/>
                  <a:pt x="10800" y="14727"/>
                </a:cubicBezTo>
                <a:moveTo>
                  <a:pt x="10800" y="5891"/>
                </a:moveTo>
                <a:cubicBezTo>
                  <a:pt x="8088" y="5891"/>
                  <a:pt x="5891" y="8089"/>
                  <a:pt x="5891" y="10800"/>
                </a:cubicBezTo>
                <a:cubicBezTo>
                  <a:pt x="5891" y="13512"/>
                  <a:pt x="8088" y="15709"/>
                  <a:pt x="10800" y="15709"/>
                </a:cubicBezTo>
                <a:cubicBezTo>
                  <a:pt x="13512" y="15709"/>
                  <a:pt x="15709" y="13512"/>
                  <a:pt x="15709" y="10800"/>
                </a:cubicBezTo>
                <a:cubicBezTo>
                  <a:pt x="15709" y="8089"/>
                  <a:pt x="13512" y="5891"/>
                  <a:pt x="10800" y="5891"/>
                </a:cubicBezTo>
                <a:moveTo>
                  <a:pt x="20618" y="12013"/>
                </a:moveTo>
                <a:cubicBezTo>
                  <a:pt x="20614" y="12014"/>
                  <a:pt x="20611" y="12016"/>
                  <a:pt x="20607" y="12017"/>
                </a:cubicBezTo>
                <a:lnTo>
                  <a:pt x="19602" y="12268"/>
                </a:lnTo>
                <a:cubicBezTo>
                  <a:pt x="19256" y="12354"/>
                  <a:pt x="18984" y="12622"/>
                  <a:pt x="18892" y="12966"/>
                </a:cubicBezTo>
                <a:cubicBezTo>
                  <a:pt x="18703" y="13673"/>
                  <a:pt x="18421" y="14351"/>
                  <a:pt x="18053" y="14986"/>
                </a:cubicBezTo>
                <a:cubicBezTo>
                  <a:pt x="17873" y="15295"/>
                  <a:pt x="17876" y="15677"/>
                  <a:pt x="18060" y="15984"/>
                </a:cubicBezTo>
                <a:lnTo>
                  <a:pt x="18601" y="16885"/>
                </a:lnTo>
                <a:lnTo>
                  <a:pt x="16886" y="18600"/>
                </a:lnTo>
                <a:cubicBezTo>
                  <a:pt x="16882" y="18599"/>
                  <a:pt x="16878" y="18597"/>
                  <a:pt x="16875" y="18595"/>
                </a:cubicBezTo>
                <a:lnTo>
                  <a:pt x="15978" y="18057"/>
                </a:lnTo>
                <a:cubicBezTo>
                  <a:pt x="15822" y="17964"/>
                  <a:pt x="15648" y="17917"/>
                  <a:pt x="15473" y="17917"/>
                </a:cubicBezTo>
                <a:cubicBezTo>
                  <a:pt x="15304" y="17917"/>
                  <a:pt x="15134" y="17961"/>
                  <a:pt x="14982" y="18049"/>
                </a:cubicBezTo>
                <a:cubicBezTo>
                  <a:pt x="14348" y="18415"/>
                  <a:pt x="13671" y="18696"/>
                  <a:pt x="12968" y="18884"/>
                </a:cubicBezTo>
                <a:cubicBezTo>
                  <a:pt x="12624" y="18976"/>
                  <a:pt x="12356" y="19248"/>
                  <a:pt x="12269" y="19594"/>
                </a:cubicBezTo>
                <a:lnTo>
                  <a:pt x="12016" y="20608"/>
                </a:lnTo>
                <a:cubicBezTo>
                  <a:pt x="12015" y="20611"/>
                  <a:pt x="12014" y="20614"/>
                  <a:pt x="12012" y="20619"/>
                </a:cubicBezTo>
                <a:lnTo>
                  <a:pt x="9587" y="20619"/>
                </a:lnTo>
                <a:lnTo>
                  <a:pt x="9331" y="19594"/>
                </a:lnTo>
                <a:cubicBezTo>
                  <a:pt x="9244" y="19248"/>
                  <a:pt x="8976" y="18976"/>
                  <a:pt x="8632" y="18884"/>
                </a:cubicBezTo>
                <a:cubicBezTo>
                  <a:pt x="7929" y="18696"/>
                  <a:pt x="7251" y="18415"/>
                  <a:pt x="6617" y="18049"/>
                </a:cubicBezTo>
                <a:cubicBezTo>
                  <a:pt x="6465" y="17961"/>
                  <a:pt x="6296" y="17917"/>
                  <a:pt x="6127" y="17917"/>
                </a:cubicBezTo>
                <a:cubicBezTo>
                  <a:pt x="5951" y="17917"/>
                  <a:pt x="5777" y="17964"/>
                  <a:pt x="5621" y="18057"/>
                </a:cubicBezTo>
                <a:lnTo>
                  <a:pt x="4725" y="18595"/>
                </a:lnTo>
                <a:cubicBezTo>
                  <a:pt x="4722" y="18597"/>
                  <a:pt x="4718" y="18599"/>
                  <a:pt x="4714" y="18600"/>
                </a:cubicBezTo>
                <a:lnTo>
                  <a:pt x="3000" y="16885"/>
                </a:lnTo>
                <a:lnTo>
                  <a:pt x="3540" y="15983"/>
                </a:lnTo>
                <a:cubicBezTo>
                  <a:pt x="3724" y="15677"/>
                  <a:pt x="3727" y="15295"/>
                  <a:pt x="3548" y="14986"/>
                </a:cubicBezTo>
                <a:cubicBezTo>
                  <a:pt x="3179" y="14351"/>
                  <a:pt x="2897" y="13672"/>
                  <a:pt x="2708" y="12966"/>
                </a:cubicBezTo>
                <a:cubicBezTo>
                  <a:pt x="2616" y="12622"/>
                  <a:pt x="2343" y="12354"/>
                  <a:pt x="1998" y="12268"/>
                </a:cubicBezTo>
                <a:lnTo>
                  <a:pt x="993" y="12017"/>
                </a:lnTo>
                <a:cubicBezTo>
                  <a:pt x="989" y="12016"/>
                  <a:pt x="986" y="12014"/>
                  <a:pt x="982" y="12013"/>
                </a:cubicBezTo>
                <a:lnTo>
                  <a:pt x="982" y="9587"/>
                </a:lnTo>
                <a:lnTo>
                  <a:pt x="1998" y="9333"/>
                </a:lnTo>
                <a:cubicBezTo>
                  <a:pt x="2343" y="9247"/>
                  <a:pt x="2616" y="8979"/>
                  <a:pt x="2708" y="8634"/>
                </a:cubicBezTo>
                <a:cubicBezTo>
                  <a:pt x="2897" y="7928"/>
                  <a:pt x="3179" y="7250"/>
                  <a:pt x="3548" y="6615"/>
                </a:cubicBezTo>
                <a:cubicBezTo>
                  <a:pt x="3727" y="6305"/>
                  <a:pt x="3724" y="5924"/>
                  <a:pt x="3540" y="5617"/>
                </a:cubicBezTo>
                <a:lnTo>
                  <a:pt x="3005" y="4725"/>
                </a:lnTo>
                <a:cubicBezTo>
                  <a:pt x="3004" y="4722"/>
                  <a:pt x="3002" y="4718"/>
                  <a:pt x="3000" y="4714"/>
                </a:cubicBezTo>
                <a:lnTo>
                  <a:pt x="4715" y="3000"/>
                </a:lnTo>
                <a:lnTo>
                  <a:pt x="5621" y="3544"/>
                </a:lnTo>
                <a:cubicBezTo>
                  <a:pt x="5777" y="3637"/>
                  <a:pt x="5951" y="3683"/>
                  <a:pt x="6127" y="3683"/>
                </a:cubicBezTo>
                <a:cubicBezTo>
                  <a:pt x="6296" y="3683"/>
                  <a:pt x="6465" y="3640"/>
                  <a:pt x="6618" y="3551"/>
                </a:cubicBezTo>
                <a:cubicBezTo>
                  <a:pt x="7251" y="3185"/>
                  <a:pt x="7929" y="2904"/>
                  <a:pt x="8632" y="2717"/>
                </a:cubicBezTo>
                <a:cubicBezTo>
                  <a:pt x="8976" y="2624"/>
                  <a:pt x="9244" y="2353"/>
                  <a:pt x="9331" y="2007"/>
                </a:cubicBezTo>
                <a:lnTo>
                  <a:pt x="9587" y="982"/>
                </a:lnTo>
                <a:lnTo>
                  <a:pt x="12012" y="982"/>
                </a:lnTo>
                <a:cubicBezTo>
                  <a:pt x="12014" y="986"/>
                  <a:pt x="12015" y="989"/>
                  <a:pt x="12016" y="993"/>
                </a:cubicBezTo>
                <a:lnTo>
                  <a:pt x="12269" y="2007"/>
                </a:lnTo>
                <a:cubicBezTo>
                  <a:pt x="12356" y="2353"/>
                  <a:pt x="12624" y="2624"/>
                  <a:pt x="12968" y="2717"/>
                </a:cubicBezTo>
                <a:cubicBezTo>
                  <a:pt x="13671" y="2904"/>
                  <a:pt x="14348" y="3185"/>
                  <a:pt x="14982" y="3551"/>
                </a:cubicBezTo>
                <a:cubicBezTo>
                  <a:pt x="15134" y="3640"/>
                  <a:pt x="15304" y="3683"/>
                  <a:pt x="15473" y="3683"/>
                </a:cubicBezTo>
                <a:cubicBezTo>
                  <a:pt x="15648" y="3683"/>
                  <a:pt x="15822" y="3637"/>
                  <a:pt x="15978" y="3544"/>
                </a:cubicBezTo>
                <a:lnTo>
                  <a:pt x="16884" y="3000"/>
                </a:lnTo>
                <a:lnTo>
                  <a:pt x="18600" y="4714"/>
                </a:lnTo>
                <a:cubicBezTo>
                  <a:pt x="18598" y="4718"/>
                  <a:pt x="18597" y="4722"/>
                  <a:pt x="18595" y="4726"/>
                </a:cubicBezTo>
                <a:lnTo>
                  <a:pt x="18060" y="5617"/>
                </a:lnTo>
                <a:cubicBezTo>
                  <a:pt x="17876" y="5924"/>
                  <a:pt x="17873" y="6305"/>
                  <a:pt x="18053" y="6615"/>
                </a:cubicBezTo>
                <a:cubicBezTo>
                  <a:pt x="18421" y="7249"/>
                  <a:pt x="18703" y="7928"/>
                  <a:pt x="18892" y="8634"/>
                </a:cubicBezTo>
                <a:cubicBezTo>
                  <a:pt x="18984" y="8979"/>
                  <a:pt x="19256" y="9247"/>
                  <a:pt x="19602" y="9333"/>
                </a:cubicBezTo>
                <a:lnTo>
                  <a:pt x="20618" y="9587"/>
                </a:lnTo>
                <a:cubicBezTo>
                  <a:pt x="20618" y="9587"/>
                  <a:pt x="20618" y="12013"/>
                  <a:pt x="20618" y="12013"/>
                </a:cubicBezTo>
                <a:close/>
                <a:moveTo>
                  <a:pt x="20880" y="8641"/>
                </a:moveTo>
                <a:lnTo>
                  <a:pt x="19841" y="8380"/>
                </a:lnTo>
                <a:cubicBezTo>
                  <a:pt x="19626" y="7580"/>
                  <a:pt x="19308" y="6822"/>
                  <a:pt x="18902" y="6122"/>
                </a:cubicBezTo>
                <a:lnTo>
                  <a:pt x="19455" y="5201"/>
                </a:lnTo>
                <a:cubicBezTo>
                  <a:pt x="19625" y="4871"/>
                  <a:pt x="19736" y="4463"/>
                  <a:pt x="19455" y="4182"/>
                </a:cubicBezTo>
                <a:lnTo>
                  <a:pt x="17419" y="2146"/>
                </a:lnTo>
                <a:cubicBezTo>
                  <a:pt x="17292" y="2018"/>
                  <a:pt x="17136" y="1968"/>
                  <a:pt x="16975" y="1968"/>
                </a:cubicBezTo>
                <a:cubicBezTo>
                  <a:pt x="16778" y="1968"/>
                  <a:pt x="16572" y="2043"/>
                  <a:pt x="16400" y="2146"/>
                </a:cubicBezTo>
                <a:lnTo>
                  <a:pt x="15473" y="2702"/>
                </a:lnTo>
                <a:cubicBezTo>
                  <a:pt x="14775" y="2298"/>
                  <a:pt x="14020" y="1982"/>
                  <a:pt x="13222" y="1768"/>
                </a:cubicBezTo>
                <a:lnTo>
                  <a:pt x="12960" y="720"/>
                </a:lnTo>
                <a:cubicBezTo>
                  <a:pt x="12848" y="367"/>
                  <a:pt x="12638" y="0"/>
                  <a:pt x="12240" y="0"/>
                </a:cubicBezTo>
                <a:lnTo>
                  <a:pt x="9360" y="0"/>
                </a:lnTo>
                <a:cubicBezTo>
                  <a:pt x="8962" y="0"/>
                  <a:pt x="8730" y="367"/>
                  <a:pt x="8640" y="720"/>
                </a:cubicBezTo>
                <a:lnTo>
                  <a:pt x="8378" y="1768"/>
                </a:lnTo>
                <a:cubicBezTo>
                  <a:pt x="7580" y="1982"/>
                  <a:pt x="6825" y="2298"/>
                  <a:pt x="6127" y="2702"/>
                </a:cubicBezTo>
                <a:lnTo>
                  <a:pt x="5200" y="2146"/>
                </a:lnTo>
                <a:cubicBezTo>
                  <a:pt x="5028" y="2043"/>
                  <a:pt x="4822" y="1968"/>
                  <a:pt x="4625" y="1968"/>
                </a:cubicBezTo>
                <a:cubicBezTo>
                  <a:pt x="4464" y="1968"/>
                  <a:pt x="4308" y="2018"/>
                  <a:pt x="4181" y="2146"/>
                </a:cubicBezTo>
                <a:lnTo>
                  <a:pt x="2145" y="4182"/>
                </a:lnTo>
                <a:cubicBezTo>
                  <a:pt x="1864" y="4463"/>
                  <a:pt x="1975" y="4871"/>
                  <a:pt x="2145" y="5201"/>
                </a:cubicBezTo>
                <a:lnTo>
                  <a:pt x="2698" y="6122"/>
                </a:lnTo>
                <a:cubicBezTo>
                  <a:pt x="2292" y="6822"/>
                  <a:pt x="1973" y="7580"/>
                  <a:pt x="1759" y="8380"/>
                </a:cubicBezTo>
                <a:lnTo>
                  <a:pt x="720" y="8641"/>
                </a:lnTo>
                <a:cubicBezTo>
                  <a:pt x="367" y="8730"/>
                  <a:pt x="0" y="8963"/>
                  <a:pt x="0" y="9361"/>
                </a:cubicBezTo>
                <a:lnTo>
                  <a:pt x="0" y="12240"/>
                </a:lnTo>
                <a:cubicBezTo>
                  <a:pt x="0" y="12638"/>
                  <a:pt x="367" y="12848"/>
                  <a:pt x="720" y="12960"/>
                </a:cubicBezTo>
                <a:lnTo>
                  <a:pt x="1759" y="13220"/>
                </a:lnTo>
                <a:cubicBezTo>
                  <a:pt x="1973" y="14021"/>
                  <a:pt x="2292" y="14778"/>
                  <a:pt x="2698" y="15479"/>
                </a:cubicBezTo>
                <a:lnTo>
                  <a:pt x="2145" y="16400"/>
                </a:lnTo>
                <a:cubicBezTo>
                  <a:pt x="1959" y="16714"/>
                  <a:pt x="1864" y="17138"/>
                  <a:pt x="2145" y="17419"/>
                </a:cubicBezTo>
                <a:lnTo>
                  <a:pt x="4181" y="19455"/>
                </a:lnTo>
                <a:cubicBezTo>
                  <a:pt x="4305" y="19579"/>
                  <a:pt x="4454" y="19627"/>
                  <a:pt x="4610" y="19627"/>
                </a:cubicBezTo>
                <a:cubicBezTo>
                  <a:pt x="4807" y="19627"/>
                  <a:pt x="5016" y="19550"/>
                  <a:pt x="5200" y="19455"/>
                </a:cubicBezTo>
                <a:lnTo>
                  <a:pt x="6127" y="18899"/>
                </a:lnTo>
                <a:cubicBezTo>
                  <a:pt x="6825" y="19303"/>
                  <a:pt x="7580" y="19619"/>
                  <a:pt x="8378" y="19832"/>
                </a:cubicBezTo>
                <a:lnTo>
                  <a:pt x="8640" y="20880"/>
                </a:lnTo>
                <a:cubicBezTo>
                  <a:pt x="8730" y="21233"/>
                  <a:pt x="8962" y="21600"/>
                  <a:pt x="9360" y="21600"/>
                </a:cubicBezTo>
                <a:lnTo>
                  <a:pt x="12240" y="21600"/>
                </a:lnTo>
                <a:cubicBezTo>
                  <a:pt x="12638" y="21600"/>
                  <a:pt x="12848" y="21233"/>
                  <a:pt x="12960" y="20880"/>
                </a:cubicBezTo>
                <a:lnTo>
                  <a:pt x="13222" y="19832"/>
                </a:lnTo>
                <a:cubicBezTo>
                  <a:pt x="14020" y="19619"/>
                  <a:pt x="14775" y="19303"/>
                  <a:pt x="15473" y="18899"/>
                </a:cubicBezTo>
                <a:lnTo>
                  <a:pt x="16400" y="19455"/>
                </a:lnTo>
                <a:cubicBezTo>
                  <a:pt x="16584" y="19550"/>
                  <a:pt x="16793" y="19627"/>
                  <a:pt x="16990" y="19627"/>
                </a:cubicBezTo>
                <a:cubicBezTo>
                  <a:pt x="17146" y="19627"/>
                  <a:pt x="17294" y="19579"/>
                  <a:pt x="17419" y="19455"/>
                </a:cubicBezTo>
                <a:lnTo>
                  <a:pt x="19455" y="17419"/>
                </a:lnTo>
                <a:cubicBezTo>
                  <a:pt x="19736" y="17138"/>
                  <a:pt x="19641" y="16714"/>
                  <a:pt x="19455" y="16400"/>
                </a:cubicBezTo>
                <a:lnTo>
                  <a:pt x="18902" y="15479"/>
                </a:lnTo>
                <a:cubicBezTo>
                  <a:pt x="19308" y="14778"/>
                  <a:pt x="19626" y="14021"/>
                  <a:pt x="19841" y="13220"/>
                </a:cubicBezTo>
                <a:lnTo>
                  <a:pt x="20880" y="12960"/>
                </a:lnTo>
                <a:cubicBezTo>
                  <a:pt x="21233" y="12848"/>
                  <a:pt x="21600" y="12638"/>
                  <a:pt x="21600" y="12240"/>
                </a:cubicBezTo>
                <a:lnTo>
                  <a:pt x="21600" y="9361"/>
                </a:lnTo>
                <a:cubicBezTo>
                  <a:pt x="21600" y="8963"/>
                  <a:pt x="21233" y="8730"/>
                  <a:pt x="20880" y="8641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endParaRPr>
              <a:solidFill>
                <a:prstClr val="black"/>
              </a:solidFill>
              <a:latin typeface="Arial" panose="020B0604020202020204" pitchFamily="34" charset="0"/>
              <a:ea typeface="微软雅黑" panose="020B0503020204020204" pitchFamily="34" charset="-122"/>
              <a:cs typeface="思源黑体 CN Regular" panose="020B0500000000000000" charset="-122"/>
              <a:sym typeface="Arial" panose="020B0604020202020204" pitchFamily="34" charset="0"/>
            </a:endParaRPr>
          </a:p>
        </p:txBody>
      </p:sp>
      <p:sp>
        <p:nvSpPr>
          <p:cNvPr id="30" name="Shape 22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SpPr/>
          <p:nvPr/>
        </p:nvSpPr>
        <p:spPr>
          <a:xfrm>
            <a:off x="5274283" y="4079752"/>
            <a:ext cx="692903" cy="80009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0"/>
                </a:moveTo>
                <a:lnTo>
                  <a:pt x="21600" y="5400"/>
                </a:lnTo>
                <a:lnTo>
                  <a:pt x="21600" y="16200"/>
                </a:lnTo>
                <a:lnTo>
                  <a:pt x="10800" y="21600"/>
                </a:lnTo>
                <a:lnTo>
                  <a:pt x="0" y="16200"/>
                </a:lnTo>
                <a:lnTo>
                  <a:pt x="0" y="5400"/>
                </a:lnTo>
                <a:close/>
              </a:path>
            </a:pathLst>
          </a:custGeom>
          <a:solidFill>
            <a:schemeClr val="accent1"/>
          </a:solidFill>
          <a:ln w="9525">
            <a:solidFill>
              <a:schemeClr val="tx2">
                <a:alpha val="20000"/>
              </a:schemeClr>
            </a:solidFill>
            <a:miter lim="400000"/>
          </a:ln>
        </p:spPr>
        <p:txBody>
          <a:bodyPr lIns="45719" rIns="45719" anchor="ctr"/>
          <a:lstStyle/>
          <a:p>
            <a:endParaRPr>
              <a:latin typeface="Arial" panose="020B0604020202020204" pitchFamily="34" charset="0"/>
              <a:ea typeface="微软雅黑" panose="020B0503020204020204" pitchFamily="34" charset="-122"/>
              <a:cs typeface="思源黑体 CN Regular" panose="020B0500000000000000" charset="-122"/>
              <a:sym typeface="Arial" panose="020B0604020202020204" pitchFamily="34" charset="0"/>
            </a:endParaRPr>
          </a:p>
        </p:txBody>
      </p:sp>
      <p:sp>
        <p:nvSpPr>
          <p:cNvPr id="31" name="TextBox 10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SpPr txBox="1"/>
          <p:nvPr/>
        </p:nvSpPr>
        <p:spPr>
          <a:xfrm>
            <a:off x="5277235" y="5022204"/>
            <a:ext cx="589905" cy="276999"/>
          </a:xfrm>
          <a:prstGeom prst="rect">
            <a:avLst/>
          </a:prstGeom>
          <a:noFill/>
        </p:spPr>
        <p:txBody>
          <a:bodyPr wrap="none" lIns="0" rIns="0" rtlCol="0">
            <a:spAutoFit/>
          </a:bodyPr>
          <a:lstStyle/>
          <a:p>
            <a:r>
              <a:rPr lang="en-US" altLang="zh-CN" sz="1200" b="1"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rPr>
              <a:t>DESIGN</a:t>
            </a:r>
          </a:p>
        </p:txBody>
      </p:sp>
      <p:sp>
        <p:nvSpPr>
          <p:cNvPr id="33" name="Shape 3689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SpPr/>
          <p:nvPr/>
        </p:nvSpPr>
        <p:spPr>
          <a:xfrm>
            <a:off x="5387545" y="4276881"/>
            <a:ext cx="446328" cy="405853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16" y="20520"/>
                </a:moveTo>
                <a:cubicBezTo>
                  <a:pt x="1258" y="18675"/>
                  <a:pt x="2752" y="17922"/>
                  <a:pt x="4191" y="17361"/>
                </a:cubicBezTo>
                <a:cubicBezTo>
                  <a:pt x="5156" y="17087"/>
                  <a:pt x="6884" y="15971"/>
                  <a:pt x="6884" y="13567"/>
                </a:cubicBezTo>
                <a:cubicBezTo>
                  <a:pt x="6884" y="11509"/>
                  <a:pt x="6113" y="10507"/>
                  <a:pt x="5698" y="9969"/>
                </a:cubicBezTo>
                <a:cubicBezTo>
                  <a:pt x="5646" y="9901"/>
                  <a:pt x="5599" y="9842"/>
                  <a:pt x="5562" y="9785"/>
                </a:cubicBezTo>
                <a:cubicBezTo>
                  <a:pt x="5550" y="9768"/>
                  <a:pt x="5538" y="9751"/>
                  <a:pt x="5526" y="9734"/>
                </a:cubicBezTo>
                <a:cubicBezTo>
                  <a:pt x="5491" y="9662"/>
                  <a:pt x="5297" y="9177"/>
                  <a:pt x="5553" y="8011"/>
                </a:cubicBezTo>
                <a:cubicBezTo>
                  <a:pt x="5604" y="7777"/>
                  <a:pt x="5583" y="7531"/>
                  <a:pt x="5493" y="7311"/>
                </a:cubicBezTo>
                <a:cubicBezTo>
                  <a:pt x="5249" y="6721"/>
                  <a:pt x="4603" y="5151"/>
                  <a:pt x="5035" y="3987"/>
                </a:cubicBezTo>
                <a:cubicBezTo>
                  <a:pt x="5619" y="2410"/>
                  <a:pt x="6140" y="2098"/>
                  <a:pt x="7085" y="1642"/>
                </a:cubicBezTo>
                <a:cubicBezTo>
                  <a:pt x="7132" y="1619"/>
                  <a:pt x="7177" y="1592"/>
                  <a:pt x="7220" y="1562"/>
                </a:cubicBezTo>
                <a:cubicBezTo>
                  <a:pt x="7458" y="1393"/>
                  <a:pt x="8233" y="1080"/>
                  <a:pt x="9029" y="1080"/>
                </a:cubicBezTo>
                <a:cubicBezTo>
                  <a:pt x="9467" y="1080"/>
                  <a:pt x="9840" y="1171"/>
                  <a:pt x="10137" y="1353"/>
                </a:cubicBezTo>
                <a:cubicBezTo>
                  <a:pt x="10491" y="1569"/>
                  <a:pt x="10825" y="1968"/>
                  <a:pt x="11308" y="3213"/>
                </a:cubicBezTo>
                <a:cubicBezTo>
                  <a:pt x="11991" y="4974"/>
                  <a:pt x="11820" y="6477"/>
                  <a:pt x="11347" y="7186"/>
                </a:cubicBezTo>
                <a:cubicBezTo>
                  <a:pt x="11175" y="7442"/>
                  <a:pt x="11116" y="7769"/>
                  <a:pt x="11184" y="8078"/>
                </a:cubicBezTo>
                <a:cubicBezTo>
                  <a:pt x="11422" y="9163"/>
                  <a:pt x="11247" y="9602"/>
                  <a:pt x="11210" y="9679"/>
                </a:cubicBezTo>
                <a:cubicBezTo>
                  <a:pt x="11181" y="9712"/>
                  <a:pt x="11153" y="9748"/>
                  <a:pt x="11129" y="9785"/>
                </a:cubicBezTo>
                <a:cubicBezTo>
                  <a:pt x="11091" y="9842"/>
                  <a:pt x="11044" y="9901"/>
                  <a:pt x="10992" y="9969"/>
                </a:cubicBezTo>
                <a:cubicBezTo>
                  <a:pt x="10578" y="10507"/>
                  <a:pt x="9806" y="11509"/>
                  <a:pt x="9806" y="13567"/>
                </a:cubicBezTo>
                <a:cubicBezTo>
                  <a:pt x="9806" y="15971"/>
                  <a:pt x="11535" y="17087"/>
                  <a:pt x="12500" y="17361"/>
                </a:cubicBezTo>
                <a:cubicBezTo>
                  <a:pt x="13925" y="17915"/>
                  <a:pt x="15432" y="18664"/>
                  <a:pt x="15675" y="20520"/>
                </a:cubicBezTo>
                <a:cubicBezTo>
                  <a:pt x="15675" y="20520"/>
                  <a:pt x="1016" y="20520"/>
                  <a:pt x="1016" y="20520"/>
                </a:cubicBezTo>
                <a:close/>
                <a:moveTo>
                  <a:pt x="12782" y="16326"/>
                </a:moveTo>
                <a:cubicBezTo>
                  <a:pt x="12782" y="16326"/>
                  <a:pt x="10788" y="15813"/>
                  <a:pt x="10788" y="13567"/>
                </a:cubicBezTo>
                <a:cubicBezTo>
                  <a:pt x="10788" y="11595"/>
                  <a:pt x="11607" y="10900"/>
                  <a:pt x="11923" y="10420"/>
                </a:cubicBezTo>
                <a:cubicBezTo>
                  <a:pt x="11923" y="10420"/>
                  <a:pt x="12573" y="9806"/>
                  <a:pt x="12138" y="7825"/>
                </a:cubicBezTo>
                <a:cubicBezTo>
                  <a:pt x="12863" y="6739"/>
                  <a:pt x="12999" y="4821"/>
                  <a:pt x="12211" y="2789"/>
                </a:cubicBezTo>
                <a:cubicBezTo>
                  <a:pt x="11716" y="1513"/>
                  <a:pt x="11279" y="815"/>
                  <a:pt x="10613" y="409"/>
                </a:cubicBezTo>
                <a:cubicBezTo>
                  <a:pt x="10124" y="111"/>
                  <a:pt x="9569" y="0"/>
                  <a:pt x="9029" y="0"/>
                </a:cubicBezTo>
                <a:cubicBezTo>
                  <a:pt x="8023" y="0"/>
                  <a:pt x="7070" y="384"/>
                  <a:pt x="6690" y="653"/>
                </a:cubicBezTo>
                <a:cubicBezTo>
                  <a:pt x="5576" y="1192"/>
                  <a:pt x="4828" y="1688"/>
                  <a:pt x="4126" y="3579"/>
                </a:cubicBezTo>
                <a:cubicBezTo>
                  <a:pt x="3556" y="5114"/>
                  <a:pt x="4241" y="6891"/>
                  <a:pt x="4598" y="7757"/>
                </a:cubicBezTo>
                <a:cubicBezTo>
                  <a:pt x="4163" y="9739"/>
                  <a:pt x="4767" y="10420"/>
                  <a:pt x="4767" y="10420"/>
                </a:cubicBezTo>
                <a:cubicBezTo>
                  <a:pt x="5083" y="10900"/>
                  <a:pt x="5903" y="11595"/>
                  <a:pt x="5903" y="13567"/>
                </a:cubicBezTo>
                <a:cubicBezTo>
                  <a:pt x="5903" y="15813"/>
                  <a:pt x="3909" y="16326"/>
                  <a:pt x="3909" y="16326"/>
                </a:cubicBezTo>
                <a:cubicBezTo>
                  <a:pt x="2642" y="16816"/>
                  <a:pt x="0" y="17821"/>
                  <a:pt x="0" y="21060"/>
                </a:cubicBezTo>
                <a:cubicBezTo>
                  <a:pt x="0" y="21060"/>
                  <a:pt x="0" y="21600"/>
                  <a:pt x="491" y="21600"/>
                </a:cubicBezTo>
                <a:lnTo>
                  <a:pt x="16200" y="21600"/>
                </a:lnTo>
                <a:cubicBezTo>
                  <a:pt x="16691" y="21600"/>
                  <a:pt x="16691" y="21060"/>
                  <a:pt x="16691" y="21060"/>
                </a:cubicBezTo>
                <a:cubicBezTo>
                  <a:pt x="16691" y="17821"/>
                  <a:pt x="14048" y="16816"/>
                  <a:pt x="12782" y="16326"/>
                </a:cubicBezTo>
                <a:moveTo>
                  <a:pt x="18035" y="15773"/>
                </a:moveTo>
                <a:cubicBezTo>
                  <a:pt x="18035" y="15773"/>
                  <a:pt x="16217" y="15311"/>
                  <a:pt x="16217" y="13290"/>
                </a:cubicBezTo>
                <a:cubicBezTo>
                  <a:pt x="16217" y="11514"/>
                  <a:pt x="17087" y="10889"/>
                  <a:pt x="17376" y="10458"/>
                </a:cubicBezTo>
                <a:cubicBezTo>
                  <a:pt x="17376" y="10458"/>
                  <a:pt x="17968" y="9905"/>
                  <a:pt x="17572" y="8122"/>
                </a:cubicBezTo>
                <a:cubicBezTo>
                  <a:pt x="18232" y="7145"/>
                  <a:pt x="18387" y="5419"/>
                  <a:pt x="17669" y="3589"/>
                </a:cubicBezTo>
                <a:cubicBezTo>
                  <a:pt x="17218" y="2442"/>
                  <a:pt x="16666" y="1814"/>
                  <a:pt x="16059" y="1448"/>
                </a:cubicBezTo>
                <a:cubicBezTo>
                  <a:pt x="15612" y="1179"/>
                  <a:pt x="15107" y="1081"/>
                  <a:pt x="14614" y="1081"/>
                </a:cubicBezTo>
                <a:cubicBezTo>
                  <a:pt x="13880" y="1081"/>
                  <a:pt x="13182" y="1301"/>
                  <a:pt x="12753" y="1513"/>
                </a:cubicBezTo>
                <a:cubicBezTo>
                  <a:pt x="12878" y="1781"/>
                  <a:pt x="12997" y="2064"/>
                  <a:pt x="13115" y="2365"/>
                </a:cubicBezTo>
                <a:cubicBezTo>
                  <a:pt x="13131" y="2408"/>
                  <a:pt x="13143" y="2453"/>
                  <a:pt x="13159" y="2496"/>
                </a:cubicBezTo>
                <a:cubicBezTo>
                  <a:pt x="13436" y="2360"/>
                  <a:pt x="13994" y="2159"/>
                  <a:pt x="14614" y="2159"/>
                </a:cubicBezTo>
                <a:cubicBezTo>
                  <a:pt x="15001" y="2159"/>
                  <a:pt x="15328" y="2239"/>
                  <a:pt x="15588" y="2396"/>
                </a:cubicBezTo>
                <a:cubicBezTo>
                  <a:pt x="15893" y="2579"/>
                  <a:pt x="16347" y="2947"/>
                  <a:pt x="16767" y="4018"/>
                </a:cubicBezTo>
                <a:cubicBezTo>
                  <a:pt x="17366" y="5540"/>
                  <a:pt x="17207" y="6853"/>
                  <a:pt x="16784" y="7478"/>
                </a:cubicBezTo>
                <a:cubicBezTo>
                  <a:pt x="16610" y="7736"/>
                  <a:pt x="16549" y="8066"/>
                  <a:pt x="16618" y="8379"/>
                </a:cubicBezTo>
                <a:cubicBezTo>
                  <a:pt x="16817" y="9273"/>
                  <a:pt x="16689" y="9648"/>
                  <a:pt x="16656" y="9723"/>
                </a:cubicBezTo>
                <a:cubicBezTo>
                  <a:pt x="16631" y="9753"/>
                  <a:pt x="16607" y="9785"/>
                  <a:pt x="16584" y="9819"/>
                </a:cubicBezTo>
                <a:cubicBezTo>
                  <a:pt x="16565" y="9848"/>
                  <a:pt x="16497" y="9929"/>
                  <a:pt x="16447" y="9988"/>
                </a:cubicBezTo>
                <a:cubicBezTo>
                  <a:pt x="16023" y="10487"/>
                  <a:pt x="15236" y="11418"/>
                  <a:pt x="15236" y="13290"/>
                </a:cubicBezTo>
                <a:cubicBezTo>
                  <a:pt x="15236" y="15520"/>
                  <a:pt x="16851" y="16555"/>
                  <a:pt x="17757" y="16810"/>
                </a:cubicBezTo>
                <a:cubicBezTo>
                  <a:pt x="19050" y="17306"/>
                  <a:pt x="20311" y="17925"/>
                  <a:pt x="20570" y="19439"/>
                </a:cubicBezTo>
                <a:lnTo>
                  <a:pt x="17464" y="19439"/>
                </a:lnTo>
                <a:cubicBezTo>
                  <a:pt x="17553" y="19773"/>
                  <a:pt x="17615" y="20131"/>
                  <a:pt x="17645" y="20519"/>
                </a:cubicBezTo>
                <a:lnTo>
                  <a:pt x="21152" y="20519"/>
                </a:lnTo>
                <a:cubicBezTo>
                  <a:pt x="21600" y="20519"/>
                  <a:pt x="21600" y="20034"/>
                  <a:pt x="21600" y="20034"/>
                </a:cubicBezTo>
                <a:cubicBezTo>
                  <a:pt x="21600" y="17119"/>
                  <a:pt x="19191" y="16215"/>
                  <a:pt x="18035" y="15773"/>
                </a:cubicBezTo>
              </a:path>
            </a:pathLst>
          </a:custGeom>
          <a:solidFill>
            <a:schemeClr val="bg1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endParaRPr>
              <a:solidFill>
                <a:prstClr val="black"/>
              </a:solidFill>
              <a:latin typeface="Arial" panose="020B0604020202020204" pitchFamily="34" charset="0"/>
              <a:ea typeface="微软雅黑" panose="020B0503020204020204" pitchFamily="34" charset="-122"/>
              <a:cs typeface="思源黑体 CN Regular" panose="020B0500000000000000" charset="-122"/>
              <a:sym typeface="Arial" panose="020B0604020202020204" pitchFamily="34" charset="0"/>
            </a:endParaRPr>
          </a:p>
        </p:txBody>
      </p:sp>
      <p:sp>
        <p:nvSpPr>
          <p:cNvPr id="35" name="TextBox 11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SpPr txBox="1"/>
          <p:nvPr/>
        </p:nvSpPr>
        <p:spPr>
          <a:xfrm>
            <a:off x="280221" y="2351782"/>
            <a:ext cx="298159" cy="107721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7000">
                <a:solidFill>
                  <a:schemeClr val="accent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rPr>
              <a:t>“</a:t>
            </a:r>
          </a:p>
        </p:txBody>
      </p:sp>
      <p:sp>
        <p:nvSpPr>
          <p:cNvPr id="36" name="Rectangle 39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SpPr/>
          <p:nvPr/>
        </p:nvSpPr>
        <p:spPr>
          <a:xfrm>
            <a:off x="662890" y="2616470"/>
            <a:ext cx="2903270" cy="134350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30000"/>
              </a:lnSpc>
            </a:pPr>
            <a:r>
              <a:rPr lang="en-US" b="1"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rPr>
              <a:t>Marketing Business Online Support</a:t>
            </a:r>
          </a:p>
          <a:p>
            <a:pPr>
              <a:lnSpc>
                <a:spcPct val="130000"/>
              </a:lnSpc>
            </a:pPr>
            <a:r>
              <a:rPr lang="en-US" sz="1400"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rPr>
              <a:t>Objectively disintermediate leveraged manufactured products</a:t>
            </a:r>
          </a:p>
        </p:txBody>
      </p:sp>
      <p:sp>
        <p:nvSpPr>
          <p:cNvPr id="37" name="TextBox 5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SpPr txBox="1"/>
          <p:nvPr/>
        </p:nvSpPr>
        <p:spPr>
          <a:xfrm>
            <a:off x="392324" y="1028700"/>
            <a:ext cx="4015951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>
              <a:defRPr sz="4000" b="1" spc="-100">
                <a:solidFill>
                  <a:schemeClr val="tx1">
                    <a:lumMod val="75000"/>
                    <a:lumOff val="25000"/>
                  </a:schemeClr>
                </a:solidFill>
                <a:latin typeface="Felix Titling" panose="04060505060202020A04" pitchFamily="82" charset="0"/>
                <a:ea typeface="Roboto Black" panose="02000000000000000000" pitchFamily="2" charset="0"/>
                <a:cs typeface="Arial" panose="020B0604020202020204" pitchFamily="34" charset="0"/>
              </a:defRPr>
            </a:lvl1pPr>
          </a:lstStyle>
          <a:p>
            <a:r>
              <a:rPr lang="en-US" sz="3200"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Something about</a:t>
            </a:r>
          </a:p>
          <a:p>
            <a:r>
              <a:rPr lang="en-US" sz="3200"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Company portfolio.</a:t>
            </a:r>
          </a:p>
        </p:txBody>
      </p:sp>
      <p:sp>
        <p:nvSpPr>
          <p:cNvPr id="38" name="TextBox 6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SpPr txBox="1"/>
          <p:nvPr/>
        </p:nvSpPr>
        <p:spPr>
          <a:xfrm>
            <a:off x="582932" y="844034"/>
            <a:ext cx="1175899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1200" i="1">
                <a:solidFill>
                  <a:schemeClr val="tx2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rPr>
              <a:t>TEMPLATE 2020</a:t>
            </a:r>
          </a:p>
        </p:txBody>
      </p:sp>
      <p:graphicFrame>
        <p:nvGraphicFramePr>
          <p:cNvPr id="39" name="Chart 11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GraphicFramePr/>
          <p:nvPr/>
        </p:nvGraphicFramePr>
        <p:xfrm>
          <a:off x="372286" y="4541854"/>
          <a:ext cx="3833954" cy="192006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40" name="Прямоугольник 9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SpPr/>
          <p:nvPr/>
        </p:nvSpPr>
        <p:spPr>
          <a:xfrm>
            <a:off x="0" y="0"/>
            <a:ext cx="45719" cy="3429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rial" panose="020B0604020202020204" pitchFamily="34" charset="0"/>
              <a:ea typeface="微软雅黑" panose="020B0503020204020204" pitchFamily="34" charset="-122"/>
              <a:cs typeface="思源黑体 CN Regular" panose="020B0500000000000000" charset="-122"/>
              <a:sym typeface="Arial" panose="020B0604020202020204" pitchFamily="34" charset="0"/>
            </a:endParaRPr>
          </a:p>
        </p:txBody>
      </p:sp>
      <p:sp>
        <p:nvSpPr>
          <p:cNvPr id="6" name="e7d195523061f1c0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 hidden="1"/>
          <p:cNvSpPr txBox="1"/>
          <p:nvPr/>
        </p:nvSpPr>
        <p:spPr>
          <a:xfrm>
            <a:off x="-355600" y="1803400"/>
            <a:ext cx="284693" cy="1016000"/>
          </a:xfrm>
          <a:prstGeom prst="rect">
            <a:avLst/>
          </a:prstGeom>
          <a:noFill/>
        </p:spPr>
        <p:txBody>
          <a:bodyPr vert="wordArtVert" rtlCol="0">
            <a:spAutoFit/>
          </a:bodyPr>
          <a:lstStyle/>
          <a:p>
            <a:r>
              <a:rPr lang="en-US" altLang="zh-CN" sz="100"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rPr>
              <a:t>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</a:t>
            </a:r>
            <a:endParaRPr lang="zh-CN" altLang="en-US" sz="100">
              <a:latin typeface="Arial" panose="020B0604020202020204" pitchFamily="34" charset="0"/>
              <a:ea typeface="微软雅黑" panose="020B0503020204020204" pitchFamily="34" charset="-122"/>
              <a:cs typeface="思源黑体 CN Regular" panose="020B0500000000000000" charset="-122"/>
              <a:sym typeface="Arial" panose="020B0604020202020204" pitchFamily="34" charset="0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random/>
      </p:transition>
    </mc:Choice>
    <mc:Fallback xmlns:p159="http://schemas.microsoft.com/office/powerpoint/2015/09/main" xmlns:p15="http://schemas.microsoft.com/office/powerpoint/2012/main" xmlns:a14="http://schemas.microsoft.com/office/drawing/2010/main" xmlns:wp="http://schemas.openxmlformats.org/drawingml/2006/wordprocessingDrawing" xmlns:w="http://schemas.openxmlformats.org/wordprocessingml/2006/main" xmlns:m="http://schemas.openxmlformats.org/officeDocument/2006/math" xmlns="">
      <p:transition spd="slow">
        <p:random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21" dur="50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7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6" presetClass="entr" presetSubtype="21" dur="5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0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 nodeType="clickPar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6" presetClass="entr" presetSubtype="21" dur="5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5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6" presetClass="entr" presetSubtype="21" dur="5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8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6" presetClass="entr" presetSubtype="21" dur="5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21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6" presetClass="entr" presetSubtype="21" dur="5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24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 nodeType="clickPar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22" presetClass="entr" presetSubtype="2" dur="5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29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 nodeType="clickPar">
                      <p:stCondLst>
                        <p:cond delay="indefinite"/>
                      </p:stCondLst>
                      <p:childTnLst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14" presetClass="entr" presetSubtype="10" dur="50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34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14" presetClass="entr" presetSubtype="10" dur="5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37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14" presetClass="entr" presetSubtype="10" dur="5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40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14" presetClass="entr" presetSubtype="10" dur="5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43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14" presetClass="entr" presetSubtype="10" dur="5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46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7" presetID="14" presetClass="entr" presetSubtype="10" dur="5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49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14" presetClass="entr" presetSubtype="10" dur="5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52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" presetID="14" presetClass="entr" presetSubtype="10" dur="5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55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6" presetID="14" presetClass="entr" presetSubtype="10" dur="5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58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9" presetID="14" presetClass="entr" presetSubtype="10" dur="5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61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2" presetID="14" presetClass="entr" presetSubtype="10" dur="5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64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5" fill="hold" nodeType="clickPar">
                      <p:stCondLst>
                        <p:cond delay="indefinite"/>
                      </p:stCondLst>
                      <p:childTnLst>
                        <p:par>
                          <p:cTn id="66" fill="hold">
                            <p:stCondLst>
                              <p:cond delay="0"/>
                            </p:stCondLst>
                            <p:childTnLst>
                              <p:par>
                                <p:cTn id="67" presetID="22" presetClass="entr" presetSubtype="4" dur="50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69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0" presetID="22" presetClass="entr" presetSubtype="4" dur="5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2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3" presetID="22" presetClass="entr" presetSubtype="4" dur="5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5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6" presetID="22" presetClass="entr" presetSubtype="4" dur="5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8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9" presetID="22" presetClass="entr" presetSubtype="4" dur="5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81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2" presetID="22" presetClass="entr" presetSubtype="4" dur="5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84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5" presetID="22" presetClass="entr" presetSubtype="4" dur="5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8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  <p:bldP spid="11" grpId="0"/>
      <p:bldP spid="12" grpId="0"/>
      <p:bldP spid="13" grpId="0"/>
      <p:bldP spid="14" grpId="0"/>
      <p:bldP spid="15" grpId="0"/>
      <p:bldP spid="16" grpId="0"/>
      <p:bldP spid="5" grpId="0" animBg="1"/>
      <p:bldP spid="18" grpId="0" animBg="1"/>
      <p:bldP spid="19" grpId="0" animBg="1"/>
      <p:bldP spid="20" grpId="0"/>
      <p:bldP spid="22" grpId="0" animBg="1"/>
      <p:bldP spid="23" grpId="0"/>
      <p:bldP spid="24" grpId="0"/>
      <p:bldP spid="25" grpId="0" animBg="1"/>
      <p:bldP spid="30" grpId="0" animBg="1"/>
      <p:bldP spid="31" grpId="0"/>
      <p:bldP spid="33" grpId="0" animBg="1"/>
      <p:bldP spid="35" grpId="0"/>
      <p:bldP spid="36" grpId="0"/>
      <p:bldP spid="37" grpId="0"/>
      <p:bldP spid="38" grpId="0"/>
      <p:bldGraphic spid="39" grpId="0">
        <p:bldAsOne/>
      </p:bldGraphic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Прямоугольник 33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SpPr/>
          <p:nvPr/>
        </p:nvSpPr>
        <p:spPr>
          <a:xfrm>
            <a:off x="4416357" y="458636"/>
            <a:ext cx="3353368" cy="5942164"/>
          </a:xfrm>
          <a:prstGeom prst="rect">
            <a:avLst/>
          </a:prstGeom>
          <a:solidFill>
            <a:schemeClr val="tx1">
              <a:alpha val="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rial" panose="020B0604020202020204" pitchFamily="34" charset="0"/>
              <a:ea typeface="微软雅黑" panose="020B0503020204020204" pitchFamily="34" charset="-122"/>
              <a:cs typeface="思源黑体 CN Regular" panose="020B0500000000000000" charset="-122"/>
              <a:sym typeface="Arial" panose="020B0604020202020204" pitchFamily="34" charset="0"/>
            </a:endParaRPr>
          </a:p>
        </p:txBody>
      </p:sp>
      <p:sp>
        <p:nvSpPr>
          <p:cNvPr id="33" name="Заголовок 32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SpPr>
            <a:spLocks noGrp="1"/>
          </p:cNvSpPr>
          <p:nvPr>
            <p:ph type="title" idx="4294967295"/>
          </p:nvPr>
        </p:nvSpPr>
        <p:spPr>
          <a:xfrm>
            <a:off x="1714500" y="4790208"/>
            <a:ext cx="7242464" cy="1346303"/>
          </a:xfrm>
        </p:spPr>
        <p:txBody>
          <a:bodyPr/>
          <a:lstStyle/>
          <a:p>
            <a:r>
              <a:rPr lang="en-US"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WHO WE ARE</a:t>
            </a:r>
          </a:p>
        </p:txBody>
      </p:sp>
      <p:sp>
        <p:nvSpPr>
          <p:cNvPr id="13" name="Прямоугольник 12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SpPr/>
          <p:nvPr/>
        </p:nvSpPr>
        <p:spPr>
          <a:xfrm>
            <a:off x="0" y="0"/>
            <a:ext cx="45719" cy="3429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rial" panose="020B0604020202020204" pitchFamily="34" charset="0"/>
              <a:ea typeface="微软雅黑" panose="020B0503020204020204" pitchFamily="34" charset="-122"/>
              <a:cs typeface="思源黑体 CN Regular" panose="020B0500000000000000" charset="-122"/>
              <a:sym typeface="Arial" panose="020B0604020202020204" pitchFamily="34" charset="0"/>
            </a:endParaRPr>
          </a:p>
        </p:txBody>
      </p:sp>
      <p:pic>
        <p:nvPicPr>
          <p:cNvPr id="14" name="Picture 2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PicPr>
            <a:picLocks noGrp="1" noChangeAspect="1" noChangeArrowheads="1"/>
          </p:cNvPicPr>
          <p:nvPr>
            <p:ph type="pic" sz="quarter" idx="4294967295"/>
          </p:nvPr>
        </p:nvPicPr>
        <p:blipFill>
          <a:blip r:embed="rId3"/>
          <a:stretch>
            <a:fillRect/>
          </a:stretch>
        </p:blipFill>
        <p:spPr bwMode="auto">
          <a:xfrm>
            <a:off x="1714500" y="1257300"/>
            <a:ext cx="7242175" cy="35321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Rectangle 11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SpPr/>
          <p:nvPr/>
        </p:nvSpPr>
        <p:spPr>
          <a:xfrm>
            <a:off x="9803413" y="2560701"/>
            <a:ext cx="2102075" cy="61215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sz="1200" dirty="0"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rPr>
              <a:t>Click here to add content, content to match the title. . </a:t>
            </a:r>
          </a:p>
        </p:txBody>
      </p:sp>
      <p:sp>
        <p:nvSpPr>
          <p:cNvPr id="16" name="Shape 2502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SpPr/>
          <p:nvPr/>
        </p:nvSpPr>
        <p:spPr>
          <a:xfrm>
            <a:off x="9290434" y="2653382"/>
            <a:ext cx="403345" cy="40331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5709" y="7855"/>
                </a:moveTo>
                <a:cubicBezTo>
                  <a:pt x="16052" y="7855"/>
                  <a:pt x="16376" y="7925"/>
                  <a:pt x="16682" y="8033"/>
                </a:cubicBezTo>
                <a:cubicBezTo>
                  <a:pt x="16684" y="7973"/>
                  <a:pt x="16691" y="7915"/>
                  <a:pt x="16691" y="7855"/>
                </a:cubicBezTo>
                <a:cubicBezTo>
                  <a:pt x="16691" y="5686"/>
                  <a:pt x="14932" y="3927"/>
                  <a:pt x="12764" y="3927"/>
                </a:cubicBezTo>
                <a:cubicBezTo>
                  <a:pt x="11311" y="3927"/>
                  <a:pt x="10045" y="4718"/>
                  <a:pt x="9366" y="5891"/>
                </a:cubicBezTo>
                <a:lnTo>
                  <a:pt x="10309" y="5891"/>
                </a:lnTo>
                <a:cubicBezTo>
                  <a:pt x="10401" y="5891"/>
                  <a:pt x="10481" y="5904"/>
                  <a:pt x="10567" y="5910"/>
                </a:cubicBezTo>
                <a:cubicBezTo>
                  <a:pt x="11107" y="5301"/>
                  <a:pt x="11886" y="4909"/>
                  <a:pt x="12764" y="4909"/>
                </a:cubicBezTo>
                <a:cubicBezTo>
                  <a:pt x="14390" y="4909"/>
                  <a:pt x="15709" y="6228"/>
                  <a:pt x="15709" y="7855"/>
                </a:cubicBezTo>
                <a:moveTo>
                  <a:pt x="11716" y="6199"/>
                </a:moveTo>
                <a:cubicBezTo>
                  <a:pt x="12102" y="6387"/>
                  <a:pt x="12403" y="6637"/>
                  <a:pt x="12649" y="6884"/>
                </a:cubicBezTo>
                <a:cubicBezTo>
                  <a:pt x="12687" y="6880"/>
                  <a:pt x="12724" y="6873"/>
                  <a:pt x="12764" y="6873"/>
                </a:cubicBezTo>
                <a:cubicBezTo>
                  <a:pt x="13306" y="6873"/>
                  <a:pt x="13745" y="7313"/>
                  <a:pt x="13745" y="7855"/>
                </a:cubicBezTo>
                <a:lnTo>
                  <a:pt x="14727" y="7855"/>
                </a:lnTo>
                <a:cubicBezTo>
                  <a:pt x="14727" y="6770"/>
                  <a:pt x="13848" y="5891"/>
                  <a:pt x="12764" y="5891"/>
                </a:cubicBezTo>
                <a:cubicBezTo>
                  <a:pt x="12377" y="5891"/>
                  <a:pt x="12020" y="6006"/>
                  <a:pt x="11716" y="6199"/>
                </a:cubicBezTo>
                <a:moveTo>
                  <a:pt x="19636" y="1964"/>
                </a:moveTo>
                <a:lnTo>
                  <a:pt x="17673" y="1964"/>
                </a:lnTo>
                <a:cubicBezTo>
                  <a:pt x="16200" y="1964"/>
                  <a:pt x="16200" y="0"/>
                  <a:pt x="14236" y="0"/>
                </a:cubicBezTo>
                <a:lnTo>
                  <a:pt x="11291" y="0"/>
                </a:lnTo>
                <a:cubicBezTo>
                  <a:pt x="9327" y="0"/>
                  <a:pt x="9327" y="1964"/>
                  <a:pt x="7855" y="1964"/>
                </a:cubicBezTo>
                <a:lnTo>
                  <a:pt x="5891" y="1964"/>
                </a:lnTo>
                <a:cubicBezTo>
                  <a:pt x="4806" y="1964"/>
                  <a:pt x="3927" y="2843"/>
                  <a:pt x="3927" y="3927"/>
                </a:cubicBezTo>
                <a:lnTo>
                  <a:pt x="3927" y="7855"/>
                </a:lnTo>
                <a:cubicBezTo>
                  <a:pt x="4125" y="7855"/>
                  <a:pt x="4236" y="7769"/>
                  <a:pt x="4627" y="7318"/>
                </a:cubicBezTo>
                <a:cubicBezTo>
                  <a:pt x="4712" y="7220"/>
                  <a:pt x="4807" y="7113"/>
                  <a:pt x="4909" y="7005"/>
                </a:cubicBezTo>
                <a:lnTo>
                  <a:pt x="4909" y="3927"/>
                </a:lnTo>
                <a:cubicBezTo>
                  <a:pt x="4909" y="3386"/>
                  <a:pt x="5349" y="2945"/>
                  <a:pt x="5891" y="2945"/>
                </a:cubicBezTo>
                <a:lnTo>
                  <a:pt x="7855" y="2945"/>
                </a:lnTo>
                <a:cubicBezTo>
                  <a:pt x="9818" y="2945"/>
                  <a:pt x="9818" y="982"/>
                  <a:pt x="11291" y="982"/>
                </a:cubicBezTo>
                <a:lnTo>
                  <a:pt x="12764" y="982"/>
                </a:lnTo>
                <a:lnTo>
                  <a:pt x="14236" y="982"/>
                </a:lnTo>
                <a:cubicBezTo>
                  <a:pt x="15709" y="982"/>
                  <a:pt x="15709" y="2945"/>
                  <a:pt x="17673" y="2945"/>
                </a:cubicBezTo>
                <a:lnTo>
                  <a:pt x="19636" y="2945"/>
                </a:lnTo>
                <a:cubicBezTo>
                  <a:pt x="20178" y="2945"/>
                  <a:pt x="20618" y="3386"/>
                  <a:pt x="20618" y="3927"/>
                </a:cubicBezTo>
                <a:lnTo>
                  <a:pt x="20618" y="12764"/>
                </a:lnTo>
                <a:cubicBezTo>
                  <a:pt x="20618" y="13306"/>
                  <a:pt x="20178" y="13745"/>
                  <a:pt x="19636" y="13745"/>
                </a:cubicBezTo>
                <a:lnTo>
                  <a:pt x="18655" y="13745"/>
                </a:lnTo>
                <a:lnTo>
                  <a:pt x="18655" y="14727"/>
                </a:lnTo>
                <a:lnTo>
                  <a:pt x="19636" y="14727"/>
                </a:lnTo>
                <a:cubicBezTo>
                  <a:pt x="20721" y="14727"/>
                  <a:pt x="21600" y="13849"/>
                  <a:pt x="21600" y="12764"/>
                </a:cubicBezTo>
                <a:lnTo>
                  <a:pt x="21600" y="3927"/>
                </a:lnTo>
                <a:cubicBezTo>
                  <a:pt x="21600" y="2843"/>
                  <a:pt x="20721" y="1964"/>
                  <a:pt x="19636" y="1964"/>
                </a:cubicBezTo>
                <a:moveTo>
                  <a:pt x="16691" y="19636"/>
                </a:moveTo>
                <a:cubicBezTo>
                  <a:pt x="16691" y="20178"/>
                  <a:pt x="16251" y="20618"/>
                  <a:pt x="15709" y="20618"/>
                </a:cubicBezTo>
                <a:lnTo>
                  <a:pt x="1964" y="20618"/>
                </a:lnTo>
                <a:cubicBezTo>
                  <a:pt x="1422" y="20618"/>
                  <a:pt x="982" y="20178"/>
                  <a:pt x="982" y="19636"/>
                </a:cubicBezTo>
                <a:lnTo>
                  <a:pt x="982" y="10800"/>
                </a:lnTo>
                <a:cubicBezTo>
                  <a:pt x="982" y="10258"/>
                  <a:pt x="1422" y="9818"/>
                  <a:pt x="1964" y="9818"/>
                </a:cubicBezTo>
                <a:lnTo>
                  <a:pt x="3927" y="9818"/>
                </a:lnTo>
                <a:cubicBezTo>
                  <a:pt x="5891" y="9818"/>
                  <a:pt x="5891" y="7855"/>
                  <a:pt x="7364" y="7855"/>
                </a:cubicBezTo>
                <a:lnTo>
                  <a:pt x="8836" y="7855"/>
                </a:lnTo>
                <a:lnTo>
                  <a:pt x="10309" y="7855"/>
                </a:lnTo>
                <a:cubicBezTo>
                  <a:pt x="11782" y="7855"/>
                  <a:pt x="11782" y="9818"/>
                  <a:pt x="13745" y="9818"/>
                </a:cubicBezTo>
                <a:lnTo>
                  <a:pt x="15709" y="9818"/>
                </a:lnTo>
                <a:cubicBezTo>
                  <a:pt x="16251" y="9818"/>
                  <a:pt x="16691" y="10258"/>
                  <a:pt x="16691" y="10800"/>
                </a:cubicBezTo>
                <a:cubicBezTo>
                  <a:pt x="16691" y="10800"/>
                  <a:pt x="16691" y="19636"/>
                  <a:pt x="16691" y="19636"/>
                </a:cubicBezTo>
                <a:close/>
                <a:moveTo>
                  <a:pt x="15709" y="8836"/>
                </a:moveTo>
                <a:lnTo>
                  <a:pt x="13745" y="8836"/>
                </a:lnTo>
                <a:cubicBezTo>
                  <a:pt x="12273" y="8836"/>
                  <a:pt x="12273" y="6873"/>
                  <a:pt x="10309" y="6873"/>
                </a:cubicBezTo>
                <a:lnTo>
                  <a:pt x="7364" y="6873"/>
                </a:lnTo>
                <a:cubicBezTo>
                  <a:pt x="5400" y="6873"/>
                  <a:pt x="5400" y="8836"/>
                  <a:pt x="3927" y="8836"/>
                </a:cubicBezTo>
                <a:lnTo>
                  <a:pt x="1964" y="8836"/>
                </a:lnTo>
                <a:cubicBezTo>
                  <a:pt x="879" y="8836"/>
                  <a:pt x="0" y="9716"/>
                  <a:pt x="0" y="10800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5709" y="21600"/>
                </a:lnTo>
                <a:cubicBezTo>
                  <a:pt x="16794" y="21600"/>
                  <a:pt x="17673" y="20721"/>
                  <a:pt x="17673" y="19636"/>
                </a:cubicBezTo>
                <a:lnTo>
                  <a:pt x="17673" y="10800"/>
                </a:lnTo>
                <a:cubicBezTo>
                  <a:pt x="17673" y="9716"/>
                  <a:pt x="16794" y="8836"/>
                  <a:pt x="15709" y="8836"/>
                </a:cubicBezTo>
                <a:moveTo>
                  <a:pt x="19636" y="4909"/>
                </a:moveTo>
                <a:cubicBezTo>
                  <a:pt x="19636" y="4367"/>
                  <a:pt x="19197" y="3927"/>
                  <a:pt x="18655" y="3927"/>
                </a:cubicBezTo>
                <a:cubicBezTo>
                  <a:pt x="18113" y="3927"/>
                  <a:pt x="17673" y="4367"/>
                  <a:pt x="17673" y="4909"/>
                </a:cubicBezTo>
                <a:cubicBezTo>
                  <a:pt x="17673" y="5451"/>
                  <a:pt x="18113" y="5891"/>
                  <a:pt x="18655" y="5891"/>
                </a:cubicBezTo>
                <a:cubicBezTo>
                  <a:pt x="19197" y="5891"/>
                  <a:pt x="19636" y="5451"/>
                  <a:pt x="19636" y="4909"/>
                </a:cubicBezTo>
                <a:moveTo>
                  <a:pt x="19145" y="7364"/>
                </a:moveTo>
                <a:cubicBezTo>
                  <a:pt x="19145" y="7093"/>
                  <a:pt x="18925" y="6873"/>
                  <a:pt x="18655" y="6873"/>
                </a:cubicBezTo>
                <a:cubicBezTo>
                  <a:pt x="18384" y="6873"/>
                  <a:pt x="18164" y="7093"/>
                  <a:pt x="18164" y="7364"/>
                </a:cubicBezTo>
                <a:cubicBezTo>
                  <a:pt x="18164" y="7635"/>
                  <a:pt x="18384" y="7855"/>
                  <a:pt x="18655" y="7855"/>
                </a:cubicBezTo>
                <a:cubicBezTo>
                  <a:pt x="18925" y="7855"/>
                  <a:pt x="19145" y="7635"/>
                  <a:pt x="19145" y="7364"/>
                </a:cubicBezTo>
                <a:moveTo>
                  <a:pt x="8836" y="15709"/>
                </a:moveTo>
                <a:cubicBezTo>
                  <a:pt x="8294" y="15709"/>
                  <a:pt x="7855" y="15269"/>
                  <a:pt x="7855" y="14727"/>
                </a:cubicBezTo>
                <a:cubicBezTo>
                  <a:pt x="7855" y="14186"/>
                  <a:pt x="8294" y="13745"/>
                  <a:pt x="8836" y="13745"/>
                </a:cubicBezTo>
                <a:cubicBezTo>
                  <a:pt x="9378" y="13745"/>
                  <a:pt x="9818" y="14186"/>
                  <a:pt x="9818" y="14727"/>
                </a:cubicBezTo>
                <a:cubicBezTo>
                  <a:pt x="9818" y="15269"/>
                  <a:pt x="9378" y="15709"/>
                  <a:pt x="8836" y="15709"/>
                </a:cubicBezTo>
                <a:moveTo>
                  <a:pt x="8836" y="12764"/>
                </a:moveTo>
                <a:cubicBezTo>
                  <a:pt x="7752" y="12764"/>
                  <a:pt x="6873" y="13643"/>
                  <a:pt x="6873" y="14727"/>
                </a:cubicBezTo>
                <a:cubicBezTo>
                  <a:pt x="6873" y="15812"/>
                  <a:pt x="7752" y="16691"/>
                  <a:pt x="8836" y="16691"/>
                </a:cubicBezTo>
                <a:cubicBezTo>
                  <a:pt x="9921" y="16691"/>
                  <a:pt x="10800" y="15812"/>
                  <a:pt x="10800" y="14727"/>
                </a:cubicBezTo>
                <a:cubicBezTo>
                  <a:pt x="10800" y="13643"/>
                  <a:pt x="9921" y="12764"/>
                  <a:pt x="8836" y="12764"/>
                </a:cubicBezTo>
                <a:moveTo>
                  <a:pt x="14727" y="10800"/>
                </a:moveTo>
                <a:cubicBezTo>
                  <a:pt x="14185" y="10800"/>
                  <a:pt x="13745" y="11240"/>
                  <a:pt x="13745" y="11782"/>
                </a:cubicBezTo>
                <a:cubicBezTo>
                  <a:pt x="13745" y="12325"/>
                  <a:pt x="14185" y="12764"/>
                  <a:pt x="14727" y="12764"/>
                </a:cubicBezTo>
                <a:cubicBezTo>
                  <a:pt x="15269" y="12764"/>
                  <a:pt x="15709" y="12325"/>
                  <a:pt x="15709" y="11782"/>
                </a:cubicBezTo>
                <a:cubicBezTo>
                  <a:pt x="15709" y="11240"/>
                  <a:pt x="15269" y="10800"/>
                  <a:pt x="14727" y="10800"/>
                </a:cubicBezTo>
                <a:moveTo>
                  <a:pt x="14727" y="13745"/>
                </a:moveTo>
                <a:cubicBezTo>
                  <a:pt x="14456" y="13745"/>
                  <a:pt x="14236" y="13966"/>
                  <a:pt x="14236" y="14236"/>
                </a:cubicBezTo>
                <a:cubicBezTo>
                  <a:pt x="14236" y="14508"/>
                  <a:pt x="14456" y="14727"/>
                  <a:pt x="14727" y="14727"/>
                </a:cubicBezTo>
                <a:cubicBezTo>
                  <a:pt x="14998" y="14727"/>
                  <a:pt x="15218" y="14508"/>
                  <a:pt x="15218" y="14236"/>
                </a:cubicBezTo>
                <a:cubicBezTo>
                  <a:pt x="15218" y="13966"/>
                  <a:pt x="14998" y="13745"/>
                  <a:pt x="14727" y="13745"/>
                </a:cubicBezTo>
                <a:moveTo>
                  <a:pt x="8836" y="17673"/>
                </a:moveTo>
                <a:cubicBezTo>
                  <a:pt x="7210" y="17673"/>
                  <a:pt x="5891" y="16354"/>
                  <a:pt x="5891" y="14727"/>
                </a:cubicBezTo>
                <a:cubicBezTo>
                  <a:pt x="5891" y="13101"/>
                  <a:pt x="7210" y="11782"/>
                  <a:pt x="8836" y="11782"/>
                </a:cubicBezTo>
                <a:cubicBezTo>
                  <a:pt x="10463" y="11782"/>
                  <a:pt x="11782" y="13101"/>
                  <a:pt x="11782" y="14727"/>
                </a:cubicBezTo>
                <a:cubicBezTo>
                  <a:pt x="11782" y="16354"/>
                  <a:pt x="10463" y="17673"/>
                  <a:pt x="8836" y="17673"/>
                </a:cubicBezTo>
                <a:moveTo>
                  <a:pt x="8836" y="10800"/>
                </a:moveTo>
                <a:cubicBezTo>
                  <a:pt x="6668" y="10800"/>
                  <a:pt x="4909" y="12558"/>
                  <a:pt x="4909" y="14727"/>
                </a:cubicBezTo>
                <a:cubicBezTo>
                  <a:pt x="4909" y="16897"/>
                  <a:pt x="6668" y="18655"/>
                  <a:pt x="8836" y="18655"/>
                </a:cubicBezTo>
                <a:cubicBezTo>
                  <a:pt x="11005" y="18655"/>
                  <a:pt x="12764" y="16897"/>
                  <a:pt x="12764" y="14727"/>
                </a:cubicBezTo>
                <a:cubicBezTo>
                  <a:pt x="12764" y="12558"/>
                  <a:pt x="11005" y="10800"/>
                  <a:pt x="8836" y="10800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19507" tIns="19507" rIns="19507" bIns="19507" anchor="ctr"/>
          <a:lstStyle/>
          <a:p>
            <a:pPr algn="ctr" defTabSz="234315">
              <a:defRPr sz="3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>
              <a:latin typeface="Arial" panose="020B0604020202020204" pitchFamily="34" charset="0"/>
              <a:ea typeface="微软雅黑" panose="020B0503020204020204" pitchFamily="34" charset="-122"/>
              <a:cs typeface="思源黑体 CN Regular" panose="020B0500000000000000" charset="-122"/>
              <a:sym typeface="Arial" panose="020B0604020202020204" pitchFamily="34" charset="0"/>
            </a:endParaRPr>
          </a:p>
        </p:txBody>
      </p:sp>
      <p:sp>
        <p:nvSpPr>
          <p:cNvPr id="17" name="Shape 2624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SpPr/>
          <p:nvPr/>
        </p:nvSpPr>
        <p:spPr>
          <a:xfrm>
            <a:off x="9290434" y="3956311"/>
            <a:ext cx="403345" cy="40331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5891" y="6873"/>
                </a:moveTo>
                <a:cubicBezTo>
                  <a:pt x="6162" y="6873"/>
                  <a:pt x="6382" y="6653"/>
                  <a:pt x="6382" y="6382"/>
                </a:cubicBezTo>
                <a:lnTo>
                  <a:pt x="6382" y="1473"/>
                </a:lnTo>
                <a:cubicBezTo>
                  <a:pt x="6382" y="1201"/>
                  <a:pt x="6162" y="982"/>
                  <a:pt x="5891" y="982"/>
                </a:cubicBezTo>
                <a:cubicBezTo>
                  <a:pt x="5620" y="982"/>
                  <a:pt x="5400" y="1201"/>
                  <a:pt x="5400" y="1473"/>
                </a:cubicBezTo>
                <a:lnTo>
                  <a:pt x="5400" y="6382"/>
                </a:lnTo>
                <a:cubicBezTo>
                  <a:pt x="5400" y="6653"/>
                  <a:pt x="5620" y="6873"/>
                  <a:pt x="5891" y="6873"/>
                </a:cubicBezTo>
                <a:moveTo>
                  <a:pt x="2945" y="5891"/>
                </a:moveTo>
                <a:cubicBezTo>
                  <a:pt x="3216" y="5891"/>
                  <a:pt x="3436" y="5671"/>
                  <a:pt x="3436" y="5400"/>
                </a:cubicBezTo>
                <a:lnTo>
                  <a:pt x="3436" y="2455"/>
                </a:lnTo>
                <a:cubicBezTo>
                  <a:pt x="3436" y="2183"/>
                  <a:pt x="3216" y="1964"/>
                  <a:pt x="2945" y="1964"/>
                </a:cubicBezTo>
                <a:cubicBezTo>
                  <a:pt x="2675" y="1964"/>
                  <a:pt x="2455" y="2183"/>
                  <a:pt x="2455" y="2455"/>
                </a:cubicBezTo>
                <a:lnTo>
                  <a:pt x="2455" y="5400"/>
                </a:lnTo>
                <a:cubicBezTo>
                  <a:pt x="2455" y="5671"/>
                  <a:pt x="2675" y="5891"/>
                  <a:pt x="2945" y="5891"/>
                </a:cubicBezTo>
                <a:moveTo>
                  <a:pt x="18655" y="15218"/>
                </a:moveTo>
                <a:lnTo>
                  <a:pt x="17648" y="15218"/>
                </a:lnTo>
                <a:cubicBezTo>
                  <a:pt x="17660" y="15056"/>
                  <a:pt x="17673" y="14893"/>
                  <a:pt x="17673" y="14727"/>
                </a:cubicBezTo>
                <a:lnTo>
                  <a:pt x="17673" y="11291"/>
                </a:lnTo>
                <a:lnTo>
                  <a:pt x="18655" y="11291"/>
                </a:lnTo>
                <a:cubicBezTo>
                  <a:pt x="19739" y="11291"/>
                  <a:pt x="20618" y="12170"/>
                  <a:pt x="20618" y="13255"/>
                </a:cubicBezTo>
                <a:cubicBezTo>
                  <a:pt x="20618" y="14339"/>
                  <a:pt x="19739" y="15218"/>
                  <a:pt x="18655" y="15218"/>
                </a:cubicBezTo>
                <a:moveTo>
                  <a:pt x="16691" y="14727"/>
                </a:moveTo>
                <a:cubicBezTo>
                  <a:pt x="16691" y="15802"/>
                  <a:pt x="16399" y="16805"/>
                  <a:pt x="15896" y="17673"/>
                </a:cubicBezTo>
                <a:lnTo>
                  <a:pt x="1777" y="17673"/>
                </a:lnTo>
                <a:cubicBezTo>
                  <a:pt x="1274" y="16805"/>
                  <a:pt x="982" y="15802"/>
                  <a:pt x="982" y="14727"/>
                </a:cubicBezTo>
                <a:lnTo>
                  <a:pt x="982" y="8836"/>
                </a:lnTo>
                <a:lnTo>
                  <a:pt x="16691" y="8836"/>
                </a:lnTo>
                <a:cubicBezTo>
                  <a:pt x="16691" y="8836"/>
                  <a:pt x="16691" y="14727"/>
                  <a:pt x="16691" y="14727"/>
                </a:cubicBezTo>
                <a:close/>
                <a:moveTo>
                  <a:pt x="10800" y="20618"/>
                </a:moveTo>
                <a:lnTo>
                  <a:pt x="6873" y="20618"/>
                </a:lnTo>
                <a:cubicBezTo>
                  <a:pt x="5131" y="20618"/>
                  <a:pt x="3569" y="19857"/>
                  <a:pt x="2491" y="18655"/>
                </a:cubicBezTo>
                <a:lnTo>
                  <a:pt x="15182" y="18655"/>
                </a:lnTo>
                <a:cubicBezTo>
                  <a:pt x="14103" y="19857"/>
                  <a:pt x="12542" y="20618"/>
                  <a:pt x="10800" y="20618"/>
                </a:cubicBezTo>
                <a:moveTo>
                  <a:pt x="18655" y="10309"/>
                </a:moveTo>
                <a:lnTo>
                  <a:pt x="17673" y="10309"/>
                </a:lnTo>
                <a:lnTo>
                  <a:pt x="17673" y="8836"/>
                </a:lnTo>
                <a:cubicBezTo>
                  <a:pt x="17673" y="8295"/>
                  <a:pt x="17233" y="7855"/>
                  <a:pt x="16691" y="7855"/>
                </a:cubicBezTo>
                <a:lnTo>
                  <a:pt x="982" y="7855"/>
                </a:lnTo>
                <a:cubicBezTo>
                  <a:pt x="440" y="7855"/>
                  <a:pt x="0" y="8295"/>
                  <a:pt x="0" y="8836"/>
                </a:cubicBezTo>
                <a:lnTo>
                  <a:pt x="0" y="14727"/>
                </a:lnTo>
                <a:cubicBezTo>
                  <a:pt x="0" y="17232"/>
                  <a:pt x="1344" y="19417"/>
                  <a:pt x="3346" y="20618"/>
                </a:cubicBezTo>
                <a:lnTo>
                  <a:pt x="491" y="20618"/>
                </a:lnTo>
                <a:cubicBezTo>
                  <a:pt x="220" y="20618"/>
                  <a:pt x="0" y="20838"/>
                  <a:pt x="0" y="21109"/>
                </a:cubicBezTo>
                <a:cubicBezTo>
                  <a:pt x="0" y="21380"/>
                  <a:pt x="220" y="21600"/>
                  <a:pt x="491" y="21600"/>
                </a:cubicBezTo>
                <a:lnTo>
                  <a:pt x="17182" y="21600"/>
                </a:lnTo>
                <a:cubicBezTo>
                  <a:pt x="17453" y="21600"/>
                  <a:pt x="17673" y="21380"/>
                  <a:pt x="17673" y="21109"/>
                </a:cubicBezTo>
                <a:cubicBezTo>
                  <a:pt x="17673" y="20838"/>
                  <a:pt x="17453" y="20618"/>
                  <a:pt x="17182" y="20618"/>
                </a:cubicBezTo>
                <a:lnTo>
                  <a:pt x="14330" y="20618"/>
                </a:lnTo>
                <a:cubicBezTo>
                  <a:pt x="15925" y="19659"/>
                  <a:pt x="17101" y="18074"/>
                  <a:pt x="17511" y="16200"/>
                </a:cubicBezTo>
                <a:lnTo>
                  <a:pt x="18655" y="16200"/>
                </a:lnTo>
                <a:cubicBezTo>
                  <a:pt x="20281" y="16200"/>
                  <a:pt x="21600" y="14882"/>
                  <a:pt x="21600" y="13255"/>
                </a:cubicBezTo>
                <a:cubicBezTo>
                  <a:pt x="21600" y="11628"/>
                  <a:pt x="20281" y="10309"/>
                  <a:pt x="18655" y="10309"/>
                </a:cubicBezTo>
                <a:moveTo>
                  <a:pt x="11782" y="5891"/>
                </a:moveTo>
                <a:cubicBezTo>
                  <a:pt x="12053" y="5891"/>
                  <a:pt x="12273" y="5671"/>
                  <a:pt x="12273" y="5400"/>
                </a:cubicBezTo>
                <a:lnTo>
                  <a:pt x="12273" y="2455"/>
                </a:lnTo>
                <a:cubicBezTo>
                  <a:pt x="12273" y="2183"/>
                  <a:pt x="12053" y="1964"/>
                  <a:pt x="11782" y="1964"/>
                </a:cubicBezTo>
                <a:cubicBezTo>
                  <a:pt x="11511" y="1964"/>
                  <a:pt x="11291" y="2183"/>
                  <a:pt x="11291" y="2455"/>
                </a:cubicBezTo>
                <a:lnTo>
                  <a:pt x="11291" y="5400"/>
                </a:lnTo>
                <a:cubicBezTo>
                  <a:pt x="11291" y="5671"/>
                  <a:pt x="11511" y="5891"/>
                  <a:pt x="11782" y="5891"/>
                </a:cubicBezTo>
                <a:moveTo>
                  <a:pt x="14727" y="6873"/>
                </a:moveTo>
                <a:cubicBezTo>
                  <a:pt x="14998" y="6873"/>
                  <a:pt x="15218" y="6653"/>
                  <a:pt x="15218" y="6382"/>
                </a:cubicBezTo>
                <a:lnTo>
                  <a:pt x="15218" y="1473"/>
                </a:lnTo>
                <a:cubicBezTo>
                  <a:pt x="15218" y="1201"/>
                  <a:pt x="14998" y="982"/>
                  <a:pt x="14727" y="982"/>
                </a:cubicBezTo>
                <a:cubicBezTo>
                  <a:pt x="14456" y="982"/>
                  <a:pt x="14236" y="1201"/>
                  <a:pt x="14236" y="1473"/>
                </a:cubicBezTo>
                <a:lnTo>
                  <a:pt x="14236" y="6382"/>
                </a:lnTo>
                <a:cubicBezTo>
                  <a:pt x="14236" y="6653"/>
                  <a:pt x="14456" y="6873"/>
                  <a:pt x="14727" y="6873"/>
                </a:cubicBezTo>
                <a:moveTo>
                  <a:pt x="8836" y="5891"/>
                </a:moveTo>
                <a:cubicBezTo>
                  <a:pt x="9107" y="5891"/>
                  <a:pt x="9327" y="5671"/>
                  <a:pt x="9327" y="5400"/>
                </a:cubicBezTo>
                <a:lnTo>
                  <a:pt x="9327" y="491"/>
                </a:lnTo>
                <a:cubicBezTo>
                  <a:pt x="9327" y="220"/>
                  <a:pt x="9107" y="0"/>
                  <a:pt x="8836" y="0"/>
                </a:cubicBezTo>
                <a:cubicBezTo>
                  <a:pt x="8566" y="0"/>
                  <a:pt x="8345" y="220"/>
                  <a:pt x="8345" y="491"/>
                </a:cubicBezTo>
                <a:lnTo>
                  <a:pt x="8345" y="5400"/>
                </a:lnTo>
                <a:cubicBezTo>
                  <a:pt x="8345" y="5671"/>
                  <a:pt x="8566" y="5891"/>
                  <a:pt x="8836" y="5891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19507" tIns="19507" rIns="19507" bIns="19507" anchor="ctr"/>
          <a:lstStyle/>
          <a:p>
            <a:pPr algn="ctr" defTabSz="234315">
              <a:defRPr sz="3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>
              <a:latin typeface="Arial" panose="020B0604020202020204" pitchFamily="34" charset="0"/>
              <a:ea typeface="微软雅黑" panose="020B0503020204020204" pitchFamily="34" charset="-122"/>
              <a:cs typeface="思源黑体 CN Regular" panose="020B0500000000000000" charset="-122"/>
              <a:sym typeface="Arial" panose="020B0604020202020204" pitchFamily="34" charset="0"/>
            </a:endParaRPr>
          </a:p>
        </p:txBody>
      </p:sp>
      <p:sp>
        <p:nvSpPr>
          <p:cNvPr id="18" name="Rectangle 14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SpPr/>
          <p:nvPr/>
        </p:nvSpPr>
        <p:spPr>
          <a:xfrm>
            <a:off x="9803413" y="3824206"/>
            <a:ext cx="2102075" cy="61215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sz="1200" dirty="0"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rPr>
              <a:t>Click here to add content, content to match the title. </a:t>
            </a:r>
          </a:p>
        </p:txBody>
      </p:sp>
      <p:sp>
        <p:nvSpPr>
          <p:cNvPr id="19" name="Shape 2627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SpPr/>
          <p:nvPr/>
        </p:nvSpPr>
        <p:spPr>
          <a:xfrm>
            <a:off x="9290434" y="5203773"/>
            <a:ext cx="403345" cy="40331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353" y="11229"/>
                </a:moveTo>
                <a:lnTo>
                  <a:pt x="20356" y="11234"/>
                </a:lnTo>
                <a:lnTo>
                  <a:pt x="11029" y="16143"/>
                </a:lnTo>
                <a:lnTo>
                  <a:pt x="11026" y="16138"/>
                </a:lnTo>
                <a:cubicBezTo>
                  <a:pt x="10957" y="16174"/>
                  <a:pt x="10883" y="16200"/>
                  <a:pt x="10800" y="16200"/>
                </a:cubicBezTo>
                <a:cubicBezTo>
                  <a:pt x="10717" y="16200"/>
                  <a:pt x="10643" y="16174"/>
                  <a:pt x="10574" y="16138"/>
                </a:cubicBezTo>
                <a:lnTo>
                  <a:pt x="10571" y="16143"/>
                </a:lnTo>
                <a:lnTo>
                  <a:pt x="1244" y="11234"/>
                </a:lnTo>
                <a:lnTo>
                  <a:pt x="1247" y="11229"/>
                </a:lnTo>
                <a:cubicBezTo>
                  <a:pt x="1091" y="11147"/>
                  <a:pt x="982" y="10988"/>
                  <a:pt x="982" y="10800"/>
                </a:cubicBezTo>
                <a:cubicBezTo>
                  <a:pt x="982" y="10612"/>
                  <a:pt x="1091" y="10453"/>
                  <a:pt x="1247" y="10371"/>
                </a:cubicBezTo>
                <a:lnTo>
                  <a:pt x="1244" y="10366"/>
                </a:lnTo>
                <a:lnTo>
                  <a:pt x="3562" y="9146"/>
                </a:lnTo>
                <a:lnTo>
                  <a:pt x="10113" y="12594"/>
                </a:lnTo>
                <a:lnTo>
                  <a:pt x="10117" y="12588"/>
                </a:lnTo>
                <a:cubicBezTo>
                  <a:pt x="10322" y="12697"/>
                  <a:pt x="10552" y="12764"/>
                  <a:pt x="10800" y="12764"/>
                </a:cubicBezTo>
                <a:cubicBezTo>
                  <a:pt x="11048" y="12764"/>
                  <a:pt x="11278" y="12697"/>
                  <a:pt x="11483" y="12588"/>
                </a:cubicBezTo>
                <a:lnTo>
                  <a:pt x="11486" y="12594"/>
                </a:lnTo>
                <a:lnTo>
                  <a:pt x="18038" y="9146"/>
                </a:lnTo>
                <a:lnTo>
                  <a:pt x="20356" y="10366"/>
                </a:lnTo>
                <a:lnTo>
                  <a:pt x="20353" y="10371"/>
                </a:lnTo>
                <a:cubicBezTo>
                  <a:pt x="20509" y="10453"/>
                  <a:pt x="20618" y="10612"/>
                  <a:pt x="20618" y="10800"/>
                </a:cubicBezTo>
                <a:cubicBezTo>
                  <a:pt x="20618" y="10988"/>
                  <a:pt x="20509" y="11147"/>
                  <a:pt x="20353" y="11229"/>
                </a:cubicBezTo>
                <a:moveTo>
                  <a:pt x="20356" y="14784"/>
                </a:moveTo>
                <a:lnTo>
                  <a:pt x="20353" y="14790"/>
                </a:lnTo>
                <a:cubicBezTo>
                  <a:pt x="20509" y="14872"/>
                  <a:pt x="20618" y="15030"/>
                  <a:pt x="20618" y="15218"/>
                </a:cubicBezTo>
                <a:cubicBezTo>
                  <a:pt x="20618" y="15407"/>
                  <a:pt x="20509" y="15565"/>
                  <a:pt x="20353" y="15647"/>
                </a:cubicBezTo>
                <a:lnTo>
                  <a:pt x="20356" y="15653"/>
                </a:lnTo>
                <a:lnTo>
                  <a:pt x="11029" y="20562"/>
                </a:lnTo>
                <a:lnTo>
                  <a:pt x="11026" y="20556"/>
                </a:lnTo>
                <a:cubicBezTo>
                  <a:pt x="10957" y="20592"/>
                  <a:pt x="10883" y="20618"/>
                  <a:pt x="10800" y="20618"/>
                </a:cubicBezTo>
                <a:cubicBezTo>
                  <a:pt x="10717" y="20618"/>
                  <a:pt x="10643" y="20592"/>
                  <a:pt x="10574" y="20556"/>
                </a:cubicBezTo>
                <a:lnTo>
                  <a:pt x="10571" y="20562"/>
                </a:lnTo>
                <a:lnTo>
                  <a:pt x="1244" y="15653"/>
                </a:lnTo>
                <a:lnTo>
                  <a:pt x="1247" y="15647"/>
                </a:lnTo>
                <a:cubicBezTo>
                  <a:pt x="1091" y="15565"/>
                  <a:pt x="982" y="15407"/>
                  <a:pt x="982" y="15218"/>
                </a:cubicBezTo>
                <a:cubicBezTo>
                  <a:pt x="982" y="15030"/>
                  <a:pt x="1091" y="14872"/>
                  <a:pt x="1247" y="14790"/>
                </a:cubicBezTo>
                <a:lnTo>
                  <a:pt x="1244" y="14784"/>
                </a:lnTo>
                <a:lnTo>
                  <a:pt x="3562" y="13564"/>
                </a:lnTo>
                <a:lnTo>
                  <a:pt x="10113" y="17012"/>
                </a:lnTo>
                <a:lnTo>
                  <a:pt x="10117" y="17006"/>
                </a:lnTo>
                <a:cubicBezTo>
                  <a:pt x="10322" y="17115"/>
                  <a:pt x="10552" y="17182"/>
                  <a:pt x="10800" y="17182"/>
                </a:cubicBezTo>
                <a:cubicBezTo>
                  <a:pt x="11048" y="17182"/>
                  <a:pt x="11278" y="17115"/>
                  <a:pt x="11483" y="17006"/>
                </a:cubicBezTo>
                <a:lnTo>
                  <a:pt x="11486" y="17012"/>
                </a:lnTo>
                <a:lnTo>
                  <a:pt x="18038" y="13564"/>
                </a:lnTo>
                <a:cubicBezTo>
                  <a:pt x="18038" y="13564"/>
                  <a:pt x="20356" y="14784"/>
                  <a:pt x="20356" y="14784"/>
                </a:cubicBezTo>
                <a:close/>
                <a:moveTo>
                  <a:pt x="1244" y="6816"/>
                </a:moveTo>
                <a:lnTo>
                  <a:pt x="1247" y="6811"/>
                </a:lnTo>
                <a:cubicBezTo>
                  <a:pt x="1091" y="6728"/>
                  <a:pt x="982" y="6570"/>
                  <a:pt x="982" y="6382"/>
                </a:cubicBezTo>
                <a:cubicBezTo>
                  <a:pt x="982" y="6194"/>
                  <a:pt x="1091" y="6035"/>
                  <a:pt x="1247" y="5953"/>
                </a:cubicBezTo>
                <a:lnTo>
                  <a:pt x="1244" y="5947"/>
                </a:lnTo>
                <a:lnTo>
                  <a:pt x="10571" y="1038"/>
                </a:lnTo>
                <a:lnTo>
                  <a:pt x="10574" y="1044"/>
                </a:lnTo>
                <a:cubicBezTo>
                  <a:pt x="10643" y="1008"/>
                  <a:pt x="10717" y="982"/>
                  <a:pt x="10800" y="982"/>
                </a:cubicBezTo>
                <a:cubicBezTo>
                  <a:pt x="10883" y="982"/>
                  <a:pt x="10957" y="1008"/>
                  <a:pt x="11026" y="1044"/>
                </a:cubicBezTo>
                <a:lnTo>
                  <a:pt x="11029" y="1038"/>
                </a:lnTo>
                <a:lnTo>
                  <a:pt x="20356" y="5947"/>
                </a:lnTo>
                <a:lnTo>
                  <a:pt x="20353" y="5953"/>
                </a:lnTo>
                <a:cubicBezTo>
                  <a:pt x="20509" y="6035"/>
                  <a:pt x="20618" y="6194"/>
                  <a:pt x="20618" y="6382"/>
                </a:cubicBezTo>
                <a:cubicBezTo>
                  <a:pt x="20618" y="6570"/>
                  <a:pt x="20509" y="6728"/>
                  <a:pt x="20353" y="6811"/>
                </a:cubicBezTo>
                <a:lnTo>
                  <a:pt x="20356" y="6816"/>
                </a:lnTo>
                <a:lnTo>
                  <a:pt x="11029" y="11725"/>
                </a:lnTo>
                <a:lnTo>
                  <a:pt x="11026" y="11720"/>
                </a:lnTo>
                <a:cubicBezTo>
                  <a:pt x="10957" y="11756"/>
                  <a:pt x="10883" y="11782"/>
                  <a:pt x="10800" y="11782"/>
                </a:cubicBezTo>
                <a:cubicBezTo>
                  <a:pt x="10717" y="11782"/>
                  <a:pt x="10643" y="11756"/>
                  <a:pt x="10574" y="11720"/>
                </a:cubicBezTo>
                <a:lnTo>
                  <a:pt x="10571" y="11725"/>
                </a:lnTo>
                <a:cubicBezTo>
                  <a:pt x="10571" y="11725"/>
                  <a:pt x="1244" y="6816"/>
                  <a:pt x="1244" y="6816"/>
                </a:cubicBezTo>
                <a:close/>
                <a:moveTo>
                  <a:pt x="21600" y="10800"/>
                </a:moveTo>
                <a:cubicBezTo>
                  <a:pt x="21600" y="10234"/>
                  <a:pt x="21278" y="9749"/>
                  <a:pt x="20810" y="9503"/>
                </a:cubicBezTo>
                <a:lnTo>
                  <a:pt x="20813" y="9497"/>
                </a:lnTo>
                <a:lnTo>
                  <a:pt x="19092" y="8591"/>
                </a:lnTo>
                <a:lnTo>
                  <a:pt x="20813" y="7685"/>
                </a:lnTo>
                <a:lnTo>
                  <a:pt x="20810" y="7679"/>
                </a:lnTo>
                <a:cubicBezTo>
                  <a:pt x="21278" y="7433"/>
                  <a:pt x="21600" y="6948"/>
                  <a:pt x="21600" y="6382"/>
                </a:cubicBezTo>
                <a:cubicBezTo>
                  <a:pt x="21600" y="5816"/>
                  <a:pt x="21278" y="5331"/>
                  <a:pt x="20810" y="5085"/>
                </a:cubicBezTo>
                <a:lnTo>
                  <a:pt x="20813" y="5079"/>
                </a:lnTo>
                <a:lnTo>
                  <a:pt x="11486" y="170"/>
                </a:lnTo>
                <a:lnTo>
                  <a:pt x="11483" y="175"/>
                </a:lnTo>
                <a:cubicBezTo>
                  <a:pt x="11278" y="67"/>
                  <a:pt x="11048" y="0"/>
                  <a:pt x="10800" y="0"/>
                </a:cubicBezTo>
                <a:cubicBezTo>
                  <a:pt x="10552" y="0"/>
                  <a:pt x="10322" y="67"/>
                  <a:pt x="10117" y="175"/>
                </a:cubicBezTo>
                <a:lnTo>
                  <a:pt x="10113" y="170"/>
                </a:lnTo>
                <a:lnTo>
                  <a:pt x="786" y="5079"/>
                </a:lnTo>
                <a:lnTo>
                  <a:pt x="790" y="5085"/>
                </a:lnTo>
                <a:cubicBezTo>
                  <a:pt x="322" y="5331"/>
                  <a:pt x="0" y="5816"/>
                  <a:pt x="0" y="6382"/>
                </a:cubicBezTo>
                <a:cubicBezTo>
                  <a:pt x="0" y="6948"/>
                  <a:pt x="322" y="7433"/>
                  <a:pt x="790" y="7679"/>
                </a:cubicBezTo>
                <a:lnTo>
                  <a:pt x="786" y="7685"/>
                </a:lnTo>
                <a:lnTo>
                  <a:pt x="2508" y="8591"/>
                </a:lnTo>
                <a:lnTo>
                  <a:pt x="786" y="9497"/>
                </a:lnTo>
                <a:lnTo>
                  <a:pt x="790" y="9503"/>
                </a:lnTo>
                <a:cubicBezTo>
                  <a:pt x="322" y="9749"/>
                  <a:pt x="0" y="10234"/>
                  <a:pt x="0" y="10800"/>
                </a:cubicBezTo>
                <a:cubicBezTo>
                  <a:pt x="0" y="11366"/>
                  <a:pt x="322" y="11851"/>
                  <a:pt x="790" y="12097"/>
                </a:cubicBezTo>
                <a:lnTo>
                  <a:pt x="786" y="12103"/>
                </a:lnTo>
                <a:lnTo>
                  <a:pt x="2508" y="13009"/>
                </a:lnTo>
                <a:lnTo>
                  <a:pt x="786" y="13915"/>
                </a:lnTo>
                <a:lnTo>
                  <a:pt x="790" y="13921"/>
                </a:lnTo>
                <a:cubicBezTo>
                  <a:pt x="322" y="14167"/>
                  <a:pt x="0" y="14652"/>
                  <a:pt x="0" y="15218"/>
                </a:cubicBezTo>
                <a:cubicBezTo>
                  <a:pt x="0" y="15784"/>
                  <a:pt x="322" y="16269"/>
                  <a:pt x="790" y="16515"/>
                </a:cubicBezTo>
                <a:lnTo>
                  <a:pt x="786" y="16521"/>
                </a:lnTo>
                <a:lnTo>
                  <a:pt x="10113" y="21430"/>
                </a:lnTo>
                <a:lnTo>
                  <a:pt x="10117" y="21425"/>
                </a:lnTo>
                <a:cubicBezTo>
                  <a:pt x="10322" y="21533"/>
                  <a:pt x="10552" y="21600"/>
                  <a:pt x="10800" y="21600"/>
                </a:cubicBezTo>
                <a:cubicBezTo>
                  <a:pt x="11048" y="21600"/>
                  <a:pt x="11278" y="21533"/>
                  <a:pt x="11483" y="21425"/>
                </a:cubicBezTo>
                <a:lnTo>
                  <a:pt x="11486" y="21430"/>
                </a:lnTo>
                <a:lnTo>
                  <a:pt x="20813" y="16521"/>
                </a:lnTo>
                <a:lnTo>
                  <a:pt x="20810" y="16515"/>
                </a:lnTo>
                <a:cubicBezTo>
                  <a:pt x="21278" y="16269"/>
                  <a:pt x="21600" y="15784"/>
                  <a:pt x="21600" y="15218"/>
                </a:cubicBezTo>
                <a:cubicBezTo>
                  <a:pt x="21600" y="14652"/>
                  <a:pt x="21278" y="14167"/>
                  <a:pt x="20810" y="13921"/>
                </a:cubicBezTo>
                <a:lnTo>
                  <a:pt x="20813" y="13915"/>
                </a:lnTo>
                <a:lnTo>
                  <a:pt x="19092" y="13009"/>
                </a:lnTo>
                <a:lnTo>
                  <a:pt x="20813" y="12103"/>
                </a:lnTo>
                <a:lnTo>
                  <a:pt x="20810" y="12097"/>
                </a:lnTo>
                <a:cubicBezTo>
                  <a:pt x="21278" y="11851"/>
                  <a:pt x="21600" y="11366"/>
                  <a:pt x="21600" y="10800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19507" tIns="19507" rIns="19507" bIns="19507" anchor="ctr"/>
          <a:lstStyle/>
          <a:p>
            <a:pPr algn="ctr" defTabSz="234315">
              <a:defRPr sz="3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>
              <a:latin typeface="Arial" panose="020B0604020202020204" pitchFamily="34" charset="0"/>
              <a:ea typeface="微软雅黑" panose="020B0503020204020204" pitchFamily="34" charset="-122"/>
              <a:cs typeface="思源黑体 CN Regular" panose="020B0500000000000000" charset="-122"/>
              <a:sym typeface="Arial" panose="020B0604020202020204" pitchFamily="34" charset="0"/>
            </a:endParaRPr>
          </a:p>
        </p:txBody>
      </p:sp>
      <p:sp>
        <p:nvSpPr>
          <p:cNvPr id="20" name="Rectangle 16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SpPr/>
          <p:nvPr/>
        </p:nvSpPr>
        <p:spPr>
          <a:xfrm>
            <a:off x="9803413" y="5080207"/>
            <a:ext cx="2102075" cy="61215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sz="1200" dirty="0"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rPr>
              <a:t>Click here to add content, content to match the title. . </a:t>
            </a:r>
          </a:p>
        </p:txBody>
      </p:sp>
      <p:sp>
        <p:nvSpPr>
          <p:cNvPr id="21" name="Shape 2592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SpPr/>
          <p:nvPr/>
        </p:nvSpPr>
        <p:spPr>
          <a:xfrm>
            <a:off x="9387198" y="1462118"/>
            <a:ext cx="256674" cy="40331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057" y="2884"/>
                </a:moveTo>
                <a:cubicBezTo>
                  <a:pt x="19862" y="3005"/>
                  <a:pt x="15661" y="5580"/>
                  <a:pt x="11606" y="4718"/>
                </a:cubicBezTo>
                <a:cubicBezTo>
                  <a:pt x="9681" y="4310"/>
                  <a:pt x="8390" y="3899"/>
                  <a:pt x="7251" y="3535"/>
                </a:cubicBezTo>
                <a:cubicBezTo>
                  <a:pt x="5426" y="2953"/>
                  <a:pt x="4042" y="2513"/>
                  <a:pt x="1543" y="2647"/>
                </a:cubicBezTo>
                <a:lnTo>
                  <a:pt x="1543" y="982"/>
                </a:lnTo>
                <a:lnTo>
                  <a:pt x="20057" y="982"/>
                </a:lnTo>
                <a:cubicBezTo>
                  <a:pt x="20057" y="982"/>
                  <a:pt x="20057" y="2884"/>
                  <a:pt x="20057" y="2884"/>
                </a:cubicBezTo>
                <a:close/>
                <a:moveTo>
                  <a:pt x="20057" y="5891"/>
                </a:moveTo>
                <a:cubicBezTo>
                  <a:pt x="20057" y="9144"/>
                  <a:pt x="15912" y="11782"/>
                  <a:pt x="10800" y="11782"/>
                </a:cubicBezTo>
                <a:cubicBezTo>
                  <a:pt x="5688" y="11782"/>
                  <a:pt x="1543" y="9144"/>
                  <a:pt x="1543" y="5891"/>
                </a:cubicBezTo>
                <a:lnTo>
                  <a:pt x="1543" y="3634"/>
                </a:lnTo>
                <a:cubicBezTo>
                  <a:pt x="3681" y="3500"/>
                  <a:pt x="4767" y="3841"/>
                  <a:pt x="6560" y="4413"/>
                </a:cubicBezTo>
                <a:cubicBezTo>
                  <a:pt x="7686" y="4772"/>
                  <a:pt x="9088" y="5219"/>
                  <a:pt x="11118" y="5650"/>
                </a:cubicBezTo>
                <a:cubicBezTo>
                  <a:pt x="11869" y="5809"/>
                  <a:pt x="12616" y="5877"/>
                  <a:pt x="13343" y="5877"/>
                </a:cubicBezTo>
                <a:cubicBezTo>
                  <a:pt x="16154" y="5877"/>
                  <a:pt x="18675" y="4862"/>
                  <a:pt x="20057" y="4176"/>
                </a:cubicBezTo>
                <a:cubicBezTo>
                  <a:pt x="20057" y="4176"/>
                  <a:pt x="20057" y="5891"/>
                  <a:pt x="20057" y="5891"/>
                </a:cubicBezTo>
                <a:close/>
                <a:moveTo>
                  <a:pt x="20829" y="0"/>
                </a:moveTo>
                <a:lnTo>
                  <a:pt x="771" y="0"/>
                </a:lnTo>
                <a:cubicBezTo>
                  <a:pt x="346" y="0"/>
                  <a:pt x="0" y="220"/>
                  <a:pt x="0" y="491"/>
                </a:cubicBezTo>
                <a:lnTo>
                  <a:pt x="0" y="5891"/>
                </a:lnTo>
                <a:cubicBezTo>
                  <a:pt x="0" y="9521"/>
                  <a:pt x="4426" y="12486"/>
                  <a:pt x="10029" y="12739"/>
                </a:cubicBezTo>
                <a:lnTo>
                  <a:pt x="10029" y="20618"/>
                </a:lnTo>
                <a:lnTo>
                  <a:pt x="3857" y="20618"/>
                </a:lnTo>
                <a:cubicBezTo>
                  <a:pt x="3432" y="20618"/>
                  <a:pt x="3086" y="20838"/>
                  <a:pt x="3086" y="21109"/>
                </a:cubicBezTo>
                <a:cubicBezTo>
                  <a:pt x="3086" y="21380"/>
                  <a:pt x="3432" y="21600"/>
                  <a:pt x="3857" y="21600"/>
                </a:cubicBezTo>
                <a:lnTo>
                  <a:pt x="17743" y="21600"/>
                </a:lnTo>
                <a:cubicBezTo>
                  <a:pt x="18168" y="21600"/>
                  <a:pt x="18514" y="21380"/>
                  <a:pt x="18514" y="21109"/>
                </a:cubicBezTo>
                <a:cubicBezTo>
                  <a:pt x="18514" y="20838"/>
                  <a:pt x="18168" y="20618"/>
                  <a:pt x="17743" y="20618"/>
                </a:cubicBezTo>
                <a:lnTo>
                  <a:pt x="11571" y="20618"/>
                </a:lnTo>
                <a:lnTo>
                  <a:pt x="11571" y="12739"/>
                </a:lnTo>
                <a:cubicBezTo>
                  <a:pt x="17174" y="12486"/>
                  <a:pt x="21600" y="9521"/>
                  <a:pt x="21600" y="5891"/>
                </a:cubicBezTo>
                <a:lnTo>
                  <a:pt x="21600" y="491"/>
                </a:lnTo>
                <a:cubicBezTo>
                  <a:pt x="21600" y="220"/>
                  <a:pt x="21254" y="0"/>
                  <a:pt x="20829" y="0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19507" tIns="19507" rIns="19507" bIns="19507" anchor="ctr"/>
          <a:lstStyle/>
          <a:p>
            <a:pPr algn="ctr" defTabSz="234315">
              <a:defRPr sz="3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>
              <a:latin typeface="Arial" panose="020B0604020202020204" pitchFamily="34" charset="0"/>
              <a:ea typeface="微软雅黑" panose="020B0503020204020204" pitchFamily="34" charset="-122"/>
              <a:cs typeface="思源黑体 CN Regular" panose="020B0500000000000000" charset="-122"/>
              <a:sym typeface="Arial" panose="020B0604020202020204" pitchFamily="34" charset="0"/>
            </a:endParaRPr>
          </a:p>
        </p:txBody>
      </p:sp>
      <p:sp>
        <p:nvSpPr>
          <p:cNvPr id="22" name="Rectangle 18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SpPr/>
          <p:nvPr/>
        </p:nvSpPr>
        <p:spPr>
          <a:xfrm>
            <a:off x="9803416" y="1305898"/>
            <a:ext cx="2103856" cy="61215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sz="1200" dirty="0"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rPr>
              <a:t>Click here to add content, content to match the title. </a:t>
            </a:r>
          </a:p>
        </p:txBody>
      </p:sp>
      <p:sp>
        <p:nvSpPr>
          <p:cNvPr id="30" name="Rectangle 18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SpPr/>
          <p:nvPr/>
        </p:nvSpPr>
        <p:spPr>
          <a:xfrm>
            <a:off x="1793272" y="5713306"/>
            <a:ext cx="6143720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dirty="0"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rPr>
              <a:t>Click here to add content, content to match the title. . Efficiently benchmark progressive resources.</a:t>
            </a:r>
          </a:p>
        </p:txBody>
      </p:sp>
      <p:grpSp>
        <p:nvGrpSpPr>
          <p:cNvPr id="4" name="组合 3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GrpSpPr/>
          <p:nvPr/>
        </p:nvGrpSpPr>
        <p:grpSpPr>
          <a:xfrm>
            <a:off x="1863696" y="3429000"/>
            <a:ext cx="1208688" cy="1208688"/>
            <a:chOff x="8849712" y="3429000"/>
            <a:chExt cx="2685874" cy="2685874"/>
          </a:xfrm>
        </p:grpSpPr>
        <p:sp>
          <p:nvSpPr>
            <p:cNvPr id="31" name="Rectangle 8"/>
            <p:cNvSpPr/>
            <p:nvPr/>
          </p:nvSpPr>
          <p:spPr>
            <a:xfrm>
              <a:off x="8849712" y="3429000"/>
              <a:ext cx="2685874" cy="2685874"/>
            </a:xfrm>
            <a:prstGeom prst="rect">
              <a:avLst/>
            </a:prstGeom>
            <a:noFill/>
            <a:ln w="381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endParaRPr>
            </a:p>
          </p:txBody>
        </p:sp>
        <p:sp>
          <p:nvSpPr>
            <p:cNvPr id="32" name="Title 3"/>
            <p:cNvSpPr txBox="1"/>
            <p:nvPr/>
          </p:nvSpPr>
          <p:spPr>
            <a:xfrm>
              <a:off x="9121734" y="3981521"/>
              <a:ext cx="742707" cy="916093"/>
            </a:xfrm>
            <a:prstGeom prst="rect">
              <a:avLst/>
            </a:prstGeom>
          </p:spPr>
          <p:txBody>
            <a:bodyPr lIns="0"/>
            <a:lstStyle>
              <a:lvl1pPr algn="l" defTabSz="914400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2800" b="1" i="0" kern="1200">
                  <a:solidFill>
                    <a:schemeClr val="tx1"/>
                  </a:solidFill>
                  <a:latin typeface="Titillium" charset="0"/>
                  <a:ea typeface="Titillium" charset="0"/>
                  <a:cs typeface="Titillium" charset="0"/>
                </a:defRPr>
              </a:lvl1pPr>
            </a:lstStyle>
            <a:p>
              <a:pPr algn="ctr">
                <a:lnSpc>
                  <a:spcPct val="80000"/>
                </a:lnSpc>
              </a:pPr>
              <a:r>
                <a:rPr lang="en-US" sz="3200" b="0" spc="300">
                  <a:latin typeface="Arial" panose="020B0604020202020204" pitchFamily="34" charset="0"/>
                  <a:ea typeface="微软雅黑" panose="020B0503020204020204" pitchFamily="34" charset="-122"/>
                  <a:cs typeface="思源黑体 CN Regular" panose="020B0500000000000000" charset="-122"/>
                  <a:sym typeface="Arial" panose="020B0604020202020204" pitchFamily="34" charset="0"/>
                </a:rPr>
                <a:t>D</a:t>
              </a:r>
            </a:p>
          </p:txBody>
        </p:sp>
        <p:sp>
          <p:nvSpPr>
            <p:cNvPr id="35" name="Title 3"/>
            <p:cNvSpPr txBox="1"/>
            <p:nvPr/>
          </p:nvSpPr>
          <p:spPr>
            <a:xfrm>
              <a:off x="9858651" y="3981521"/>
              <a:ext cx="742707" cy="916093"/>
            </a:xfrm>
            <a:prstGeom prst="rect">
              <a:avLst/>
            </a:prstGeom>
          </p:spPr>
          <p:txBody>
            <a:bodyPr lIns="0"/>
            <a:lstStyle>
              <a:lvl1pPr algn="l" defTabSz="914400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2800" b="1" i="0" kern="1200">
                  <a:solidFill>
                    <a:schemeClr val="tx1"/>
                  </a:solidFill>
                  <a:latin typeface="Titillium" charset="0"/>
                  <a:ea typeface="Titillium" charset="0"/>
                  <a:cs typeface="Titillium" charset="0"/>
                </a:defRPr>
              </a:lvl1pPr>
            </a:lstStyle>
            <a:p>
              <a:pPr algn="ctr">
                <a:lnSpc>
                  <a:spcPct val="80000"/>
                </a:lnSpc>
              </a:pPr>
              <a:r>
                <a:rPr lang="en-US" sz="3200" b="0" spc="300">
                  <a:latin typeface="Arial" panose="020B0604020202020204" pitchFamily="34" charset="0"/>
                  <a:ea typeface="微软雅黑" panose="020B0503020204020204" pitchFamily="34" charset="-122"/>
                  <a:cs typeface="思源黑体 CN Regular" panose="020B0500000000000000" charset="-122"/>
                  <a:sym typeface="Arial" panose="020B0604020202020204" pitchFamily="34" charset="0"/>
                </a:rPr>
                <a:t>E</a:t>
              </a:r>
            </a:p>
          </p:txBody>
        </p:sp>
        <p:sp>
          <p:nvSpPr>
            <p:cNvPr id="36" name="Title 3"/>
            <p:cNvSpPr txBox="1"/>
            <p:nvPr/>
          </p:nvSpPr>
          <p:spPr>
            <a:xfrm>
              <a:off x="10595567" y="3981521"/>
              <a:ext cx="742707" cy="916093"/>
            </a:xfrm>
            <a:prstGeom prst="rect">
              <a:avLst/>
            </a:prstGeom>
          </p:spPr>
          <p:txBody>
            <a:bodyPr lIns="0"/>
            <a:lstStyle>
              <a:lvl1pPr algn="l" defTabSz="914400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2800" b="1" i="0" kern="1200">
                  <a:solidFill>
                    <a:schemeClr val="tx1"/>
                  </a:solidFill>
                  <a:latin typeface="Titillium" charset="0"/>
                  <a:ea typeface="Titillium" charset="0"/>
                  <a:cs typeface="Titillium" charset="0"/>
                </a:defRPr>
              </a:lvl1pPr>
            </a:lstStyle>
            <a:p>
              <a:pPr algn="ctr">
                <a:lnSpc>
                  <a:spcPct val="80000"/>
                </a:lnSpc>
              </a:pPr>
              <a:r>
                <a:rPr lang="en-US" sz="3200" b="0" spc="300">
                  <a:latin typeface="Arial" panose="020B0604020202020204" pitchFamily="34" charset="0"/>
                  <a:ea typeface="微软雅黑" panose="020B0503020204020204" pitchFamily="34" charset="-122"/>
                  <a:cs typeface="思源黑体 CN Regular" panose="020B0500000000000000" charset="-122"/>
                  <a:sym typeface="Arial" panose="020B0604020202020204" pitchFamily="34" charset="0"/>
                </a:rPr>
                <a:t>S</a:t>
              </a:r>
            </a:p>
          </p:txBody>
        </p:sp>
        <p:sp>
          <p:nvSpPr>
            <p:cNvPr id="37" name="Title 3"/>
            <p:cNvSpPr txBox="1"/>
            <p:nvPr/>
          </p:nvSpPr>
          <p:spPr>
            <a:xfrm>
              <a:off x="9121734" y="4897614"/>
              <a:ext cx="742707" cy="916093"/>
            </a:xfrm>
            <a:prstGeom prst="rect">
              <a:avLst/>
            </a:prstGeom>
          </p:spPr>
          <p:txBody>
            <a:bodyPr lIns="0"/>
            <a:lstStyle>
              <a:lvl1pPr algn="l" defTabSz="914400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2800" b="1" i="0" kern="1200">
                  <a:solidFill>
                    <a:schemeClr val="tx1"/>
                  </a:solidFill>
                  <a:latin typeface="Titillium" charset="0"/>
                  <a:ea typeface="Titillium" charset="0"/>
                  <a:cs typeface="Titillium" charset="0"/>
                </a:defRPr>
              </a:lvl1pPr>
            </a:lstStyle>
            <a:p>
              <a:pPr algn="ctr">
                <a:lnSpc>
                  <a:spcPct val="80000"/>
                </a:lnSpc>
              </a:pPr>
              <a:r>
                <a:rPr lang="en-US" sz="3200" b="0" spc="300">
                  <a:latin typeface="Arial" panose="020B0604020202020204" pitchFamily="34" charset="0"/>
                  <a:ea typeface="微软雅黑" panose="020B0503020204020204" pitchFamily="34" charset="-122"/>
                  <a:cs typeface="思源黑体 CN Regular" panose="020B0500000000000000" charset="-122"/>
                  <a:sym typeface="Arial" panose="020B0604020202020204" pitchFamily="34" charset="0"/>
                </a:rPr>
                <a:t>I</a:t>
              </a:r>
            </a:p>
          </p:txBody>
        </p:sp>
        <p:sp>
          <p:nvSpPr>
            <p:cNvPr id="38" name="Title 3"/>
            <p:cNvSpPr txBox="1"/>
            <p:nvPr/>
          </p:nvSpPr>
          <p:spPr>
            <a:xfrm>
              <a:off x="9858651" y="4897614"/>
              <a:ext cx="742707" cy="916093"/>
            </a:xfrm>
            <a:prstGeom prst="rect">
              <a:avLst/>
            </a:prstGeom>
          </p:spPr>
          <p:txBody>
            <a:bodyPr lIns="0"/>
            <a:lstStyle>
              <a:lvl1pPr algn="l" defTabSz="914400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2800" b="1" i="0" kern="1200">
                  <a:solidFill>
                    <a:schemeClr val="tx1"/>
                  </a:solidFill>
                  <a:latin typeface="Titillium" charset="0"/>
                  <a:ea typeface="Titillium" charset="0"/>
                  <a:cs typeface="Titillium" charset="0"/>
                </a:defRPr>
              </a:lvl1pPr>
            </a:lstStyle>
            <a:p>
              <a:pPr algn="ctr">
                <a:lnSpc>
                  <a:spcPct val="80000"/>
                </a:lnSpc>
              </a:pPr>
              <a:r>
                <a:rPr lang="en-US" sz="3200" b="0" spc="300">
                  <a:latin typeface="Arial" panose="020B0604020202020204" pitchFamily="34" charset="0"/>
                  <a:ea typeface="微软雅黑" panose="020B0503020204020204" pitchFamily="34" charset="-122"/>
                  <a:cs typeface="思源黑体 CN Regular" panose="020B0500000000000000" charset="-122"/>
                  <a:sym typeface="Arial" panose="020B0604020202020204" pitchFamily="34" charset="0"/>
                </a:rPr>
                <a:t>G</a:t>
              </a:r>
            </a:p>
          </p:txBody>
        </p:sp>
        <p:sp>
          <p:nvSpPr>
            <p:cNvPr id="39" name="Title 3"/>
            <p:cNvSpPr txBox="1"/>
            <p:nvPr/>
          </p:nvSpPr>
          <p:spPr>
            <a:xfrm>
              <a:off x="10595567" y="4897614"/>
              <a:ext cx="742707" cy="916093"/>
            </a:xfrm>
            <a:prstGeom prst="rect">
              <a:avLst/>
            </a:prstGeom>
          </p:spPr>
          <p:txBody>
            <a:bodyPr lIns="0"/>
            <a:lstStyle>
              <a:lvl1pPr algn="l" defTabSz="914400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2800" b="1" i="0" kern="1200">
                  <a:solidFill>
                    <a:schemeClr val="tx1"/>
                  </a:solidFill>
                  <a:latin typeface="Titillium" charset="0"/>
                  <a:ea typeface="Titillium" charset="0"/>
                  <a:cs typeface="Titillium" charset="0"/>
                </a:defRPr>
              </a:lvl1pPr>
            </a:lstStyle>
            <a:p>
              <a:pPr algn="ctr">
                <a:lnSpc>
                  <a:spcPct val="80000"/>
                </a:lnSpc>
              </a:pPr>
              <a:r>
                <a:rPr lang="en-US" sz="3200" b="0" spc="300">
                  <a:latin typeface="Arial" panose="020B0604020202020204" pitchFamily="34" charset="0"/>
                  <a:ea typeface="微软雅黑" panose="020B0503020204020204" pitchFamily="34" charset="-122"/>
                  <a:cs typeface="思源黑体 CN Regular" panose="020B0500000000000000" charset="-122"/>
                  <a:sym typeface="Arial" panose="020B0604020202020204" pitchFamily="34" charset="0"/>
                </a:rPr>
                <a:t>N</a:t>
              </a:r>
            </a:p>
          </p:txBody>
        </p:sp>
      </p:grpSp>
      <p:sp>
        <p:nvSpPr>
          <p:cNvPr id="5" name="e7d195523061f1c0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 hidden="1"/>
          <p:cNvSpPr txBox="1"/>
          <p:nvPr/>
        </p:nvSpPr>
        <p:spPr>
          <a:xfrm>
            <a:off x="-355600" y="1803400"/>
            <a:ext cx="284693" cy="1016000"/>
          </a:xfrm>
          <a:prstGeom prst="rect">
            <a:avLst/>
          </a:prstGeom>
          <a:noFill/>
        </p:spPr>
        <p:txBody>
          <a:bodyPr vert="wordArtVert" rtlCol="0">
            <a:spAutoFit/>
          </a:bodyPr>
          <a:lstStyle/>
          <a:p>
            <a:r>
              <a:rPr lang="en-US" altLang="zh-CN" sz="100"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rPr>
              <a:t>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</a:t>
            </a:r>
            <a:endParaRPr lang="zh-CN" altLang="en-US" sz="100">
              <a:latin typeface="Arial" panose="020B0604020202020204" pitchFamily="34" charset="0"/>
              <a:ea typeface="微软雅黑" panose="020B0503020204020204" pitchFamily="34" charset="-122"/>
              <a:cs typeface="思源黑体 CN Regular" panose="020B0500000000000000" charset="-122"/>
              <a:sym typeface="Arial" panose="020B0604020202020204" pitchFamily="34" charset="0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random/>
      </p:transition>
    </mc:Choice>
    <mc:Fallback xmlns:p159="http://schemas.microsoft.com/office/powerpoint/2015/09/main" xmlns:p15="http://schemas.microsoft.com/office/powerpoint/2012/main" xmlns:a14="http://schemas.microsoft.com/office/drawing/2010/main" xmlns:wp="http://schemas.openxmlformats.org/drawingml/2006/wordprocessingDrawing" xmlns:w="http://schemas.openxmlformats.org/wordprocessingml/2006/main" xmlns:m="http://schemas.openxmlformats.org/officeDocument/2006/math" xmlns="">
      <p:transition spd="slow">
        <p:random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dur="5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 nodeType="clickPar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6" presetClass="entr" presetSubtype="16" dur="2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2" dur="2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 nodeType="clickPar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" presetClass="entr" presetSubtype="4" dur="50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9" presetID="2" presetClass="entr" presetSubtype="4" dur="5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1" dur="5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2" dur="5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3" presetID="2" presetClass="entr" presetSubtype="4" dur="5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7" presetID="2" presetClass="entr" presetSubtype="4" dur="5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9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0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1" presetID="2" presetClass="entr" presetSubtype="4" dur="5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3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4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5" presetID="2" presetClass="entr" presetSubtype="4" dur="5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7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8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9" presetID="2" presetClass="entr" presetSubtype="4" dur="5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1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2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3" presetID="2" presetClass="entr" presetSubtype="4" dur="5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5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6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7" presetID="2" presetClass="entr" presetSubtype="4" dur="5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9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0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1" presetID="2" presetClass="entr" presetSubtype="4" dur="5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3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4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3" grpId="0"/>
      <p:bldP spid="15" grpId="0"/>
      <p:bldP spid="16" grpId="0" animBg="1"/>
      <p:bldP spid="17" grpId="0" animBg="1"/>
      <p:bldP spid="18" grpId="0"/>
      <p:bldP spid="19" grpId="0" animBg="1"/>
      <p:bldP spid="20" grpId="0"/>
      <p:bldP spid="21" grpId="0" animBg="1"/>
      <p:bldP spid="22" grpId="0"/>
      <p:bldP spid="30" grpId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矩形 18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SpPr/>
          <p:nvPr/>
        </p:nvSpPr>
        <p:spPr>
          <a:xfrm>
            <a:off x="0" y="0"/>
            <a:ext cx="2377440" cy="6858000"/>
          </a:xfrm>
          <a:prstGeom prst="rect">
            <a:avLst/>
          </a:prstGeom>
          <a:solidFill>
            <a:schemeClr val="accent1">
              <a:alpha val="4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latin typeface="Arial" panose="020B0604020202020204" pitchFamily="34" charset="0"/>
              <a:ea typeface="微软雅黑" panose="020B0503020204020204" pitchFamily="34" charset="-122"/>
              <a:cs typeface="思源黑体 CN Regular" panose="020B0500000000000000" charset="-122"/>
              <a:sym typeface="Arial" panose="020B0604020202020204" pitchFamily="34" charset="0"/>
            </a:endParaRPr>
          </a:p>
        </p:txBody>
      </p:sp>
      <p:pic>
        <p:nvPicPr>
          <p:cNvPr id="3" name="图片 2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60960" y="-1204082"/>
            <a:ext cx="13094208" cy="9689714"/>
          </a:xfrm>
          <a:prstGeom prst="rect">
            <a:avLst/>
          </a:prstGeom>
        </p:spPr>
      </p:pic>
      <p:sp>
        <p:nvSpPr>
          <p:cNvPr id="4" name="Rectangle 3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SpPr/>
          <p:nvPr/>
        </p:nvSpPr>
        <p:spPr>
          <a:xfrm>
            <a:off x="2400300" y="0"/>
            <a:ext cx="9791700" cy="6858000"/>
          </a:xfrm>
          <a:prstGeom prst="rect">
            <a:avLst/>
          </a:prstGeom>
          <a:solidFill>
            <a:schemeClr val="bg2">
              <a:alpha val="87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/>
            <a:endParaRPr lang="en-US">
              <a:latin typeface="Arial" panose="020B0604020202020204" pitchFamily="34" charset="0"/>
              <a:ea typeface="微软雅黑" panose="020B0503020204020204" pitchFamily="34" charset="-122"/>
              <a:cs typeface="思源黑体 CN Regular" panose="020B0500000000000000" charset="-122"/>
              <a:sym typeface="Arial" panose="020B0604020202020204" pitchFamily="34" charset="0"/>
            </a:endParaRPr>
          </a:p>
        </p:txBody>
      </p:sp>
      <p:pic>
        <p:nvPicPr>
          <p:cNvPr id="18" name="图片占位符 17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PicPr>
            <a:picLocks noGrp="1" noChangeAspect="1"/>
          </p:cNvPicPr>
          <p:nvPr>
            <p:ph type="pic" sz="quarter" idx="10"/>
          </p:nvPr>
        </p:nvPicPr>
        <p:blipFill>
          <a:blip r:embed="rId4"/>
          <a:stretch>
            <a:fillRect/>
          </a:stretch>
        </p:blipFill>
        <p:spPr>
          <a:prstGeom prst="rect">
            <a:avLst/>
          </a:prstGeom>
          <a:effectLst>
            <a:outerShdw blurRad="342900" dist="152400" dir="2700000" algn="tl" rotWithShape="0">
              <a:prstClr val="black">
                <a:alpha val="40000"/>
              </a:prstClr>
            </a:outerShdw>
          </a:effectLst>
        </p:spPr>
      </p:pic>
      <p:cxnSp>
        <p:nvCxnSpPr>
          <p:cNvPr id="5" name="Straight Connector 4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CxnSpPr/>
          <p:nvPr/>
        </p:nvCxnSpPr>
        <p:spPr>
          <a:xfrm>
            <a:off x="431315" y="3952787"/>
            <a:ext cx="2679747" cy="0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Box 25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SpPr txBox="1"/>
          <p:nvPr/>
        </p:nvSpPr>
        <p:spPr>
          <a:xfrm>
            <a:off x="6096000" y="685800"/>
            <a:ext cx="5809488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000" b="1"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rPr>
              <a:t>Business Department </a:t>
            </a:r>
            <a:r>
              <a:rPr lang="en-US" sz="4000" b="1">
                <a:solidFill>
                  <a:schemeClr val="accent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rPr>
              <a:t>Analysis</a:t>
            </a:r>
          </a:p>
        </p:txBody>
      </p:sp>
      <p:sp>
        <p:nvSpPr>
          <p:cNvPr id="11" name="Rectangle 29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SpPr/>
          <p:nvPr/>
        </p:nvSpPr>
        <p:spPr>
          <a:xfrm>
            <a:off x="1934487" y="2624435"/>
            <a:ext cx="3734794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rPr>
              <a:t>Click here to add content, content to match the title.  </a:t>
            </a:r>
            <a:endParaRPr lang="en-US" sz="1050" dirty="0">
              <a:latin typeface="Arial" panose="020B0604020202020204" pitchFamily="34" charset="0"/>
              <a:ea typeface="微软雅黑" panose="020B0503020204020204" pitchFamily="34" charset="-122"/>
              <a:cs typeface="思源黑体 CN Regular" panose="020B0500000000000000" charset="-122"/>
              <a:sym typeface="Arial" panose="020B0604020202020204" pitchFamily="34" charset="0"/>
            </a:endParaRPr>
          </a:p>
        </p:txBody>
      </p:sp>
      <p:grpSp>
        <p:nvGrpSpPr>
          <p:cNvPr id="12" name="组合 11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/>
          <p:cNvGrpSpPr/>
          <p:nvPr/>
        </p:nvGrpSpPr>
        <p:grpSpPr>
          <a:xfrm>
            <a:off x="5639816" y="2542032"/>
            <a:ext cx="6247384" cy="4017821"/>
            <a:chOff x="254735" y="2301365"/>
            <a:chExt cx="13422354" cy="8105130"/>
          </a:xfrm>
        </p:grpSpPr>
        <p:graphicFrame>
          <p:nvGraphicFramePr>
            <p:cNvPr id="13" name="Content Placeholder 5"/>
            <p:cNvGraphicFramePr/>
            <p:nvPr/>
          </p:nvGraphicFramePr>
          <p:xfrm>
            <a:off x="254735" y="2301365"/>
            <a:ext cx="13422354" cy="8105130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5"/>
            </a:graphicData>
          </a:graphic>
        </p:graphicFrame>
        <p:sp>
          <p:nvSpPr>
            <p:cNvPr id="14" name="Rounded Rectangle 21"/>
            <p:cNvSpPr/>
            <p:nvPr/>
          </p:nvSpPr>
          <p:spPr>
            <a:xfrm>
              <a:off x="1391055" y="2762497"/>
              <a:ext cx="214008" cy="214008"/>
            </a:xfrm>
            <a:prstGeom prst="round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>
                <a:solidFill>
                  <a:schemeClr val="tx1">
                    <a:lumMod val="90000"/>
                    <a:lumOff val="10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endParaRPr>
            </a:p>
          </p:txBody>
        </p:sp>
        <p:sp>
          <p:nvSpPr>
            <p:cNvPr id="15" name="Rounded Rectangle 22"/>
            <p:cNvSpPr/>
            <p:nvPr/>
          </p:nvSpPr>
          <p:spPr>
            <a:xfrm>
              <a:off x="1391055" y="3557496"/>
              <a:ext cx="214008" cy="214008"/>
            </a:xfrm>
            <a:prstGeom prst="round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>
                <a:solidFill>
                  <a:schemeClr val="tx1">
                    <a:lumMod val="90000"/>
                    <a:lumOff val="10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endParaRPr>
            </a:p>
          </p:txBody>
        </p:sp>
        <p:sp>
          <p:nvSpPr>
            <p:cNvPr id="16" name="TextBox 23"/>
            <p:cNvSpPr txBox="1"/>
            <p:nvPr/>
          </p:nvSpPr>
          <p:spPr>
            <a:xfrm>
              <a:off x="1770433" y="2471540"/>
              <a:ext cx="4472396" cy="6208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400">
                  <a:solidFill>
                    <a:schemeClr val="tx1">
                      <a:lumMod val="90000"/>
                      <a:lumOff val="10000"/>
                    </a:schemeClr>
                  </a:solidFill>
                  <a:latin typeface="Arial" panose="020B0604020202020204" pitchFamily="34" charset="0"/>
                  <a:ea typeface="微软雅黑" panose="020B0503020204020204" pitchFamily="34" charset="-122"/>
                  <a:cs typeface="思源黑体 CN Regular" panose="020B0500000000000000" charset="-122"/>
                  <a:sym typeface="Arial" panose="020B0604020202020204" pitchFamily="34" charset="0"/>
                </a:rPr>
                <a:t>Year Business Analysis</a:t>
              </a:r>
            </a:p>
          </p:txBody>
        </p:sp>
        <p:sp>
          <p:nvSpPr>
            <p:cNvPr id="17" name="TextBox 24"/>
            <p:cNvSpPr txBox="1"/>
            <p:nvPr/>
          </p:nvSpPr>
          <p:spPr>
            <a:xfrm>
              <a:off x="1804074" y="3337639"/>
              <a:ext cx="5359023" cy="6208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400">
                  <a:solidFill>
                    <a:schemeClr val="tx1">
                      <a:lumMod val="90000"/>
                      <a:lumOff val="10000"/>
                    </a:schemeClr>
                  </a:solidFill>
                  <a:latin typeface="Arial" panose="020B0604020202020204" pitchFamily="34" charset="0"/>
                  <a:ea typeface="微软雅黑" panose="020B0503020204020204" pitchFamily="34" charset="-122"/>
                  <a:cs typeface="思源黑体 CN Regular" panose="020B0500000000000000" charset="-122"/>
                  <a:sym typeface="Arial" panose="020B0604020202020204" pitchFamily="34" charset="0"/>
                </a:rPr>
                <a:t>Marketing Research Analysis</a:t>
              </a:r>
            </a:p>
          </p:txBody>
        </p:sp>
      </p:grpSp>
      <p:sp>
        <p:nvSpPr>
          <p:cNvPr id="20" name="e7d195523061f1c0" descr="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" hidden="1"/>
          <p:cNvSpPr txBox="1"/>
          <p:nvPr/>
        </p:nvSpPr>
        <p:spPr>
          <a:xfrm>
            <a:off x="-355600" y="1803400"/>
            <a:ext cx="284693" cy="1016000"/>
          </a:xfrm>
          <a:prstGeom prst="rect">
            <a:avLst/>
          </a:prstGeom>
          <a:noFill/>
        </p:spPr>
        <p:txBody>
          <a:bodyPr vert="wordArtVert" rtlCol="0">
            <a:spAutoFit/>
          </a:bodyPr>
          <a:lstStyle/>
          <a:p>
            <a:r>
              <a:rPr lang="en-US" altLang="zh-CN" sz="100">
                <a:latin typeface="Arial" panose="020B0604020202020204" pitchFamily="34" charset="0"/>
                <a:ea typeface="微软雅黑" panose="020B0503020204020204" pitchFamily="34" charset="-122"/>
                <a:cs typeface="思源黑体 CN Regular" panose="020B0500000000000000" charset="-122"/>
                <a:sym typeface="Arial" panose="020B0604020202020204" pitchFamily="34" charset="0"/>
              </a:rPr>
              <a:t>e7d195523061f1c03a90ee8e42cb24248e56383cd534985688F9F494128731F165EE95AB4B0C0A38076AAEA07667B1565C446FC45FF01DFB0E885BCDBDF3A284F3DB14DA61DD97F0BAB2E6C668FB4931972B188F3D7CE0CF23696CEF5693A64D53C8FB1F0925ED8BBF9C215EAD4326740F00D499DB15BFCD5E15A56FD8CC2D4B1F17509DE0C17F06617875BF3885BF1D</a:t>
            </a:r>
            <a:endParaRPr lang="zh-CN" altLang="en-US" sz="100">
              <a:latin typeface="Arial" panose="020B0604020202020204" pitchFamily="34" charset="0"/>
              <a:ea typeface="微软雅黑" panose="020B0503020204020204" pitchFamily="34" charset="-122"/>
              <a:cs typeface="思源黑体 CN Regular" panose="020B0500000000000000" charset="-122"/>
              <a:sym typeface="Arial" panose="020B0604020202020204" pitchFamily="34" charset="0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random/>
      </p:transition>
    </mc:Choice>
    <mc:Fallback xmlns:p159="http://schemas.microsoft.com/office/powerpoint/2015/09/main" xmlns:p15="http://schemas.microsoft.com/office/powerpoint/2012/main" xmlns:a14="http://schemas.microsoft.com/office/drawing/2010/main" xmlns:wp="http://schemas.openxmlformats.org/drawingml/2006/wordprocessingDrawing" xmlns:w="http://schemas.openxmlformats.org/wordprocessingml/2006/main" xmlns:m="http://schemas.openxmlformats.org/officeDocument/2006/math" xmlns="">
      <p:transition spd="slow">
        <p:random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0" presetClass="entr" presetSubtype="0" dur="1000" decel="10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+.3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1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 nodeType="clickPar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10" presetClass="entr" presetSubtype="0" dur="5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 nodeType="clickPar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0" presetClass="entr" presetSubtype="0" dur="50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 nodeType="clickPar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14" presetClass="entr" presetSubtype="10" dur="50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24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 nodeType="clickPar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4" presetClass="entr" presetSubtype="10" dur="5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29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/>
      <p:bldP spid="11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NET" val="4.0.30319.42000"/>
  <p:tag name="AS_OS" val="Microsoft Windows NT 6.1.7601 Service Pack 1"/>
  <p:tag name="AS_RELEASE_DATE" val="2022.11.14"/>
  <p:tag name="AS_TITLE" val="Aspose.Slides for .NET 4.0 Client Profile"/>
  <p:tag name="AS_VERSION" val="22.11"/>
  <p:tag name="COMMONDATA" val="eyJoZGlkIjoiMmMxNzY4NzliODJmOGYzMWEyZDdkODA0MWI0NTdiODcifQ=="/>
  <p:tag name="KSO_WPP_MARK_KEY" val="b4186312-02bf-4dbb-856f-6332d857a70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_L0l0C6gUmpYmek4kB0oA"/>
</p:tagLst>
</file>

<file path=ppt/theme/theme1.xml><?xml version="1.0" encoding="utf-8"?>
<a:theme xmlns:a="http://schemas.openxmlformats.org/drawingml/2006/main" name="www.freeppt7.com">
  <a:themeElements>
    <a:clrScheme name="blue&amp;red">
      <a:dk1>
        <a:srgbClr val="262626"/>
      </a:dk1>
      <a:lt1>
        <a:srgbClr val="FFFFFF"/>
      </a:lt1>
      <a:dk2>
        <a:srgbClr val="0420AC"/>
      </a:dk2>
      <a:lt2>
        <a:srgbClr val="EAEAEA"/>
      </a:lt2>
      <a:accent1>
        <a:srgbClr val="1D46F3"/>
      </a:accent1>
      <a:accent2>
        <a:srgbClr val="FF5757"/>
      </a:accent2>
      <a:accent3>
        <a:srgbClr val="C9D2FD"/>
      </a:accent3>
      <a:accent4>
        <a:srgbClr val="5E78FA"/>
      </a:accent4>
      <a:accent5>
        <a:srgbClr val="0420AB"/>
      </a:accent5>
      <a:accent6>
        <a:srgbClr val="021572"/>
      </a:accent6>
      <a:hlink>
        <a:srgbClr val="FF5757"/>
      </a:hlink>
      <a:folHlink>
        <a:srgbClr val="BFBFBF"/>
      </a:folHlink>
    </a:clrScheme>
    <a:fontScheme name="自定义 11">
      <a:majorFont>
        <a:latin typeface="Gill Sans MT"/>
        <a:ea typeface="Gill Sans MT"/>
        <a:cs typeface="Arial"/>
      </a:majorFont>
      <a:minorFont>
        <a:latin typeface="华文细黑"/>
        <a:ea typeface="微软雅黑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www.jpppt.com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宋体"/>
        <a:cs typeface="Arial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宋体"/>
        <a:cs typeface="Arial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思源黑体 CN Regular" charset="-122"/>
        <a:ea typeface="思源黑体 CN Regular" charset="-122"/>
        <a:cs typeface="Arial"/>
        <a:font script="Jpan" typeface="ＭＳ Ｐゴシック"/>
        <a:font script="Hang" typeface="맑은 고딕"/>
        <a:font script="Hans" typeface="Gill Sans M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思源黑体 CN Regular" charset="-122"/>
        <a:ea typeface="思源黑体 CN Regular" charset="-122"/>
        <a:cs typeface="Arial"/>
        <a:font script="Jpan" typeface="ＭＳ Ｐゴシック"/>
        <a:font script="Hang" typeface="맑은 고딕"/>
        <a:font script="Hans" typeface="Gill Sans MT"/>
        <a:font script="Hant" typeface="新細明體"/>
        <a:font script="Arab" typeface="思源黑体 CN Regular"/>
        <a:font script="Hebr" typeface="思源黑体 CN Regular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思源黑体 CN Regular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思源黑体 CN Regular" charset="-122"/>
        <a:ea typeface="思源黑体 CN Regular" charset="-122"/>
        <a:cs typeface="Arial"/>
        <a:font script="Jpan" typeface="ＭＳ Ｐゴシック"/>
        <a:font script="Hang" typeface="맑은 고딕"/>
        <a:font script="Hans" typeface="Gill Sans M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思源黑体 CN Regular" charset="-122"/>
        <a:ea typeface="思源黑体 CN Regular" charset="-122"/>
        <a:cs typeface="Arial"/>
        <a:font script="Jpan" typeface="ＭＳ Ｐゴシック"/>
        <a:font script="Hang" typeface="맑은 고딕"/>
        <a:font script="Hans" typeface="Gill Sans MT"/>
        <a:font script="Hant" typeface="新細明體"/>
        <a:font script="Arab" typeface="思源黑体 CN Regular"/>
        <a:font script="Hebr" typeface="思源黑体 CN Regular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思源黑体 CN Regular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1</Template>
  <TotalTime>31</TotalTime>
  <Words>1888</Words>
  <Application>Microsoft Office PowerPoint</Application>
  <PresentationFormat>宽屏</PresentationFormat>
  <Paragraphs>460</Paragraphs>
  <Slides>32</Slides>
  <Notes>31</Notes>
  <HiddenSlides>0</HiddenSlides>
  <MMClips>0</MMClips>
  <ScaleCrop>false</ScaleCrop>
  <HeadingPairs>
    <vt:vector size="6" baseType="variant">
      <vt:variant>
        <vt:lpstr>已用的字体</vt:lpstr>
      </vt:variant>
      <vt:variant>
        <vt:i4>12</vt:i4>
      </vt:variant>
      <vt:variant>
        <vt:lpstr>主题</vt:lpstr>
      </vt:variant>
      <vt:variant>
        <vt:i4>2</vt:i4>
      </vt:variant>
      <vt:variant>
        <vt:lpstr>幻灯片标题</vt:lpstr>
      </vt:variant>
      <vt:variant>
        <vt:i4>32</vt:i4>
      </vt:variant>
    </vt:vector>
  </HeadingPairs>
  <TitlesOfParts>
    <vt:vector size="46" baseType="lpstr">
      <vt:lpstr>Bebas Neue Book</vt:lpstr>
      <vt:lpstr>Titillium</vt:lpstr>
      <vt:lpstr>等线</vt:lpstr>
      <vt:lpstr>华文细黑</vt:lpstr>
      <vt:lpstr>思源黑体 CN Regular</vt:lpstr>
      <vt:lpstr>宋体</vt:lpstr>
      <vt:lpstr>微软雅黑</vt:lpstr>
      <vt:lpstr>Aharoni</vt:lpstr>
      <vt:lpstr>Arial</vt:lpstr>
      <vt:lpstr>Gill Sans MT</vt:lpstr>
      <vt:lpstr>MS Reference Sans Serif</vt:lpstr>
      <vt:lpstr>Raleway</vt:lpstr>
      <vt:lpstr>www.freeppt7.com</vt:lpstr>
      <vt:lpstr>www.jpppt.com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WHAT  WE DO</vt:lpstr>
      <vt:lpstr>PowerPoint 演示文稿</vt:lpstr>
      <vt:lpstr>WHO WE ARE</vt:lpstr>
      <vt:lpstr>PowerPoint 演示文稿</vt:lpstr>
      <vt:lpstr>PowerPoint 演示文稿</vt:lpstr>
      <vt:lpstr>TIME LINE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YRAMID PROCESS INFOGRAPHIC</vt:lpstr>
      <vt:lpstr>4 STEPS TO SUCCESS</vt:lpstr>
      <vt:lpstr>ARROW  INFOGRAPHIC</vt:lpstr>
      <vt:lpstr>CIRCLE PROCESS  INFOGRAPHIC</vt:lpstr>
      <vt:lpstr>SWOT INFOGRAPHIC</vt:lpstr>
      <vt:lpstr>PROCESS INFOGRAPHIC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</vt:vector>
  </TitlesOfParts>
  <Manager>www.freeppt7.com</Manager>
  <Company>www.freeppt7.com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抽象艺术</dc:title>
  <dc:creator>www.freeppt7.com</dc:creator>
  <cp:keywords>www.freeppt7.com</cp:keywords>
  <dc:description>www.freeppt7.com</dc:description>
  <cp:lastModifiedBy>kaiweiliu9209@outlook.com</cp:lastModifiedBy>
  <cp:revision>49</cp:revision>
  <dcterms:created xsi:type="dcterms:W3CDTF">2018-03-27T11:59:00Z</dcterms:created>
  <dcterms:modified xsi:type="dcterms:W3CDTF">2024-11-23T14:31:2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CV">
    <vt:lpwstr>4CA76D6C73454B2E9E270E1C6331D008</vt:lpwstr>
  </property>
  <property fmtid="{D5CDD505-2E9C-101B-9397-08002B2CF9AE}" pid="3" name="KSOProductBuildVer">
    <vt:lpwstr>2052-12.1.0.18276</vt:lpwstr>
  </property>
</Properties>
</file>